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5.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5.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6.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7.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8.xml" ContentType="application/vnd.openxmlformats-officedocument.theme+xml"/>
  <Override PartName="/ppt/tags/tag58.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9.xml" ContentType="application/vnd.openxmlformats-officedocument.them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tags/tag110.xml" ContentType="application/vnd.openxmlformats-officedocument.presentationml.tags+xml"/>
  <Override PartName="/ppt/tags/tag111.xml" ContentType="application/vnd.openxmlformats-officedocument.presentationml.tags+xml"/>
  <Override PartName="/ppt/notesSlides/notesSlide1.xml" ContentType="application/vnd.openxmlformats-officedocument.presentationml.notesSlide+xml"/>
  <Override PartName="/ppt/tags/tag112.xml" ContentType="application/vnd.openxmlformats-officedocument.presentationml.tags+xml"/>
  <Override PartName="/ppt/notesSlides/notesSlide2.xml" ContentType="application/vnd.openxmlformats-officedocument.presentationml.notesSlide+xml"/>
  <Override PartName="/ppt/tags/tag113.xml" ContentType="application/vnd.openxmlformats-officedocument.presentationml.tags+xml"/>
  <Override PartName="/ppt/notesSlides/notesSlide3.xml" ContentType="application/vnd.openxmlformats-officedocument.presentationml.notesSlide+xml"/>
  <Override PartName="/ppt/tags/tag114.xml" ContentType="application/vnd.openxmlformats-officedocument.presentationml.tags+xml"/>
  <Override PartName="/ppt/notesSlides/notesSlide4.xml" ContentType="application/vnd.openxmlformats-officedocument.presentationml.notesSlide+xml"/>
  <Override PartName="/ppt/tags/tag115.xml" ContentType="application/vnd.openxmlformats-officedocument.presentationml.tags+xml"/>
  <Override PartName="/ppt/notesSlides/notesSlide5.xml" ContentType="application/vnd.openxmlformats-officedocument.presentationml.notesSlide+xml"/>
  <Override PartName="/ppt/tags/tag116.xml" ContentType="application/vnd.openxmlformats-officedocument.presentationml.tags+xml"/>
  <Override PartName="/ppt/notesSlides/notesSlide6.xml" ContentType="application/vnd.openxmlformats-officedocument.presentationml.notesSlide+xml"/>
  <Override PartName="/ppt/tags/tag117.xml" ContentType="application/vnd.openxmlformats-officedocument.presentationml.tags+xml"/>
  <Override PartName="/ppt/notesSlides/notesSlide7.xml" ContentType="application/vnd.openxmlformats-officedocument.presentationml.notesSlide+xml"/>
  <Override PartName="/ppt/tags/tag118.xml" ContentType="application/vnd.openxmlformats-officedocument.presentationml.tags+xml"/>
  <Override PartName="/ppt/notesSlides/notesSlide8.xml" ContentType="application/vnd.openxmlformats-officedocument.presentationml.notesSlide+xml"/>
  <Override PartName="/ppt/tags/tag119.xml" ContentType="application/vnd.openxmlformats-officedocument.presentationml.tags+xml"/>
  <Override PartName="/ppt/notesSlides/notesSlide9.xml" ContentType="application/vnd.openxmlformats-officedocument.presentationml.notesSlide+xml"/>
  <Override PartName="/ppt/tags/tag120.xml" ContentType="application/vnd.openxmlformats-officedocument.presentationml.tags+xml"/>
  <Override PartName="/ppt/notesSlides/notesSlide10.xml" ContentType="application/vnd.openxmlformats-officedocument.presentationml.notesSlide+xml"/>
  <Override PartName="/ppt/tags/tag121.xml" ContentType="application/vnd.openxmlformats-officedocument.presentationml.tags+xml"/>
  <Override PartName="/ppt/notesSlides/notesSlide11.xml" ContentType="application/vnd.openxmlformats-officedocument.presentationml.notesSlide+xml"/>
  <Override PartName="/ppt/tags/tag122.xml" ContentType="application/vnd.openxmlformats-officedocument.presentationml.tags+xml"/>
  <Override PartName="/ppt/notesSlides/notesSlide12.xml" ContentType="application/vnd.openxmlformats-officedocument.presentationml.notesSlide+xml"/>
  <Override PartName="/ppt/tags/tag123.xml" ContentType="application/vnd.openxmlformats-officedocument.presentationml.tags+xml"/>
  <Override PartName="/ppt/notesSlides/notesSlide13.xml" ContentType="application/vnd.openxmlformats-officedocument.presentationml.notesSlide+xml"/>
  <Override PartName="/ppt/tags/tag124.xml" ContentType="application/vnd.openxmlformats-officedocument.presentationml.tags+xml"/>
  <Override PartName="/ppt/notesSlides/notesSlide14.xml" ContentType="application/vnd.openxmlformats-officedocument.presentationml.notesSlide+xml"/>
  <Override PartName="/ppt/tags/tag125.xml" ContentType="application/vnd.openxmlformats-officedocument.presentationml.tags+xml"/>
  <Override PartName="/ppt/notesSlides/notesSlide15.xml" ContentType="application/vnd.openxmlformats-officedocument.presentationml.notesSlide+xml"/>
  <Override PartName="/ppt/tags/tag126.xml" ContentType="application/vnd.openxmlformats-officedocument.presentationml.tags+xml"/>
  <Override PartName="/ppt/notesSlides/notesSlide16.xml" ContentType="application/vnd.openxmlformats-officedocument.presentationml.notesSlide+xml"/>
  <Override PartName="/ppt/tags/tag127.xml" ContentType="application/vnd.openxmlformats-officedocument.presentationml.tags+xml"/>
  <Override PartName="/ppt/notesSlides/notesSlide17.xml" ContentType="application/vnd.openxmlformats-officedocument.presentationml.notesSlide+xml"/>
  <Override PartName="/ppt/tags/tag128.xml" ContentType="application/vnd.openxmlformats-officedocument.presentationml.tags+xml"/>
  <Override PartName="/ppt/notesSlides/notesSlide18.xml" ContentType="application/vnd.openxmlformats-officedocument.presentationml.notesSlide+xml"/>
  <Override PartName="/ppt/tags/tag129.xml" ContentType="application/vnd.openxmlformats-officedocument.presentationml.tags+xml"/>
  <Override PartName="/ppt/notesSlides/notesSlide19.xml" ContentType="application/vnd.openxmlformats-officedocument.presentationml.notesSlide+xml"/>
  <Override PartName="/ppt/tags/tag130.xml" ContentType="application/vnd.openxmlformats-officedocument.presentationml.tags+xml"/>
  <Override PartName="/ppt/notesSlides/notesSlide20.xml" ContentType="application/vnd.openxmlformats-officedocument.presentationml.notesSlide+xml"/>
  <Override PartName="/ppt/tags/tag131.xml" ContentType="application/vnd.openxmlformats-officedocument.presentationml.tags+xml"/>
  <Override PartName="/ppt/notesSlides/notesSlide21.xml" ContentType="application/vnd.openxmlformats-officedocument.presentationml.notesSlide+xml"/>
  <Override PartName="/ppt/tags/tag132.xml" ContentType="application/vnd.openxmlformats-officedocument.presentationml.tags+xml"/>
  <Override PartName="/ppt/notesSlides/notesSlide22.xml" ContentType="application/vnd.openxmlformats-officedocument.presentationml.notesSlide+xml"/>
  <Override PartName="/ppt/tags/tag133.xml" ContentType="application/vnd.openxmlformats-officedocument.presentationml.tags+xml"/>
  <Override PartName="/ppt/notesSlides/notesSlide23.xml" ContentType="application/vnd.openxmlformats-officedocument.presentationml.notesSlide+xml"/>
  <Override PartName="/ppt/tags/tag134.xml" ContentType="application/vnd.openxmlformats-officedocument.presentationml.tags+xml"/>
  <Override PartName="/ppt/notesSlides/notesSlide24.xml" ContentType="application/vnd.openxmlformats-officedocument.presentationml.notesSlide+xml"/>
  <Override PartName="/ppt/tags/tag135.xml" ContentType="application/vnd.openxmlformats-officedocument.presentationml.tags+xml"/>
  <Override PartName="/ppt/notesSlides/notesSlide25.xml" ContentType="application/vnd.openxmlformats-officedocument.presentationml.notesSlide+xml"/>
  <Override PartName="/ppt/tags/tag136.xml" ContentType="application/vnd.openxmlformats-officedocument.presentationml.tags+xml"/>
  <Override PartName="/ppt/tags/tag137.xml" ContentType="application/vnd.openxmlformats-officedocument.presentationml.tags+xml"/>
  <Override PartName="/ppt/notesSlides/notesSlide26.xml" ContentType="application/vnd.openxmlformats-officedocument.presentationml.notesSlide+xml"/>
  <Override PartName="/ppt/tags/tag138.xml" ContentType="application/vnd.openxmlformats-officedocument.presentationml.tags+xml"/>
  <Override PartName="/ppt/tags/tag139.xml" ContentType="application/vnd.openxmlformats-officedocument.presentationml.tags+xml"/>
  <Override PartName="/ppt/notesSlides/notesSlide27.xml" ContentType="application/vnd.openxmlformats-officedocument.presentationml.notesSlide+xml"/>
  <Override PartName="/ppt/tags/tag140.xml" ContentType="application/vnd.openxmlformats-officedocument.presentationml.tags+xml"/>
  <Override PartName="/ppt/tags/tag141.xml" ContentType="application/vnd.openxmlformats-officedocument.presentationml.tags+xml"/>
  <Override PartName="/ppt/notesSlides/notesSlide28.xml" ContentType="application/vnd.openxmlformats-officedocument.presentationml.notesSlide+xml"/>
  <Override PartName="/ppt/tags/tag142.xml" ContentType="application/vnd.openxmlformats-officedocument.presentationml.tags+xml"/>
  <Override PartName="/ppt/tags/tag143.xml" ContentType="application/vnd.openxmlformats-officedocument.presentationml.tags+xml"/>
  <Override PartName="/ppt/notesSlides/notesSlide29.xml" ContentType="application/vnd.openxmlformats-officedocument.presentationml.notesSlide+xml"/>
  <Override PartName="/ppt/tags/tag144.xml" ContentType="application/vnd.openxmlformats-officedocument.presentationml.tags+xml"/>
  <Override PartName="/ppt/notesSlides/notesSlide30.xml" ContentType="application/vnd.openxmlformats-officedocument.presentationml.notesSlide+xml"/>
  <Override PartName="/ppt/tags/tag145.xml" ContentType="application/vnd.openxmlformats-officedocument.presentationml.tags+xml"/>
  <Override PartName="/ppt/notesSlides/notesSlide31.xml" ContentType="application/vnd.openxmlformats-officedocument.presentationml.notesSlide+xml"/>
  <Override PartName="/ppt/tags/tag146.xml" ContentType="application/vnd.openxmlformats-officedocument.presentationml.tags+xml"/>
  <Override PartName="/ppt/notesSlides/notesSlide32.xml" ContentType="application/vnd.openxmlformats-officedocument.presentationml.notesSlide+xml"/>
  <Override PartName="/ppt/tags/tag147.xml" ContentType="application/vnd.openxmlformats-officedocument.presentationml.tags+xml"/>
  <Override PartName="/ppt/notesSlides/notesSlide33.xml" ContentType="application/vnd.openxmlformats-officedocument.presentationml.notesSlide+xml"/>
  <Override PartName="/ppt/tags/tag148.xml" ContentType="application/vnd.openxmlformats-officedocument.presentationml.tags+xml"/>
  <Override PartName="/ppt/notesSlides/notesSlide34.xml" ContentType="application/vnd.openxmlformats-officedocument.presentationml.notesSlide+xml"/>
  <Override PartName="/ppt/tags/tag149.xml" ContentType="application/vnd.openxmlformats-officedocument.presentationml.tags+xml"/>
  <Override PartName="/ppt/notesSlides/notesSlide35.xml" ContentType="application/vnd.openxmlformats-officedocument.presentationml.notesSlide+xml"/>
  <Override PartName="/ppt/tags/tag150.xml" ContentType="application/vnd.openxmlformats-officedocument.presentationml.tags+xml"/>
  <Override PartName="/ppt/notesSlides/notesSlide36.xml" ContentType="application/vnd.openxmlformats-officedocument.presentationml.notesSlide+xml"/>
  <Override PartName="/ppt/tags/tag151.xml" ContentType="application/vnd.openxmlformats-officedocument.presentationml.tags+xml"/>
  <Override PartName="/ppt/notesSlides/notesSlide37.xml" ContentType="application/vnd.openxmlformats-officedocument.presentationml.notesSlide+xml"/>
  <Override PartName="/ppt/tags/tag152.xml" ContentType="application/vnd.openxmlformats-officedocument.presentationml.tags+xml"/>
  <Override PartName="/ppt/notesSlides/notesSlide38.xml" ContentType="application/vnd.openxmlformats-officedocument.presentationml.notesSlide+xml"/>
  <Override PartName="/ppt/tags/tag153.xml" ContentType="application/vnd.openxmlformats-officedocument.presentationml.tags+xml"/>
  <Override PartName="/ppt/notesSlides/notesSlide39.xml" ContentType="application/vnd.openxmlformats-officedocument.presentationml.notesSlide+xml"/>
  <Override PartName="/ppt/tags/tag154.xml" ContentType="application/vnd.openxmlformats-officedocument.presentationml.tags+xml"/>
  <Override PartName="/ppt/notesSlides/notesSlide40.xml" ContentType="application/vnd.openxmlformats-officedocument.presentationml.notesSlide+xml"/>
  <Override PartName="/ppt/tags/tag155.xml" ContentType="application/vnd.openxmlformats-officedocument.presentationml.tags+xml"/>
  <Override PartName="/ppt/notesSlides/notesSlide41.xml" ContentType="application/vnd.openxmlformats-officedocument.presentationml.notesSlide+xml"/>
  <Override PartName="/ppt/tags/tag156.xml" ContentType="application/vnd.openxmlformats-officedocument.presentationml.tags+xml"/>
  <Override PartName="/ppt/notesSlides/notesSlide42.xml" ContentType="application/vnd.openxmlformats-officedocument.presentationml.notesSlide+xml"/>
  <Override PartName="/ppt/tags/tag157.xml" ContentType="application/vnd.openxmlformats-officedocument.presentationml.tags+xml"/>
  <Override PartName="/ppt/notesSlides/notesSlide43.xml" ContentType="application/vnd.openxmlformats-officedocument.presentationml.notesSlide+xml"/>
  <Override PartName="/ppt/tags/tag158.xml" ContentType="application/vnd.openxmlformats-officedocument.presentationml.tags+xml"/>
  <Override PartName="/ppt/notesSlides/notesSlide44.xml" ContentType="application/vnd.openxmlformats-officedocument.presentationml.notesSlide+xml"/>
  <Override PartName="/ppt/tags/tag159.xml" ContentType="application/vnd.openxmlformats-officedocument.presentationml.tags+xml"/>
  <Override PartName="/ppt/notesSlides/notesSlide45.xml" ContentType="application/vnd.openxmlformats-officedocument.presentationml.notesSlide+xml"/>
  <Override PartName="/ppt/tags/tag160.xml" ContentType="application/vnd.openxmlformats-officedocument.presentationml.tags+xml"/>
  <Override PartName="/ppt/notesSlides/notesSlide4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909" r:id="rId4"/>
    <p:sldMasterId id="2147483923" r:id="rId5"/>
    <p:sldMasterId id="2147483943" r:id="rId6"/>
    <p:sldMasterId id="2147483763" r:id="rId7"/>
    <p:sldMasterId id="2147483979" r:id="rId8"/>
    <p:sldMasterId id="2147484037" r:id="rId9"/>
    <p:sldMasterId id="2147484115" r:id="rId10"/>
    <p:sldMasterId id="2147484142" r:id="rId11"/>
    <p:sldMasterId id="2147484156" r:id="rId12"/>
  </p:sldMasterIdLst>
  <p:notesMasterIdLst>
    <p:notesMasterId r:id="rId59"/>
  </p:notesMasterIdLst>
  <p:handoutMasterIdLst>
    <p:handoutMasterId r:id="rId60"/>
  </p:handoutMasterIdLst>
  <p:sldIdLst>
    <p:sldId id="430" r:id="rId13"/>
    <p:sldId id="2147481636" r:id="rId14"/>
    <p:sldId id="2147481689" r:id="rId15"/>
    <p:sldId id="2147481690" r:id="rId16"/>
    <p:sldId id="2147481691" r:id="rId17"/>
    <p:sldId id="2147481675" r:id="rId18"/>
    <p:sldId id="2147481651" r:id="rId19"/>
    <p:sldId id="2147481672" r:id="rId20"/>
    <p:sldId id="2147481660" r:id="rId21"/>
    <p:sldId id="2147481659" r:id="rId22"/>
    <p:sldId id="2147481658" r:id="rId23"/>
    <p:sldId id="2147481657" r:id="rId24"/>
    <p:sldId id="2147481661" r:id="rId25"/>
    <p:sldId id="2147481662" r:id="rId26"/>
    <p:sldId id="2147481635" r:id="rId27"/>
    <p:sldId id="2147481663" r:id="rId28"/>
    <p:sldId id="2147481637" r:id="rId29"/>
    <p:sldId id="2147481674" r:id="rId30"/>
    <p:sldId id="2147481667" r:id="rId31"/>
    <p:sldId id="2147481471" r:id="rId32"/>
    <p:sldId id="2147481664" r:id="rId33"/>
    <p:sldId id="2147481665" r:id="rId34"/>
    <p:sldId id="2147481666" r:id="rId35"/>
    <p:sldId id="2147481673" r:id="rId36"/>
    <p:sldId id="2147481668" r:id="rId37"/>
    <p:sldId id="2147481415" r:id="rId38"/>
    <p:sldId id="2147481456" r:id="rId39"/>
    <p:sldId id="2145705969" r:id="rId40"/>
    <p:sldId id="2145705899" r:id="rId41"/>
    <p:sldId id="2147481669" r:id="rId42"/>
    <p:sldId id="2147481454" r:id="rId43"/>
    <p:sldId id="2147481458" r:id="rId44"/>
    <p:sldId id="2147481459" r:id="rId45"/>
    <p:sldId id="2147481460" r:id="rId46"/>
    <p:sldId id="2147481670" r:id="rId47"/>
    <p:sldId id="2147481466" r:id="rId48"/>
    <p:sldId id="2147481464" r:id="rId49"/>
    <p:sldId id="2147481465" r:id="rId50"/>
    <p:sldId id="2147481671" r:id="rId51"/>
    <p:sldId id="2147481467" r:id="rId52"/>
    <p:sldId id="2147481468" r:id="rId53"/>
    <p:sldId id="2147481469" r:id="rId54"/>
    <p:sldId id="2147481470" r:id="rId55"/>
    <p:sldId id="2147481445" r:id="rId56"/>
    <p:sldId id="2147481633" r:id="rId57"/>
    <p:sldId id="420" r:id="rId58"/>
  </p:sldIdLst>
  <p:sldSz cx="12192000" cy="6858000"/>
  <p:notesSz cx="6761163" cy="9942513"/>
  <p:embeddedFontLst>
    <p:embeddedFont>
      <p:font typeface="Forever Forma Body Text" panose="00000000000000090000" pitchFamily="50" charset="0"/>
      <p:regular r:id="rId61"/>
      <p:bold r:id="rId62"/>
      <p:italic r:id="rId63"/>
      <p:boldItalic r:id="rId64"/>
    </p:embeddedFont>
    <p:embeddedFont>
      <p:font typeface="Forever Forma Heading" panose="00000000000000090000" pitchFamily="50" charset="0"/>
      <p:regular r:id="rId65"/>
      <p:bold r:id="rId66"/>
      <p:italic r:id="rId67"/>
      <p:boldItalic r:id="rId68"/>
    </p:embeddedFont>
    <p:embeddedFont>
      <p:font typeface="Open Sans Condensed Condensed" panose="020B0604020202020204" charset="0"/>
      <p:regular r:id="rId69"/>
      <p:bold r:id="rId70"/>
      <p:italic r:id="rId71"/>
      <p:boldItalic r:id="rId72"/>
    </p:embeddedFont>
  </p:embeddedFontLst>
  <p:custDataLst>
    <p:tags r:id="rId73"/>
  </p:custDataLst>
  <p:defaultTextStyle>
    <a:defPPr>
      <a:defRPr lang="en-US"/>
    </a:defPPr>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p:defaultTextStyle>
  <p:extLst>
    <p:ext uri="{521415D9-36F7-43E2-AB2F-B90AF26B5E84}">
      <p14:sectionLst xmlns:p14="http://schemas.microsoft.com/office/powerpoint/2010/main">
        <p14:section name="Intro/Agenda" id="{8C358DFD-E4BB-4DF7-90D4-E191C83D285C}">
          <p14:sldIdLst>
            <p14:sldId id="430"/>
          </p14:sldIdLst>
        </p14:section>
        <p14:section name="Increased Face Amount" id="{28088A38-BDB0-492A-B332-D87F072D5855}">
          <p14:sldIdLst>
            <p14:sldId id="2147481636"/>
            <p14:sldId id="2147481689"/>
          </p14:sldIdLst>
        </p14:section>
        <p14:section name="Additional Documents Available" id="{2B7A7930-CA25-43E1-BE6E-FFB334BE0C80}">
          <p14:sldIdLst>
            <p14:sldId id="2147481690"/>
            <p14:sldId id="2147481691"/>
          </p14:sldIdLst>
        </p14:section>
        <p14:section name="Third-Party Payor" id="{C0117288-14BF-4BE2-9D62-C27050E1D63C}">
          <p14:sldIdLst>
            <p14:sldId id="2147481675"/>
            <p14:sldId id="2147481651"/>
            <p14:sldId id="2147481672"/>
            <p14:sldId id="2147481660"/>
            <p14:sldId id="2147481659"/>
            <p14:sldId id="2147481658"/>
            <p14:sldId id="2147481657"/>
            <p14:sldId id="2147481661"/>
            <p14:sldId id="2147481662"/>
          </p14:sldIdLst>
        </p14:section>
        <p14:section name="Multi-Policy Functionality" id="{3AA19A8E-527B-4400-982F-2962E2C52D79}">
          <p14:sldIdLst>
            <p14:sldId id="2147481635"/>
            <p14:sldId id="2147481663"/>
          </p14:sldIdLst>
        </p14:section>
        <p14:section name="Draft Date Changes, ACH Retry, Email Enhancements" id="{D305A842-B0FD-40A8-8535-C766D4C4725E}">
          <p14:sldIdLst>
            <p14:sldId id="2147481637"/>
            <p14:sldId id="2147481674"/>
          </p14:sldIdLst>
        </p14:section>
        <p14:section name="PIN-to-Sign" id="{236CA5C1-A647-4A6F-8468-9210FBB9728B}">
          <p14:sldIdLst>
            <p14:sldId id="2147481667"/>
            <p14:sldId id="2147481471"/>
            <p14:sldId id="2147481664"/>
            <p14:sldId id="2147481665"/>
            <p14:sldId id="2147481666"/>
            <p14:sldId id="2147481673"/>
          </p14:sldIdLst>
        </p14:section>
        <p14:section name="Policy Promise" id="{B4B5DBE8-259D-4E39-852E-B7395AACDB3D}">
          <p14:sldIdLst>
            <p14:sldId id="2147481668"/>
            <p14:sldId id="2147481415"/>
            <p14:sldId id="2147481456"/>
            <p14:sldId id="2145705969"/>
            <p14:sldId id="2145705899"/>
          </p14:sldIdLst>
        </p14:section>
        <p14:section name="Payment Improvements" id="{EFB713F2-DF35-4C1A-9253-83323EF9F860}">
          <p14:sldIdLst>
            <p14:sldId id="2147481669"/>
            <p14:sldId id="2147481454"/>
            <p14:sldId id="2147481458"/>
            <p14:sldId id="2147481459"/>
            <p14:sldId id="2147481460"/>
          </p14:sldIdLst>
        </p14:section>
        <p14:section name="Agent Sync and Resources Page" id="{5FAEFBD2-F9B2-42E2-A98B-97380B699DB7}">
          <p14:sldIdLst>
            <p14:sldId id="2147481670"/>
            <p14:sldId id="2147481466"/>
            <p14:sldId id="2147481464"/>
            <p14:sldId id="2147481465"/>
          </p14:sldIdLst>
        </p14:section>
        <p14:section name="UW Enhancements" id="{A9747FAF-C8DA-476F-AA33-C85A5AAA80AE}">
          <p14:sldIdLst>
            <p14:sldId id="2147481671"/>
            <p14:sldId id="2147481467"/>
            <p14:sldId id="2147481468"/>
            <p14:sldId id="2147481469"/>
            <p14:sldId id="2147481470"/>
            <p14:sldId id="2147481445"/>
          </p14:sldIdLst>
        </p14:section>
        <p14:section name="Demonstration Tool" id="{A4335C16-6125-4E41-88F6-A01B80BE6E83}">
          <p14:sldIdLst>
            <p14:sldId id="2147481633"/>
          </p14:sldIdLst>
        </p14:section>
        <p14:section name="Closing" id="{843E1B55-373F-4F04-A07A-94217B79BB6C}">
          <p14:sldIdLst>
            <p14:sldId id="420"/>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orient="horz" pos="3838" userDrawn="1">
          <p15:clr>
            <a:srgbClr val="A4A3A4"/>
          </p15:clr>
        </p15:guide>
        <p15:guide id="4" orient="horz" pos="799" userDrawn="1">
          <p15:clr>
            <a:srgbClr val="A4A3A4"/>
          </p15:clr>
        </p15:guide>
        <p15:guide id="6" pos="302" userDrawn="1">
          <p15:clr>
            <a:srgbClr val="A4A3A4"/>
          </p15:clr>
        </p15:guide>
        <p15:guide id="7" pos="7378" userDrawn="1">
          <p15:clr>
            <a:srgbClr val="A4A3A4"/>
          </p15:clr>
        </p15:guide>
        <p15:guide id="8" orient="horz" pos="102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7EA5742-0571-5896-B5B6-4B85359E9AEA}" name="Rihana Azam" initials="RA" userId="S::razam@monigle.com::1b82242a-31e6-4f15-a2e6-753ae9684ea0" providerId="AD"/>
  <p188:author id="{60AA7D4E-71A3-D6AB-98FE-AF8B0588C621}" name="Paige Keefe" initials="PK" userId="S::pkeefe@monigle.com::2ca73381-0797-4166-9d46-21bcd0d5e09b" providerId="AD"/>
  <p188:author id="{B7502BA3-4140-9A58-C44B-7189D71B76B4}" name="Johnson, Lindsay" initials="LJ" userId="S::Lindsay.Johnson@transamerica.com::319693b1-92f6-47ca-8a9c-2c546be92264" providerId="AD"/>
  <p188:author id="{237A01A6-11F2-EF15-5881-75323DFF3672}" name="Hilhorst, Cindi" initials="CH" userId="S::Cindi.Hilhorst@aegon.com::36122424-264c-499c-9809-59a4f586049d" providerId="AD"/>
  <p188:author id="{3C4E74AF-A3C9-C344-13E3-0F88402369CA}" name="Buchanan, Lauren" initials="BL" userId="S::lauren.buchanan@aegon.co.uk::8a172861-7ce1-4990-a6a2-cb2ed323183a" providerId="AD"/>
  <p188:author id="{288B77C2-5A68-1EDA-61A5-2447679BE25C}" name="Alicia Castro" initials="AC" userId="S::alicia@totaldesign.com::3977efb3-a04f-4d2d-b648-9a767114394d" providerId="AD"/>
  <p188:author id="{876BA9D2-060D-C52C-58DF-7AB642B56108}" name="Aaron Finkelstein" initials="" userId="S::afinkelstein@monigle.com::f6a6b133-dd56-4592-8683-6efe640232f8" providerId="AD"/>
  <p188:author id="{80B923FD-45B3-C0D0-6443-5A20A47C8ED3}" name="Baird, Victoria" initials="VB" userId="S::victoria.baird@aegon.co.uk::2a91099c-426a-4447-95af-c2557cba041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CECEC"/>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DF0A1DD-AF7C-43C2-8A63-F5DA27BF3FC0}" v="60" dt="2026-01-16T18:58:33.376"/>
  </p1510:revLst>
</p1510:revInfo>
</file>

<file path=ppt/tableStyles.xml><?xml version="1.0" encoding="utf-8"?>
<a:tblStyleLst xmlns:a="http://schemas.openxmlformats.org/drawingml/2006/main" def="{9D7B26C5-4107-4FEC-AEDC-1716B250A1EF}">
  <a:tblStyle styleId="{3B4B98B0-60AC-42C2-AFA5-B58CD77FA1A2}" styleName="Grass Green">
    <a:wholeTbl>
      <a:tcTxStyle>
        <a:fontRef idx="minor">
          <a:scrgbClr r="0" g="0" b="0"/>
        </a:fontRef>
        <a:schemeClr val="tx1"/>
      </a:tcTxStyle>
      <a:tcStyle>
        <a:tcBdr>
          <a:left>
            <a:ln>
              <a:noFill/>
            </a:ln>
          </a:left>
          <a:right>
            <a:ln>
              <a:noFill/>
            </a:ln>
          </a:right>
          <a:top>
            <a:ln w="12700" cmpd="sng">
              <a:solidFill>
                <a:srgbClr val="4CD300"/>
              </a:solidFill>
            </a:ln>
          </a:top>
          <a:bottom>
            <a:ln w="12700" cmpd="sng">
              <a:solidFill>
                <a:srgbClr val="4CD300"/>
              </a:solidFill>
            </a:ln>
          </a:bottom>
          <a:insideH>
            <a:ln>
              <a:noFill/>
            </a:ln>
          </a:insideH>
          <a:insideV>
            <a:ln>
              <a:noFill/>
            </a:ln>
          </a:insideV>
        </a:tcBdr>
        <a:fill>
          <a:noFill/>
        </a:fill>
      </a:tcStyle>
    </a:wholeTbl>
    <a:band1H>
      <a:tcStyle>
        <a:tcBdr/>
        <a:fill>
          <a:solidFill>
            <a:srgbClr val="CCEEB8"/>
          </a:solidFill>
        </a:fill>
      </a:tcStyle>
    </a:band1H>
    <a:band2H>
      <a:tcStyle>
        <a:tcBdr/>
      </a:tcStyle>
    </a:band2H>
    <a:band1V>
      <a:tcStyle>
        <a:tcBdr/>
        <a:fill>
          <a:solidFill>
            <a:srgbClr val="CCEEB8"/>
          </a:solidFill>
        </a:fill>
      </a:tcStyle>
    </a:band1V>
    <a:lastCol>
      <a:tcTxStyle b="on"/>
      <a:tcStyle>
        <a:tcBdr/>
      </a:tcStyle>
    </a:lastCol>
    <a:firstCol>
      <a:tcTxStyle b="on"/>
      <a:tcStyle>
        <a:tcBdr/>
      </a:tcStyle>
    </a:firstCol>
    <a:lastRow>
      <a:tcTxStyle b="on"/>
      <a:tcStyle>
        <a:tcBdr>
          <a:top>
            <a:ln w="12700" cmpd="sng">
              <a:solidFill>
                <a:srgbClr val="4CD300"/>
              </a:solidFill>
            </a:ln>
          </a:top>
        </a:tcBdr>
        <a:fill>
          <a:noFill/>
        </a:fill>
      </a:tcStyle>
    </a:lastRow>
    <a:firstRow>
      <a:tcTxStyle b="on"/>
      <a:tcStyle>
        <a:tcBdr>
          <a:bottom>
            <a:ln w="12700" cmpd="sng">
              <a:solidFill>
                <a:srgbClr val="4CD300"/>
              </a:solidFill>
            </a:ln>
          </a:bottom>
        </a:tcBdr>
        <a:fill>
          <a:noFill/>
        </a:fill>
      </a:tcStyle>
    </a:firstRow>
  </a:tblStyle>
  <a:tblStyle styleId="{C083E6E3-FA7D-4D7B-A595-EF9225AFEAA4}" styleName="Hot Pink">
    <a:wholeTbl>
      <a:tcTxStyle>
        <a:fontRef idx="minor">
          <a:scrgbClr r="0" g="0" b="0"/>
        </a:fontRef>
        <a:schemeClr val="tx1"/>
      </a:tcTxStyle>
      <a:tcStyle>
        <a:tcBdr>
          <a:left>
            <a:ln>
              <a:noFill/>
            </a:ln>
          </a:left>
          <a:right>
            <a:ln>
              <a:noFill/>
            </a:ln>
          </a:right>
          <a:top>
            <a:ln w="12700" cmpd="sng">
              <a:solidFill>
                <a:srgbClr val="FA69FF"/>
              </a:solidFill>
            </a:ln>
          </a:top>
          <a:bottom>
            <a:ln w="12700" cmpd="sng">
              <a:solidFill>
                <a:srgbClr val="FA69FF"/>
              </a:solidFill>
            </a:ln>
          </a:bottom>
          <a:insideH>
            <a:ln>
              <a:noFill/>
            </a:ln>
          </a:insideH>
          <a:insideV>
            <a:ln>
              <a:noFill/>
            </a:ln>
          </a:insideV>
        </a:tcBdr>
        <a:fill>
          <a:noFill/>
        </a:fill>
      </a:tcStyle>
    </a:wholeTbl>
    <a:band1H>
      <a:tcStyle>
        <a:tcBdr/>
        <a:fill>
          <a:solidFill>
            <a:srgbClr val="F7D2F8"/>
          </a:solidFill>
        </a:fill>
      </a:tcStyle>
    </a:band1H>
    <a:band2H>
      <a:tcStyle>
        <a:tcBdr/>
      </a:tcStyle>
    </a:band2H>
    <a:band1V>
      <a:tcStyle>
        <a:tcBdr/>
        <a:fill>
          <a:solidFill>
            <a:srgbClr val="F7D2F8"/>
          </a:solidFill>
        </a:fill>
      </a:tcStyle>
    </a:band1V>
    <a:lastCol>
      <a:tcTxStyle b="on"/>
      <a:tcStyle>
        <a:tcBdr/>
      </a:tcStyle>
    </a:lastCol>
    <a:firstCol>
      <a:tcTxStyle b="on"/>
      <a:tcStyle>
        <a:tcBdr/>
      </a:tcStyle>
    </a:firstCol>
    <a:lastRow>
      <a:tcTxStyle b="on"/>
      <a:tcStyle>
        <a:tcBdr>
          <a:top>
            <a:ln w="12700" cmpd="sng">
              <a:solidFill>
                <a:srgbClr val="FA69FF"/>
              </a:solidFill>
            </a:ln>
          </a:top>
        </a:tcBdr>
        <a:fill>
          <a:noFill/>
        </a:fill>
      </a:tcStyle>
    </a:lastRow>
    <a:firstRow>
      <a:tcTxStyle b="on"/>
      <a:tcStyle>
        <a:tcBdr>
          <a:bottom>
            <a:ln w="12700" cmpd="sng">
              <a:solidFill>
                <a:srgbClr val="FA69FF"/>
              </a:solidFill>
            </a:ln>
          </a:bottom>
        </a:tcBdr>
        <a:fill>
          <a:noFill/>
        </a:fill>
      </a:tcStyle>
    </a:firstRow>
  </a:tblStyle>
  <a:tblStyle styleId="{5FD0F851-EC5A-4D38-B0AD-8093EC10F3A6}" styleName="Sky Blue">
    <a:wholeTbl>
      <a:tcTxStyle>
        <a:fontRef idx="minor">
          <a:scrgbClr r="0" g="0" b="0"/>
        </a:fontRef>
        <a:schemeClr val="tx1"/>
      </a:tcTxStyle>
      <a:tcStyle>
        <a:tcBdr>
          <a:left>
            <a:ln>
              <a:noFill/>
            </a:ln>
          </a:left>
          <a:right>
            <a:ln>
              <a:noFill/>
            </a:ln>
          </a:right>
          <a:top>
            <a:ln w="12700" cmpd="sng">
              <a:solidFill>
                <a:srgbClr val="63B6FF"/>
              </a:solidFill>
            </a:ln>
          </a:top>
          <a:bottom>
            <a:ln w="12700" cmpd="sng">
              <a:solidFill>
                <a:srgbClr val="63B6FF"/>
              </a:solidFill>
            </a:ln>
          </a:bottom>
          <a:insideH>
            <a:ln>
              <a:noFill/>
            </a:ln>
          </a:insideH>
          <a:insideV>
            <a:ln>
              <a:noFill/>
            </a:ln>
          </a:insideV>
        </a:tcBdr>
        <a:fill>
          <a:noFill/>
        </a:fill>
      </a:tcStyle>
    </a:wholeTbl>
    <a:band1H>
      <a:tcStyle>
        <a:tcBdr/>
        <a:fill>
          <a:solidFill>
            <a:srgbClr val="D1E6F8"/>
          </a:solidFill>
        </a:fill>
      </a:tcStyle>
    </a:band1H>
    <a:band2H>
      <a:tcStyle>
        <a:tcBdr/>
      </a:tcStyle>
    </a:band2H>
    <a:band1V>
      <a:tcStyle>
        <a:tcBdr/>
        <a:fill>
          <a:solidFill>
            <a:srgbClr val="D1E6F8"/>
          </a:solidFill>
        </a:fill>
      </a:tcStyle>
    </a:band1V>
    <a:lastCol>
      <a:tcTxStyle b="on"/>
      <a:tcStyle>
        <a:tcBdr/>
      </a:tcStyle>
    </a:lastCol>
    <a:firstCol>
      <a:tcTxStyle b="on"/>
      <a:tcStyle>
        <a:tcBdr/>
      </a:tcStyle>
    </a:firstCol>
    <a:lastRow>
      <a:tcTxStyle b="on"/>
      <a:tcStyle>
        <a:tcBdr>
          <a:top>
            <a:ln w="12700" cmpd="sng">
              <a:solidFill>
                <a:srgbClr val="63B6FF"/>
              </a:solidFill>
            </a:ln>
          </a:top>
        </a:tcBdr>
        <a:fill>
          <a:noFill/>
        </a:fill>
      </a:tcStyle>
    </a:lastRow>
    <a:firstRow>
      <a:tcTxStyle b="on"/>
      <a:tcStyle>
        <a:tcBdr>
          <a:bottom>
            <a:ln w="12700" cmpd="sng">
              <a:solidFill>
                <a:srgbClr val="63B6FF"/>
              </a:solidFill>
            </a:ln>
          </a:bottom>
        </a:tcBdr>
        <a:fill>
          <a:noFill/>
        </a:fill>
      </a:tcStyle>
    </a:firstRow>
  </a:tblStyle>
  <a:tblStyle styleId="{0E3FDE45-AF77-4B5C-9715-49D594BDF0A3}" styleName="Lavender Purple">
    <a:wholeTbl>
      <a:tcTxStyle>
        <a:fontRef idx="minor">
          <a:scrgbClr r="0" g="0" b="0"/>
        </a:fontRef>
        <a:schemeClr val="tx1"/>
      </a:tcTxStyle>
      <a:tcStyle>
        <a:tcBdr>
          <a:left>
            <a:ln>
              <a:noFill/>
            </a:ln>
          </a:left>
          <a:right>
            <a:ln>
              <a:noFill/>
            </a:ln>
          </a:right>
          <a:top>
            <a:ln w="12700" cmpd="sng">
              <a:solidFill>
                <a:srgbClr val="641EE0"/>
              </a:solidFill>
            </a:ln>
          </a:top>
          <a:bottom>
            <a:ln w="12700" cmpd="sng">
              <a:solidFill>
                <a:srgbClr val="641EE0"/>
              </a:solidFill>
            </a:ln>
          </a:bottom>
          <a:insideH>
            <a:ln>
              <a:noFill/>
            </a:ln>
          </a:insideH>
          <a:insideV>
            <a:ln>
              <a:noFill/>
            </a:ln>
          </a:insideV>
        </a:tcBdr>
        <a:fill>
          <a:noFill/>
        </a:fill>
      </a:tcStyle>
    </a:wholeTbl>
    <a:band1H>
      <a:tcStyle>
        <a:tcBdr/>
        <a:fill>
          <a:solidFill>
            <a:srgbClr val="D2BCF1"/>
          </a:solidFill>
        </a:fill>
      </a:tcStyle>
    </a:band1H>
    <a:band2H>
      <a:tcStyle>
        <a:tcBdr/>
      </a:tcStyle>
    </a:band2H>
    <a:band1V>
      <a:tcStyle>
        <a:tcBdr/>
        <a:fill>
          <a:solidFill>
            <a:srgbClr val="D2BCF1"/>
          </a:solidFill>
        </a:fill>
      </a:tcStyle>
    </a:band1V>
    <a:lastCol>
      <a:tcTxStyle b="on"/>
      <a:tcStyle>
        <a:tcBdr/>
      </a:tcStyle>
    </a:lastCol>
    <a:firstCol>
      <a:tcTxStyle b="on"/>
      <a:tcStyle>
        <a:tcBdr/>
      </a:tcStyle>
    </a:firstCol>
    <a:lastRow>
      <a:tcTxStyle b="on"/>
      <a:tcStyle>
        <a:tcBdr>
          <a:top>
            <a:ln w="12700" cmpd="sng">
              <a:solidFill>
                <a:srgbClr val="641EE0"/>
              </a:solidFill>
            </a:ln>
          </a:top>
        </a:tcBdr>
        <a:fill>
          <a:noFill/>
        </a:fill>
      </a:tcStyle>
    </a:lastRow>
    <a:firstRow>
      <a:tcTxStyle b="on"/>
      <a:tcStyle>
        <a:tcBdr>
          <a:bottom>
            <a:ln w="12700" cmpd="sng">
              <a:solidFill>
                <a:srgbClr val="641EE0"/>
              </a:solidFill>
            </a:ln>
          </a:bottom>
        </a:tcBdr>
        <a:fill>
          <a:noFill/>
        </a:fill>
      </a:tcStyle>
    </a:firstRow>
  </a:tblStyle>
  <a:tblStyle styleId="{68D230F3-CF80-4859-8CE7-A43EE81993A7}" styleName="Crimson Red">
    <a:wholeTbl>
      <a:tcTxStyle>
        <a:fontRef idx="minor">
          <a:scrgbClr r="0" g="0" b="0"/>
        </a:fontRef>
        <a:schemeClr val="tx1"/>
      </a:tcTxStyle>
      <a:tcStyle>
        <a:tcBdr>
          <a:left>
            <a:ln>
              <a:noFill/>
            </a:ln>
          </a:left>
          <a:right>
            <a:ln>
              <a:noFill/>
            </a:ln>
          </a:right>
          <a:top>
            <a:ln w="12700" cmpd="sng">
              <a:solidFill>
                <a:srgbClr val="CF0000"/>
              </a:solidFill>
            </a:ln>
          </a:top>
          <a:bottom>
            <a:ln w="12700" cmpd="sng">
              <a:solidFill>
                <a:srgbClr val="CF0000"/>
              </a:solidFill>
            </a:ln>
          </a:bottom>
          <a:insideH>
            <a:ln>
              <a:noFill/>
            </a:ln>
          </a:insideH>
          <a:insideV>
            <a:ln>
              <a:noFill/>
            </a:ln>
          </a:insideV>
        </a:tcBdr>
        <a:fill>
          <a:noFill/>
        </a:fill>
      </a:tcStyle>
    </a:wholeTbl>
    <a:band1H>
      <a:tcStyle>
        <a:tcBdr/>
        <a:fill>
          <a:solidFill>
            <a:srgbClr val="EBB8B8"/>
          </a:solidFill>
        </a:fill>
      </a:tcStyle>
    </a:band1H>
    <a:band2H>
      <a:tcStyle>
        <a:tcBdr/>
      </a:tcStyle>
    </a:band2H>
    <a:band1V>
      <a:tcStyle>
        <a:tcBdr/>
        <a:fill>
          <a:solidFill>
            <a:srgbClr val="EBB8B8"/>
          </a:solidFill>
        </a:fill>
      </a:tcStyle>
    </a:band1V>
    <a:lastCol>
      <a:tcTxStyle b="on"/>
      <a:tcStyle>
        <a:tcBdr/>
      </a:tcStyle>
    </a:lastCol>
    <a:firstCol>
      <a:tcTxStyle b="on"/>
      <a:tcStyle>
        <a:tcBdr/>
      </a:tcStyle>
    </a:firstCol>
    <a:lastRow>
      <a:tcTxStyle b="on"/>
      <a:tcStyle>
        <a:tcBdr>
          <a:top>
            <a:ln w="12700" cmpd="sng">
              <a:solidFill>
                <a:srgbClr val="CF0000"/>
              </a:solidFill>
            </a:ln>
          </a:top>
        </a:tcBdr>
        <a:fill>
          <a:noFill/>
        </a:fill>
      </a:tcStyle>
    </a:lastRow>
    <a:firstRow>
      <a:tcTxStyle b="on"/>
      <a:tcStyle>
        <a:tcBdr>
          <a:bottom>
            <a:ln w="12700" cmpd="sng">
              <a:solidFill>
                <a:srgbClr val="CF0000"/>
              </a:solidFill>
            </a:ln>
          </a:bottom>
        </a:tcBdr>
        <a:fill>
          <a:noFill/>
        </a:fill>
      </a:tcStyle>
    </a:firstRow>
  </a:tblStyle>
  <a:tblStyle styleId="{D27102A9-8310-4765-A935-A1911B00CAA5}" styleName="Night Blue">
    <a:wholeTbl>
      <a:tcTxStyle>
        <a:fontRef idx="minor">
          <a:scrgbClr r="0" g="0" b="0"/>
        </a:fontRef>
        <a:schemeClr val="tx1"/>
      </a:tcTxStyle>
      <a:tcStyle>
        <a:tcBdr>
          <a:left>
            <a:ln>
              <a:noFill/>
            </a:ln>
          </a:left>
          <a:right>
            <a:ln>
              <a:noFill/>
            </a:ln>
          </a:right>
          <a:top>
            <a:ln w="12700" cmpd="sng">
              <a:solidFill>
                <a:srgbClr val="1D2550"/>
              </a:solidFill>
            </a:ln>
          </a:top>
          <a:bottom>
            <a:ln w="12700" cmpd="sng">
              <a:solidFill>
                <a:srgbClr val="1D2550"/>
              </a:solidFill>
            </a:ln>
          </a:bottom>
          <a:insideH>
            <a:ln>
              <a:noFill/>
            </a:ln>
          </a:insideH>
          <a:insideV>
            <a:ln>
              <a:noFill/>
            </a:ln>
          </a:insideV>
        </a:tcBdr>
        <a:fill>
          <a:noFill/>
        </a:fill>
      </a:tcStyle>
    </a:wholeTbl>
    <a:band1H>
      <a:tcStyle>
        <a:tcBdr/>
        <a:fill>
          <a:solidFill>
            <a:srgbClr val="C6C8D3"/>
          </a:solidFill>
        </a:fill>
      </a:tcStyle>
    </a:band1H>
    <a:band2H>
      <a:tcStyle>
        <a:tcBdr/>
      </a:tcStyle>
    </a:band2H>
    <a:band1V>
      <a:tcStyle>
        <a:tcBdr/>
        <a:fill>
          <a:solidFill>
            <a:srgbClr val="C6C8D3"/>
          </a:solidFill>
        </a:fill>
      </a:tcStyle>
    </a:band1V>
    <a:lastCol>
      <a:tcTxStyle b="on"/>
      <a:tcStyle>
        <a:tcBdr/>
      </a:tcStyle>
    </a:lastCol>
    <a:firstCol>
      <a:tcTxStyle b="on"/>
      <a:tcStyle>
        <a:tcBdr/>
      </a:tcStyle>
    </a:firstCol>
    <a:lastRow>
      <a:tcTxStyle b="on"/>
      <a:tcStyle>
        <a:tcBdr>
          <a:top>
            <a:ln w="12700" cmpd="sng">
              <a:solidFill>
                <a:srgbClr val="1D2550"/>
              </a:solidFill>
            </a:ln>
          </a:top>
        </a:tcBdr>
        <a:fill>
          <a:noFill/>
        </a:fill>
      </a:tcStyle>
    </a:lastRow>
    <a:firstRow>
      <a:tcTxStyle b="on"/>
      <a:tcStyle>
        <a:tcBdr>
          <a:bottom>
            <a:ln w="12700" cmpd="sng">
              <a:solidFill>
                <a:srgbClr val="1D2550"/>
              </a:solidFill>
            </a:ln>
          </a:bottom>
        </a:tcBdr>
        <a:fill>
          <a:noFill/>
        </a:fill>
      </a:tcStyle>
    </a:firstRow>
  </a:tblStyle>
  <a:tblStyle styleId="{9D7B26C5-4107-4FEC-AEDC-1716B250A1A1}" styleName="Warm Grey">
    <a:wholeTbl>
      <a:tcTxStyle>
        <a:fontRef idx="minor">
          <a:scrgbClr r="0" g="0" b="0"/>
        </a:fontRef>
        <a:schemeClr val="tx1"/>
      </a:tcTxStyle>
      <a:tcStyle>
        <a:tcBdr>
          <a:left>
            <a:ln>
              <a:noFill/>
            </a:ln>
          </a:left>
          <a:right>
            <a:ln>
              <a:noFill/>
            </a:ln>
          </a:right>
          <a:top>
            <a:ln w="12700" cmpd="sng">
              <a:solidFill>
                <a:srgbClr val="6F6B66"/>
              </a:solidFill>
            </a:ln>
          </a:top>
          <a:bottom>
            <a:ln w="12700" cmpd="sng">
              <a:solidFill>
                <a:srgbClr val="6F6B66"/>
              </a:solidFill>
            </a:ln>
          </a:bottom>
          <a:insideH>
            <a:ln>
              <a:noFill/>
            </a:ln>
          </a:insideH>
          <a:insideV>
            <a:ln>
              <a:noFill/>
            </a:ln>
          </a:insideV>
        </a:tcBdr>
        <a:fill>
          <a:noFill/>
        </a:fill>
      </a:tcStyle>
    </a:wholeTbl>
    <a:band1H>
      <a:tcStyle>
        <a:tcBdr/>
        <a:fill>
          <a:solidFill>
            <a:srgbClr val="E5E4E0"/>
          </a:solidFill>
        </a:fill>
      </a:tcStyle>
    </a:band1H>
    <a:band2H>
      <a:tcStyle>
        <a:tcBdr/>
      </a:tcStyle>
    </a:band2H>
    <a:band1V>
      <a:tcStyle>
        <a:tcBdr/>
        <a:fill>
          <a:solidFill>
            <a:srgbClr val="E5E4E0"/>
          </a:solidFill>
        </a:fill>
      </a:tcStyle>
    </a:band1V>
    <a:lastCol>
      <a:tcTxStyle b="on"/>
      <a:tcStyle>
        <a:tcBdr/>
      </a:tcStyle>
    </a:lastCol>
    <a:firstCol>
      <a:tcTxStyle b="on"/>
      <a:tcStyle>
        <a:tcBdr/>
      </a:tcStyle>
    </a:firstCol>
    <a:lastRow>
      <a:tcTxStyle b="on"/>
      <a:tcStyle>
        <a:tcBdr>
          <a:top>
            <a:ln w="12700" cmpd="sng">
              <a:solidFill>
                <a:srgbClr val="6F6B66"/>
              </a:solidFill>
            </a:ln>
          </a:top>
        </a:tcBdr>
        <a:fill>
          <a:noFill/>
        </a:fill>
      </a:tcStyle>
    </a:lastRow>
    <a:firstRow>
      <a:tcTxStyle b="on"/>
      <a:tcStyle>
        <a:tcBdr>
          <a:bottom>
            <a:ln w="12700" cmpd="sng">
              <a:solidFill>
                <a:srgbClr val="6F6B66"/>
              </a:solidFill>
            </a:ln>
          </a:bottom>
        </a:tcBdr>
        <a:fill>
          <a:noFill/>
        </a:fill>
      </a:tcStyle>
    </a:firstRow>
  </a:tblStyle>
  <a:tblStyle styleId="{3B4B98B0-60AC-42C2-AFA5-B58CD77FA1E5}" styleName="Grass Green">
    <a:wholeTbl>
      <a:tcTxStyle>
        <a:fontRef idx="minor">
          <a:scrgbClr r="0" g="0" b="0"/>
        </a:fontRef>
        <a:schemeClr val="tx1"/>
      </a:tcTxStyle>
      <a:tcStyle>
        <a:tcBdr>
          <a:left>
            <a:ln>
              <a:noFill/>
            </a:ln>
          </a:left>
          <a:right>
            <a:ln>
              <a:noFill/>
            </a:ln>
          </a:right>
          <a:top>
            <a:ln w="12700" cmpd="sng">
              <a:solidFill>
                <a:srgbClr val="4CD300"/>
              </a:solidFill>
            </a:ln>
          </a:top>
          <a:bottom>
            <a:ln w="12700" cmpd="sng">
              <a:solidFill>
                <a:srgbClr val="4CD300"/>
              </a:solidFill>
            </a:ln>
          </a:bottom>
          <a:insideH>
            <a:ln>
              <a:noFill/>
            </a:ln>
          </a:insideH>
          <a:insideV>
            <a:ln>
              <a:noFill/>
            </a:ln>
          </a:insideV>
        </a:tcBdr>
        <a:fill>
          <a:noFill/>
        </a:fill>
      </a:tcStyle>
    </a:wholeTbl>
    <a:band1H>
      <a:tcStyle>
        <a:tcBdr/>
        <a:fill>
          <a:solidFill>
            <a:srgbClr val="CCEEB8"/>
          </a:solidFill>
        </a:fill>
      </a:tcStyle>
    </a:band1H>
    <a:band2H>
      <a:tcStyle>
        <a:tcBdr/>
      </a:tcStyle>
    </a:band2H>
    <a:band1V>
      <a:tcStyle>
        <a:tcBdr/>
        <a:fill>
          <a:solidFill>
            <a:srgbClr val="CCEEB8"/>
          </a:solidFill>
        </a:fill>
      </a:tcStyle>
    </a:band1V>
    <a:lastCol>
      <a:tcTxStyle b="on"/>
      <a:tcStyle>
        <a:tcBdr/>
      </a:tcStyle>
    </a:lastCol>
    <a:firstCol>
      <a:tcTxStyle b="on"/>
      <a:tcStyle>
        <a:tcBdr/>
      </a:tcStyle>
    </a:firstCol>
    <a:lastRow>
      <a:tcTxStyle b="on"/>
      <a:tcStyle>
        <a:tcBdr>
          <a:top>
            <a:ln w="12700" cmpd="sng">
              <a:solidFill>
                <a:srgbClr val="4CD300"/>
              </a:solidFill>
            </a:ln>
          </a:top>
        </a:tcBdr>
        <a:fill>
          <a:noFill/>
        </a:fill>
      </a:tcStyle>
    </a:lastRow>
    <a:firstRow>
      <a:tcTxStyle b="on"/>
      <a:tcStyle>
        <a:tcBdr>
          <a:bottom>
            <a:ln w="12700" cmpd="sng">
              <a:solidFill>
                <a:srgbClr val="4CD300"/>
              </a:solidFill>
            </a:ln>
          </a:bottom>
        </a:tcBdr>
        <a:fill>
          <a:noFill/>
        </a:fill>
      </a:tcStyle>
    </a:firstRow>
  </a:tblStyle>
  <a:tblStyle styleId="{0E3FDE45-AF77-4B5C-9715-49D594BDF05E}" styleName="Hot Pink">
    <a:wholeTbl>
      <a:tcTxStyle>
        <a:fontRef idx="minor">
          <a:scrgbClr r="0" g="0" b="0"/>
        </a:fontRef>
        <a:schemeClr val="tx1"/>
      </a:tcTxStyle>
      <a:tcStyle>
        <a:tcBdr>
          <a:left>
            <a:ln>
              <a:noFill/>
            </a:ln>
          </a:left>
          <a:right>
            <a:ln>
              <a:noFill/>
            </a:ln>
          </a:right>
          <a:top>
            <a:ln w="12700" cmpd="sng">
              <a:solidFill>
                <a:srgbClr val="FA69FF"/>
              </a:solidFill>
            </a:ln>
          </a:top>
          <a:bottom>
            <a:ln w="12700" cmpd="sng">
              <a:solidFill>
                <a:srgbClr val="FA69FF"/>
              </a:solidFill>
            </a:ln>
          </a:bottom>
          <a:insideH>
            <a:ln>
              <a:noFill/>
            </a:ln>
          </a:insideH>
          <a:insideV>
            <a:ln>
              <a:noFill/>
            </a:ln>
          </a:insideV>
        </a:tcBdr>
        <a:fill>
          <a:noFill/>
        </a:fill>
      </a:tcStyle>
    </a:wholeTbl>
    <a:band1H>
      <a:tcStyle>
        <a:tcBdr/>
        <a:fill>
          <a:solidFill>
            <a:srgbClr val="F7D2F8"/>
          </a:solidFill>
        </a:fill>
      </a:tcStyle>
    </a:band1H>
    <a:band2H>
      <a:tcStyle>
        <a:tcBdr/>
      </a:tcStyle>
    </a:band2H>
    <a:band1V>
      <a:tcStyle>
        <a:tcBdr/>
        <a:fill>
          <a:solidFill>
            <a:srgbClr val="F7D2F8"/>
          </a:solidFill>
        </a:fill>
      </a:tcStyle>
    </a:band1V>
    <a:lastCol>
      <a:tcTxStyle b="on"/>
      <a:tcStyle>
        <a:tcBdr/>
      </a:tcStyle>
    </a:lastCol>
    <a:firstCol>
      <a:tcTxStyle b="on"/>
      <a:tcStyle>
        <a:tcBdr/>
      </a:tcStyle>
    </a:firstCol>
    <a:lastRow>
      <a:tcTxStyle b="on"/>
      <a:tcStyle>
        <a:tcBdr>
          <a:top>
            <a:ln w="12700" cmpd="sng">
              <a:solidFill>
                <a:srgbClr val="FA69FF"/>
              </a:solidFill>
            </a:ln>
          </a:top>
        </a:tcBdr>
        <a:fill>
          <a:noFill/>
        </a:fill>
      </a:tcStyle>
    </a:lastRow>
    <a:firstRow>
      <a:tcTxStyle b="on"/>
      <a:tcStyle>
        <a:tcBdr>
          <a:bottom>
            <a:ln w="12700" cmpd="sng">
              <a:solidFill>
                <a:srgbClr val="FA69FF"/>
              </a:solidFill>
            </a:ln>
          </a:bottom>
        </a:tcBdr>
        <a:fill>
          <a:noFill/>
        </a:fill>
      </a:tcStyle>
    </a:firstRow>
  </a:tblStyle>
  <a:tblStyle styleId="{C083E6E3-FA7D-4D7B-A595-EF9225AFEA82}" styleName="Sky Blue">
    <a:wholeTbl>
      <a:tcTxStyle>
        <a:fontRef idx="minor">
          <a:scrgbClr r="0" g="0" b="0"/>
        </a:fontRef>
        <a:schemeClr val="tx1"/>
      </a:tcTxStyle>
      <a:tcStyle>
        <a:tcBdr>
          <a:left>
            <a:ln>
              <a:noFill/>
            </a:ln>
          </a:left>
          <a:right>
            <a:ln>
              <a:noFill/>
            </a:ln>
          </a:right>
          <a:top>
            <a:ln w="12700" cmpd="sng">
              <a:solidFill>
                <a:srgbClr val="63B6FF"/>
              </a:solidFill>
            </a:ln>
          </a:top>
          <a:bottom>
            <a:ln w="12700" cmpd="sng">
              <a:solidFill>
                <a:srgbClr val="63B6FF"/>
              </a:solidFill>
            </a:ln>
          </a:bottom>
          <a:insideH>
            <a:ln>
              <a:noFill/>
            </a:ln>
          </a:insideH>
          <a:insideV>
            <a:ln>
              <a:noFill/>
            </a:ln>
          </a:insideV>
        </a:tcBdr>
        <a:fill>
          <a:noFill/>
        </a:fill>
      </a:tcStyle>
    </a:wholeTbl>
    <a:band1H>
      <a:tcStyle>
        <a:tcBdr/>
        <a:fill>
          <a:solidFill>
            <a:srgbClr val="D1E6F8"/>
          </a:solidFill>
        </a:fill>
      </a:tcStyle>
    </a:band1H>
    <a:band2H>
      <a:tcStyle>
        <a:tcBdr/>
      </a:tcStyle>
    </a:band2H>
    <a:band1V>
      <a:tcStyle>
        <a:tcBdr/>
        <a:fill>
          <a:solidFill>
            <a:srgbClr val="D1E6F8"/>
          </a:solidFill>
        </a:fill>
      </a:tcStyle>
    </a:band1V>
    <a:lastCol>
      <a:tcTxStyle b="on"/>
      <a:tcStyle>
        <a:tcBdr/>
      </a:tcStyle>
    </a:lastCol>
    <a:firstCol>
      <a:tcTxStyle b="on"/>
      <a:tcStyle>
        <a:tcBdr/>
      </a:tcStyle>
    </a:firstCol>
    <a:lastRow>
      <a:tcTxStyle b="on"/>
      <a:tcStyle>
        <a:tcBdr>
          <a:top>
            <a:ln w="12700" cmpd="sng">
              <a:solidFill>
                <a:srgbClr val="63B6FF"/>
              </a:solidFill>
            </a:ln>
          </a:top>
        </a:tcBdr>
        <a:fill>
          <a:noFill/>
        </a:fill>
      </a:tcStyle>
    </a:lastRow>
    <a:firstRow>
      <a:tcTxStyle b="on"/>
      <a:tcStyle>
        <a:tcBdr>
          <a:bottom>
            <a:ln w="12700" cmpd="sng">
              <a:solidFill>
                <a:srgbClr val="63B6FF"/>
              </a:solidFill>
            </a:ln>
          </a:bottom>
        </a:tcBdr>
        <a:fill>
          <a:noFill/>
        </a:fill>
      </a:tcStyle>
    </a:firstRow>
  </a:tblStyle>
  <a:tblStyle styleId="{D27102A9-8310-4765-A935-A1911B00CA55}" styleName="Lavender Purple">
    <a:wholeTbl>
      <a:tcTxStyle>
        <a:fontRef idx="minor">
          <a:scrgbClr r="0" g="0" b="0"/>
        </a:fontRef>
        <a:schemeClr val="tx1"/>
      </a:tcTxStyle>
      <a:tcStyle>
        <a:tcBdr>
          <a:left>
            <a:ln>
              <a:noFill/>
            </a:ln>
          </a:left>
          <a:right>
            <a:ln>
              <a:noFill/>
            </a:ln>
          </a:right>
          <a:top>
            <a:ln w="12700" cmpd="sng">
              <a:solidFill>
                <a:srgbClr val="641EE0"/>
              </a:solidFill>
            </a:ln>
          </a:top>
          <a:bottom>
            <a:ln w="12700" cmpd="sng">
              <a:solidFill>
                <a:srgbClr val="641EE0"/>
              </a:solidFill>
            </a:ln>
          </a:bottom>
          <a:insideH>
            <a:ln>
              <a:noFill/>
            </a:ln>
          </a:insideH>
          <a:insideV>
            <a:ln>
              <a:noFill/>
            </a:ln>
          </a:insideV>
        </a:tcBdr>
        <a:fill>
          <a:noFill/>
        </a:fill>
      </a:tcStyle>
    </a:wholeTbl>
    <a:band1H>
      <a:tcStyle>
        <a:tcBdr/>
        <a:fill>
          <a:solidFill>
            <a:srgbClr val="D2BCF1"/>
          </a:solidFill>
        </a:fill>
      </a:tcStyle>
    </a:band1H>
    <a:band2H>
      <a:tcStyle>
        <a:tcBdr/>
      </a:tcStyle>
    </a:band2H>
    <a:band1V>
      <a:tcStyle>
        <a:tcBdr/>
        <a:fill>
          <a:solidFill>
            <a:srgbClr val="D2BCF1"/>
          </a:solidFill>
        </a:fill>
      </a:tcStyle>
    </a:band1V>
    <a:lastCol>
      <a:tcTxStyle b="on"/>
      <a:tcStyle>
        <a:tcBdr/>
      </a:tcStyle>
    </a:lastCol>
    <a:firstCol>
      <a:tcTxStyle b="on"/>
      <a:tcStyle>
        <a:tcBdr/>
      </a:tcStyle>
    </a:firstCol>
    <a:lastRow>
      <a:tcTxStyle b="on"/>
      <a:tcStyle>
        <a:tcBdr>
          <a:top>
            <a:ln w="12700" cmpd="sng">
              <a:solidFill>
                <a:srgbClr val="641EE0"/>
              </a:solidFill>
            </a:ln>
          </a:top>
        </a:tcBdr>
        <a:fill>
          <a:noFill/>
        </a:fill>
      </a:tcStyle>
    </a:lastRow>
    <a:firstRow>
      <a:tcTxStyle b="on"/>
      <a:tcStyle>
        <a:tcBdr>
          <a:bottom>
            <a:ln w="12700" cmpd="sng">
              <a:solidFill>
                <a:srgbClr val="641EE0"/>
              </a:solidFill>
            </a:ln>
          </a:bottom>
        </a:tcBdr>
        <a:fill>
          <a:noFill/>
        </a:fill>
      </a:tcStyle>
    </a:firstRow>
  </a:tblStyle>
  <a:tblStyle styleId="{5FD0F851-EC5A-4D38-B0AD-8093EC10F338}" styleName="Crimson Red">
    <a:wholeTbl>
      <a:tcTxStyle>
        <a:fontRef idx="minor">
          <a:scrgbClr r="0" g="0" b="0"/>
        </a:fontRef>
        <a:schemeClr val="tx1"/>
      </a:tcTxStyle>
      <a:tcStyle>
        <a:tcBdr>
          <a:left>
            <a:ln>
              <a:noFill/>
            </a:ln>
          </a:left>
          <a:right>
            <a:ln>
              <a:noFill/>
            </a:ln>
          </a:right>
          <a:top>
            <a:ln w="12700" cmpd="sng">
              <a:solidFill>
                <a:srgbClr val="CF0000"/>
              </a:solidFill>
            </a:ln>
          </a:top>
          <a:bottom>
            <a:ln w="12700" cmpd="sng">
              <a:solidFill>
                <a:srgbClr val="CF0000"/>
              </a:solidFill>
            </a:ln>
          </a:bottom>
          <a:insideH>
            <a:ln>
              <a:noFill/>
            </a:ln>
          </a:insideH>
          <a:insideV>
            <a:ln>
              <a:noFill/>
            </a:ln>
          </a:insideV>
        </a:tcBdr>
        <a:fill>
          <a:noFill/>
        </a:fill>
      </a:tcStyle>
    </a:wholeTbl>
    <a:band1H>
      <a:tcStyle>
        <a:tcBdr/>
        <a:fill>
          <a:solidFill>
            <a:srgbClr val="EBB8B8"/>
          </a:solidFill>
        </a:fill>
      </a:tcStyle>
    </a:band1H>
    <a:band2H>
      <a:tcStyle>
        <a:tcBdr/>
      </a:tcStyle>
    </a:band2H>
    <a:band1V>
      <a:tcStyle>
        <a:tcBdr/>
        <a:fill>
          <a:solidFill>
            <a:srgbClr val="EBB8B8"/>
          </a:solidFill>
        </a:fill>
      </a:tcStyle>
    </a:band1V>
    <a:lastCol>
      <a:tcTxStyle b="on"/>
      <a:tcStyle>
        <a:tcBdr/>
      </a:tcStyle>
    </a:lastCol>
    <a:firstCol>
      <a:tcTxStyle b="on"/>
      <a:tcStyle>
        <a:tcBdr/>
      </a:tcStyle>
    </a:firstCol>
    <a:lastRow>
      <a:tcTxStyle b="on"/>
      <a:tcStyle>
        <a:tcBdr>
          <a:top>
            <a:ln w="12700" cmpd="sng">
              <a:solidFill>
                <a:srgbClr val="CF0000"/>
              </a:solidFill>
            </a:ln>
          </a:top>
        </a:tcBdr>
        <a:fill>
          <a:noFill/>
        </a:fill>
      </a:tcStyle>
    </a:lastRow>
    <a:firstRow>
      <a:tcTxStyle b="on"/>
      <a:tcStyle>
        <a:tcBdr>
          <a:bottom>
            <a:ln w="12700" cmpd="sng">
              <a:solidFill>
                <a:srgbClr val="CF0000"/>
              </a:solidFill>
            </a:ln>
          </a:bottom>
        </a:tcBdr>
        <a:fill>
          <a:noFill/>
        </a:fill>
      </a:tcStyle>
    </a:firstRow>
  </a:tblStyle>
  <a:tblStyle styleId="{68D230F3-CF80-4859-8CE7-A43EE81993B5}" styleName="Night Blue">
    <a:wholeTbl>
      <a:tcTxStyle>
        <a:fontRef idx="minor">
          <a:scrgbClr r="0" g="0" b="0"/>
        </a:fontRef>
        <a:schemeClr val="tx1"/>
      </a:tcTxStyle>
      <a:tcStyle>
        <a:tcBdr>
          <a:left>
            <a:ln>
              <a:noFill/>
            </a:ln>
          </a:left>
          <a:right>
            <a:ln>
              <a:noFill/>
            </a:ln>
          </a:right>
          <a:top>
            <a:ln w="12700" cmpd="sng">
              <a:solidFill>
                <a:srgbClr val="1D2550"/>
              </a:solidFill>
            </a:ln>
          </a:top>
          <a:bottom>
            <a:ln w="12700" cmpd="sng">
              <a:solidFill>
                <a:srgbClr val="1D2550"/>
              </a:solidFill>
            </a:ln>
          </a:bottom>
          <a:insideH>
            <a:ln>
              <a:noFill/>
            </a:ln>
          </a:insideH>
          <a:insideV>
            <a:ln>
              <a:noFill/>
            </a:ln>
          </a:insideV>
        </a:tcBdr>
        <a:fill>
          <a:noFill/>
        </a:fill>
      </a:tcStyle>
    </a:wholeTbl>
    <a:band1H>
      <a:tcStyle>
        <a:tcBdr/>
        <a:fill>
          <a:solidFill>
            <a:srgbClr val="C6C8D3"/>
          </a:solidFill>
        </a:fill>
      </a:tcStyle>
    </a:band1H>
    <a:band2H>
      <a:tcStyle>
        <a:tcBdr/>
      </a:tcStyle>
    </a:band2H>
    <a:band1V>
      <a:tcStyle>
        <a:tcBdr/>
        <a:fill>
          <a:solidFill>
            <a:srgbClr val="C6C8D3"/>
          </a:solidFill>
        </a:fill>
      </a:tcStyle>
    </a:band1V>
    <a:lastCol>
      <a:tcTxStyle b="on"/>
      <a:tcStyle>
        <a:tcBdr/>
      </a:tcStyle>
    </a:lastCol>
    <a:firstCol>
      <a:tcTxStyle b="on"/>
      <a:tcStyle>
        <a:tcBdr/>
      </a:tcStyle>
    </a:firstCol>
    <a:lastRow>
      <a:tcTxStyle b="on"/>
      <a:tcStyle>
        <a:tcBdr>
          <a:top>
            <a:ln w="12700" cmpd="sng">
              <a:solidFill>
                <a:srgbClr val="1D2550"/>
              </a:solidFill>
            </a:ln>
          </a:top>
        </a:tcBdr>
        <a:fill>
          <a:noFill/>
        </a:fill>
      </a:tcStyle>
    </a:lastRow>
    <a:firstRow>
      <a:tcTxStyle b="on"/>
      <a:tcStyle>
        <a:tcBdr>
          <a:bottom>
            <a:ln w="12700" cmpd="sng">
              <a:solidFill>
                <a:srgbClr val="1D2550"/>
              </a:solidFill>
            </a:ln>
          </a:bottom>
        </a:tcBdr>
        <a:fill>
          <a:noFill/>
        </a:fill>
      </a:tcStyle>
    </a:firstRow>
  </a:tblStyle>
  <a:tblStyle styleId="{9D7B26C5-4107-4FEC-AEDC-1716B250A1EF}" styleName="Warm Grey">
    <a:wholeTbl>
      <a:tcTxStyle>
        <a:fontRef idx="minor">
          <a:scrgbClr r="0" g="0" b="0"/>
        </a:fontRef>
        <a:schemeClr val="tx1"/>
      </a:tcTxStyle>
      <a:tcStyle>
        <a:tcBdr>
          <a:left>
            <a:ln>
              <a:noFill/>
            </a:ln>
          </a:left>
          <a:right>
            <a:ln>
              <a:noFill/>
            </a:ln>
          </a:right>
          <a:top>
            <a:ln w="12700" cmpd="sng">
              <a:solidFill>
                <a:srgbClr val="6F6B66"/>
              </a:solidFill>
            </a:ln>
          </a:top>
          <a:bottom>
            <a:ln w="12700" cmpd="sng">
              <a:solidFill>
                <a:srgbClr val="6F6B66"/>
              </a:solidFill>
            </a:ln>
          </a:bottom>
          <a:insideH>
            <a:ln>
              <a:noFill/>
            </a:ln>
          </a:insideH>
          <a:insideV>
            <a:ln>
              <a:noFill/>
            </a:ln>
          </a:insideV>
        </a:tcBdr>
        <a:fill>
          <a:noFill/>
        </a:fill>
      </a:tcStyle>
    </a:wholeTbl>
    <a:band1H>
      <a:tcStyle>
        <a:tcBdr/>
        <a:fill>
          <a:solidFill>
            <a:srgbClr val="E5E4E0"/>
          </a:solidFill>
        </a:fill>
      </a:tcStyle>
    </a:band1H>
    <a:band2H>
      <a:tcStyle>
        <a:tcBdr/>
      </a:tcStyle>
    </a:band2H>
    <a:band1V>
      <a:tcStyle>
        <a:tcBdr/>
        <a:fill>
          <a:solidFill>
            <a:srgbClr val="E5E4E0"/>
          </a:solidFill>
        </a:fill>
      </a:tcStyle>
    </a:band1V>
    <a:lastCol>
      <a:tcTxStyle b="on"/>
      <a:tcStyle>
        <a:tcBdr/>
      </a:tcStyle>
    </a:lastCol>
    <a:firstCol>
      <a:tcTxStyle b="on"/>
      <a:tcStyle>
        <a:tcBdr/>
      </a:tcStyle>
    </a:firstCol>
    <a:lastRow>
      <a:tcTxStyle b="on"/>
      <a:tcStyle>
        <a:tcBdr>
          <a:top>
            <a:ln w="12700" cmpd="sng">
              <a:solidFill>
                <a:srgbClr val="6F6B66"/>
              </a:solidFill>
            </a:ln>
          </a:top>
        </a:tcBdr>
        <a:fill>
          <a:noFill/>
        </a:fill>
      </a:tcStyle>
    </a:lastRow>
    <a:firstRow>
      <a:tcTxStyle b="on"/>
      <a:tcStyle>
        <a:tcBdr>
          <a:bottom>
            <a:ln w="12700" cmpd="sng">
              <a:solidFill>
                <a:srgbClr val="6F6B66"/>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7" d="100"/>
          <a:sy n="97" d="100"/>
        </p:scale>
        <p:origin x="1074" y="342"/>
      </p:cViewPr>
      <p:guideLst>
        <p:guide orient="horz" pos="2160"/>
        <p:guide pos="3840"/>
        <p:guide orient="horz" pos="3838"/>
        <p:guide orient="horz" pos="799"/>
        <p:guide pos="302"/>
        <p:guide pos="7378"/>
        <p:guide orient="horz" pos="1026"/>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slide" Target="slides/slide35.xml"/><Relationship Id="rId50" Type="http://schemas.openxmlformats.org/officeDocument/2006/relationships/slide" Target="slides/slide38.xml"/><Relationship Id="rId55" Type="http://schemas.openxmlformats.org/officeDocument/2006/relationships/slide" Target="slides/slide43.xml"/><Relationship Id="rId63" Type="http://schemas.openxmlformats.org/officeDocument/2006/relationships/font" Target="fonts/font3.fntdata"/><Relationship Id="rId68" Type="http://schemas.openxmlformats.org/officeDocument/2006/relationships/font" Target="fonts/font8.fntdata"/><Relationship Id="rId76"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font" Target="fonts/font11.fntdata"/><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slide" Target="slides/slide41.xml"/><Relationship Id="rId58" Type="http://schemas.openxmlformats.org/officeDocument/2006/relationships/slide" Target="slides/slide46.xml"/><Relationship Id="rId66" Type="http://schemas.openxmlformats.org/officeDocument/2006/relationships/font" Target="fonts/font6.fntdata"/><Relationship Id="rId74" Type="http://schemas.openxmlformats.org/officeDocument/2006/relationships/presProps" Target="presProps.xml"/><Relationship Id="rId79" Type="http://schemas.microsoft.com/office/2015/10/relationships/revisionInfo" Target="revisionInfo.xml"/><Relationship Id="rId5" Type="http://schemas.openxmlformats.org/officeDocument/2006/relationships/slideMaster" Target="slideMasters/slideMaster2.xml"/><Relationship Id="rId61" Type="http://schemas.openxmlformats.org/officeDocument/2006/relationships/font" Target="fonts/font1.fntdata"/><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handoutMaster" Target="handoutMasters/handoutMaster1.xml"/><Relationship Id="rId65" Type="http://schemas.openxmlformats.org/officeDocument/2006/relationships/font" Target="fonts/font5.fntdata"/><Relationship Id="rId73" Type="http://schemas.openxmlformats.org/officeDocument/2006/relationships/tags" Target="tags/tag1.xml"/><Relationship Id="rId78"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slide" Target="slides/slide44.xml"/><Relationship Id="rId64" Type="http://schemas.openxmlformats.org/officeDocument/2006/relationships/font" Target="fonts/font4.fntdata"/><Relationship Id="rId69" Type="http://schemas.openxmlformats.org/officeDocument/2006/relationships/font" Target="fonts/font9.fntdata"/><Relationship Id="rId77"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39.xml"/><Relationship Id="rId72" Type="http://schemas.openxmlformats.org/officeDocument/2006/relationships/font" Target="fonts/font12.fntdata"/><Relationship Id="rId80"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notesMaster" Target="notesMasters/notesMaster1.xml"/><Relationship Id="rId67" Type="http://schemas.openxmlformats.org/officeDocument/2006/relationships/font" Target="fonts/font7.fntdata"/><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font" Target="fonts/font2.fntdata"/><Relationship Id="rId70" Type="http://schemas.openxmlformats.org/officeDocument/2006/relationships/font" Target="fonts/font10.fntdata"/><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nson, Lindsay" userId="319693b1-92f6-47ca-8a9c-2c546be92264" providerId="ADAL" clId="{78774342-2579-46E2-B79C-D0F7E9D55D58}"/>
    <pc:docChg chg="undo custSel addSld delSld modSld sldOrd addSection modSection">
      <pc:chgData name="Johnson, Lindsay" userId="319693b1-92f6-47ca-8a9c-2c546be92264" providerId="ADAL" clId="{78774342-2579-46E2-B79C-D0F7E9D55D58}" dt="2026-01-16T19:29:39.840" v="1910" actId="20577"/>
      <pc:docMkLst>
        <pc:docMk/>
      </pc:docMkLst>
      <pc:sldChg chg="modSp mod">
        <pc:chgData name="Johnson, Lindsay" userId="319693b1-92f6-47ca-8a9c-2c546be92264" providerId="ADAL" clId="{78774342-2579-46E2-B79C-D0F7E9D55D58}" dt="2026-01-16T19:06:15.077" v="1900" actId="20577"/>
        <pc:sldMkLst>
          <pc:docMk/>
          <pc:sldMk cId="3326024461" sldId="420"/>
        </pc:sldMkLst>
        <pc:spChg chg="mod">
          <ac:chgData name="Johnson, Lindsay" userId="319693b1-92f6-47ca-8a9c-2c546be92264" providerId="ADAL" clId="{78774342-2579-46E2-B79C-D0F7E9D55D58}" dt="2026-01-16T19:06:15.077" v="1900" actId="20577"/>
          <ac:spMkLst>
            <pc:docMk/>
            <pc:sldMk cId="3326024461" sldId="420"/>
            <ac:spMk id="5" creationId="{0280570E-B761-7B50-B2DA-B7F99BF316A4}"/>
          </ac:spMkLst>
        </pc:spChg>
      </pc:sldChg>
      <pc:sldChg chg="modSp mod ord">
        <pc:chgData name="Johnson, Lindsay" userId="319693b1-92f6-47ca-8a9c-2c546be92264" providerId="ADAL" clId="{78774342-2579-46E2-B79C-D0F7E9D55D58}" dt="2026-01-16T18:53:56.154" v="1322" actId="20577"/>
        <pc:sldMkLst>
          <pc:docMk/>
          <pc:sldMk cId="674820480" sldId="2147481636"/>
        </pc:sldMkLst>
        <pc:spChg chg="mod">
          <ac:chgData name="Johnson, Lindsay" userId="319693b1-92f6-47ca-8a9c-2c546be92264" providerId="ADAL" clId="{78774342-2579-46E2-B79C-D0F7E9D55D58}" dt="2026-01-16T18:53:56.154" v="1322" actId="20577"/>
          <ac:spMkLst>
            <pc:docMk/>
            <pc:sldMk cId="674820480" sldId="2147481636"/>
            <ac:spMk id="2" creationId="{856964F3-7D7E-A6FD-0FD0-017423674037}"/>
          </ac:spMkLst>
        </pc:spChg>
        <pc:spChg chg="mod">
          <ac:chgData name="Johnson, Lindsay" userId="319693b1-92f6-47ca-8a9c-2c546be92264" providerId="ADAL" clId="{78774342-2579-46E2-B79C-D0F7E9D55D58}" dt="2026-01-16T18:09:48.855" v="24" actId="20577"/>
          <ac:spMkLst>
            <pc:docMk/>
            <pc:sldMk cId="674820480" sldId="2147481636"/>
            <ac:spMk id="3" creationId="{8783C272-B0D9-889C-B89E-9F1E4AC0E1EA}"/>
          </ac:spMkLst>
        </pc:spChg>
      </pc:sldChg>
      <pc:sldChg chg="modSp mod">
        <pc:chgData name="Johnson, Lindsay" userId="319693b1-92f6-47ca-8a9c-2c546be92264" providerId="ADAL" clId="{78774342-2579-46E2-B79C-D0F7E9D55D58}" dt="2026-01-16T18:23:48.054" v="365" actId="20577"/>
        <pc:sldMkLst>
          <pc:docMk/>
          <pc:sldMk cId="3370333138" sldId="2147481637"/>
        </pc:sldMkLst>
        <pc:spChg chg="mod">
          <ac:chgData name="Johnson, Lindsay" userId="319693b1-92f6-47ca-8a9c-2c546be92264" providerId="ADAL" clId="{78774342-2579-46E2-B79C-D0F7E9D55D58}" dt="2026-01-16T18:23:48.054" v="365" actId="20577"/>
          <ac:spMkLst>
            <pc:docMk/>
            <pc:sldMk cId="3370333138" sldId="2147481637"/>
            <ac:spMk id="6" creationId="{6867463B-F255-6F98-FC76-485F48AFE379}"/>
          </ac:spMkLst>
        </pc:spChg>
      </pc:sldChg>
      <pc:sldChg chg="modSp mod">
        <pc:chgData name="Johnson, Lindsay" userId="319693b1-92f6-47ca-8a9c-2c546be92264" providerId="ADAL" clId="{78774342-2579-46E2-B79C-D0F7E9D55D58}" dt="2026-01-16T19:29:39.840" v="1910" actId="20577"/>
        <pc:sldMkLst>
          <pc:docMk/>
          <pc:sldMk cId="4142085048" sldId="2147481663"/>
        </pc:sldMkLst>
        <pc:spChg chg="mod">
          <ac:chgData name="Johnson, Lindsay" userId="319693b1-92f6-47ca-8a9c-2c546be92264" providerId="ADAL" clId="{78774342-2579-46E2-B79C-D0F7E9D55D58}" dt="2026-01-16T19:29:24.997" v="1905" actId="20577"/>
          <ac:spMkLst>
            <pc:docMk/>
            <pc:sldMk cId="4142085048" sldId="2147481663"/>
            <ac:spMk id="16" creationId="{D76C3EB3-1EC0-6F80-D2DE-FB768D0C0A9F}"/>
          </ac:spMkLst>
        </pc:spChg>
        <pc:spChg chg="mod">
          <ac:chgData name="Johnson, Lindsay" userId="319693b1-92f6-47ca-8a9c-2c546be92264" providerId="ADAL" clId="{78774342-2579-46E2-B79C-D0F7E9D55D58}" dt="2026-01-16T19:29:39.840" v="1910" actId="20577"/>
          <ac:spMkLst>
            <pc:docMk/>
            <pc:sldMk cId="4142085048" sldId="2147481663"/>
            <ac:spMk id="17" creationId="{AEDBFA73-0379-8493-1C6E-60BC7789E610}"/>
          </ac:spMkLst>
        </pc:spChg>
      </pc:sldChg>
      <pc:sldChg chg="add">
        <pc:chgData name="Johnson, Lindsay" userId="319693b1-92f6-47ca-8a9c-2c546be92264" providerId="ADAL" clId="{78774342-2579-46E2-B79C-D0F7E9D55D58}" dt="2026-01-16T18:09:32.795" v="2" actId="2890"/>
        <pc:sldMkLst>
          <pc:docMk/>
          <pc:sldMk cId="2574619769" sldId="2147481675"/>
        </pc:sldMkLst>
      </pc:sldChg>
      <pc:sldChg chg="modSp add del mod modNotes">
        <pc:chgData name="Johnson, Lindsay" userId="319693b1-92f6-47ca-8a9c-2c546be92264" providerId="ADAL" clId="{78774342-2579-46E2-B79C-D0F7E9D55D58}" dt="2026-01-16T18:50:31.099" v="1210" actId="47"/>
        <pc:sldMkLst>
          <pc:docMk/>
          <pc:sldMk cId="1809791898" sldId="2147481687"/>
        </pc:sldMkLst>
        <pc:spChg chg="mod">
          <ac:chgData name="Johnson, Lindsay" userId="319693b1-92f6-47ca-8a9c-2c546be92264" providerId="ADAL" clId="{78774342-2579-46E2-B79C-D0F7E9D55D58}" dt="2026-01-16T18:12:08.023" v="147" actId="20577"/>
          <ac:spMkLst>
            <pc:docMk/>
            <pc:sldMk cId="1809791898" sldId="2147481687"/>
            <ac:spMk id="9" creationId="{6CB9CDDB-B220-001C-1EF2-2F1A3D4951BC}"/>
          </ac:spMkLst>
        </pc:spChg>
        <pc:spChg chg="mod">
          <ac:chgData name="Johnson, Lindsay" userId="319693b1-92f6-47ca-8a9c-2c546be92264" providerId="ADAL" clId="{78774342-2579-46E2-B79C-D0F7E9D55D58}" dt="2026-01-16T18:12:56.791" v="187" actId="5793"/>
          <ac:spMkLst>
            <pc:docMk/>
            <pc:sldMk cId="1809791898" sldId="2147481687"/>
            <ac:spMk id="10" creationId="{A439BA79-6BE3-3836-5BDB-9730785B8613}"/>
          </ac:spMkLst>
        </pc:spChg>
        <pc:spChg chg="mod">
          <ac:chgData name="Johnson, Lindsay" userId="319693b1-92f6-47ca-8a9c-2c546be92264" providerId="ADAL" clId="{78774342-2579-46E2-B79C-D0F7E9D55D58}" dt="2026-01-16T18:13:16.878" v="193" actId="27636"/>
          <ac:spMkLst>
            <pc:docMk/>
            <pc:sldMk cId="1809791898" sldId="2147481687"/>
            <ac:spMk id="13" creationId="{8EE70613-31DA-FF08-BB8A-86A160033368}"/>
          </ac:spMkLst>
        </pc:spChg>
      </pc:sldChg>
      <pc:sldChg chg="modSp add del mod ord">
        <pc:chgData name="Johnson, Lindsay" userId="319693b1-92f6-47ca-8a9c-2c546be92264" providerId="ADAL" clId="{78774342-2579-46E2-B79C-D0F7E9D55D58}" dt="2026-01-16T18:40:12.634" v="915" actId="47"/>
        <pc:sldMkLst>
          <pc:docMk/>
          <pc:sldMk cId="202857315" sldId="2147481688"/>
        </pc:sldMkLst>
        <pc:spChg chg="mod">
          <ac:chgData name="Johnson, Lindsay" userId="319693b1-92f6-47ca-8a9c-2c546be92264" providerId="ADAL" clId="{78774342-2579-46E2-B79C-D0F7E9D55D58}" dt="2026-01-16T18:14:32.039" v="286" actId="20577"/>
          <ac:spMkLst>
            <pc:docMk/>
            <pc:sldMk cId="202857315" sldId="2147481688"/>
            <ac:spMk id="14" creationId="{3C1E032F-7214-6FBC-0C76-B2AC4C5696B3}"/>
          </ac:spMkLst>
        </pc:spChg>
        <pc:spChg chg="mod">
          <ac:chgData name="Johnson, Lindsay" userId="319693b1-92f6-47ca-8a9c-2c546be92264" providerId="ADAL" clId="{78774342-2579-46E2-B79C-D0F7E9D55D58}" dt="2026-01-16T18:14:43.976" v="316" actId="20577"/>
          <ac:spMkLst>
            <pc:docMk/>
            <pc:sldMk cId="202857315" sldId="2147481688"/>
            <ac:spMk id="15" creationId="{F2A39687-8552-D381-F7D1-455CCE3B4940}"/>
          </ac:spMkLst>
        </pc:spChg>
      </pc:sldChg>
      <pc:sldChg chg="addSp delSp modSp new mod modNotes modNotesTx">
        <pc:chgData name="Johnson, Lindsay" userId="319693b1-92f6-47ca-8a9c-2c546be92264" providerId="ADAL" clId="{78774342-2579-46E2-B79C-D0F7E9D55D58}" dt="2026-01-16T18:54:03.896" v="1326" actId="20577"/>
        <pc:sldMkLst>
          <pc:docMk/>
          <pc:sldMk cId="982069234" sldId="2147481689"/>
        </pc:sldMkLst>
        <pc:spChg chg="mod">
          <ac:chgData name="Johnson, Lindsay" userId="319693b1-92f6-47ca-8a9c-2c546be92264" providerId="ADAL" clId="{78774342-2579-46E2-B79C-D0F7E9D55D58}" dt="2026-01-16T18:39:12.178" v="903" actId="207"/>
          <ac:spMkLst>
            <pc:docMk/>
            <pc:sldMk cId="982069234" sldId="2147481689"/>
            <ac:spMk id="2" creationId="{3EFB7119-0F52-43A0-9F69-13916BE184DB}"/>
          </ac:spMkLst>
        </pc:spChg>
        <pc:spChg chg="mod">
          <ac:chgData name="Johnson, Lindsay" userId="319693b1-92f6-47ca-8a9c-2c546be92264" providerId="ADAL" clId="{78774342-2579-46E2-B79C-D0F7E9D55D58}" dt="2026-01-16T18:54:03.896" v="1326" actId="20577"/>
          <ac:spMkLst>
            <pc:docMk/>
            <pc:sldMk cId="982069234" sldId="2147481689"/>
            <ac:spMk id="3" creationId="{FA167E6A-ADD7-BEF0-E74D-B204EDD775B9}"/>
          </ac:spMkLst>
        </pc:spChg>
        <pc:spChg chg="mod">
          <ac:chgData name="Johnson, Lindsay" userId="319693b1-92f6-47ca-8a9c-2c546be92264" providerId="ADAL" clId="{78774342-2579-46E2-B79C-D0F7E9D55D58}" dt="2026-01-16T18:50:51.215" v="1211" actId="207"/>
          <ac:spMkLst>
            <pc:docMk/>
            <pc:sldMk cId="982069234" sldId="2147481689"/>
            <ac:spMk id="4" creationId="{483E2A22-FD9F-2F04-9C87-820E950278DE}"/>
          </ac:spMkLst>
        </pc:spChg>
        <pc:spChg chg="mod">
          <ac:chgData name="Johnson, Lindsay" userId="319693b1-92f6-47ca-8a9c-2c546be92264" providerId="ADAL" clId="{78774342-2579-46E2-B79C-D0F7E9D55D58}" dt="2026-01-16T18:34:08.453" v="813" actId="1076"/>
          <ac:spMkLst>
            <pc:docMk/>
            <pc:sldMk cId="982069234" sldId="2147481689"/>
            <ac:spMk id="6" creationId="{678D4610-0756-AFCD-F852-3CD0F6F5D9CD}"/>
          </ac:spMkLst>
        </pc:spChg>
        <pc:spChg chg="del">
          <ac:chgData name="Johnson, Lindsay" userId="319693b1-92f6-47ca-8a9c-2c546be92264" providerId="ADAL" clId="{78774342-2579-46E2-B79C-D0F7E9D55D58}" dt="2026-01-16T18:31:22.623" v="807" actId="21"/>
          <ac:spMkLst>
            <pc:docMk/>
            <pc:sldMk cId="982069234" sldId="2147481689"/>
            <ac:spMk id="7" creationId="{0484D6A0-6A29-B537-A9B3-FADDEB5817FC}"/>
          </ac:spMkLst>
        </pc:spChg>
        <pc:spChg chg="add mod">
          <ac:chgData name="Johnson, Lindsay" userId="319693b1-92f6-47ca-8a9c-2c546be92264" providerId="ADAL" clId="{78774342-2579-46E2-B79C-D0F7E9D55D58}" dt="2026-01-16T18:36:14.590" v="831" actId="1582"/>
          <ac:spMkLst>
            <pc:docMk/>
            <pc:sldMk cId="982069234" sldId="2147481689"/>
            <ac:spMk id="11" creationId="{74267D54-D4E2-556D-892D-D7A4ACB7997C}"/>
          </ac:spMkLst>
        </pc:spChg>
        <pc:picChg chg="add mod">
          <ac:chgData name="Johnson, Lindsay" userId="319693b1-92f6-47ca-8a9c-2c546be92264" providerId="ADAL" clId="{78774342-2579-46E2-B79C-D0F7E9D55D58}" dt="2026-01-16T18:34:50.676" v="822" actId="1076"/>
          <ac:picMkLst>
            <pc:docMk/>
            <pc:sldMk cId="982069234" sldId="2147481689"/>
            <ac:picMk id="9" creationId="{2DAB6C5A-4620-4B04-A8CB-933C7BFE89A6}"/>
          </ac:picMkLst>
        </pc:picChg>
        <pc:picChg chg="add mod">
          <ac:chgData name="Johnson, Lindsay" userId="319693b1-92f6-47ca-8a9c-2c546be92264" providerId="ADAL" clId="{78774342-2579-46E2-B79C-D0F7E9D55D58}" dt="2026-01-16T18:34:56.813" v="824" actId="14100"/>
          <ac:picMkLst>
            <pc:docMk/>
            <pc:sldMk cId="982069234" sldId="2147481689"/>
            <ac:picMk id="10" creationId="{49135A01-A952-413F-CA34-B02659519BCD}"/>
          </ac:picMkLst>
        </pc:picChg>
      </pc:sldChg>
      <pc:sldChg chg="modSp add mod ord">
        <pc:chgData name="Johnson, Lindsay" userId="319693b1-92f6-47ca-8a9c-2c546be92264" providerId="ADAL" clId="{78774342-2579-46E2-B79C-D0F7E9D55D58}" dt="2026-01-16T18:53:44.586" v="1318" actId="20577"/>
        <pc:sldMkLst>
          <pc:docMk/>
          <pc:sldMk cId="4230139489" sldId="2147481690"/>
        </pc:sldMkLst>
        <pc:spChg chg="mod">
          <ac:chgData name="Johnson, Lindsay" userId="319693b1-92f6-47ca-8a9c-2c546be92264" providerId="ADAL" clId="{78774342-2579-46E2-B79C-D0F7E9D55D58}" dt="2026-01-16T18:53:44.586" v="1318" actId="20577"/>
          <ac:spMkLst>
            <pc:docMk/>
            <pc:sldMk cId="4230139489" sldId="2147481690"/>
            <ac:spMk id="2" creationId="{97ABE54E-6F1E-7020-42D2-0B1D96A2D64E}"/>
          </ac:spMkLst>
        </pc:spChg>
        <pc:spChg chg="mod">
          <ac:chgData name="Johnson, Lindsay" userId="319693b1-92f6-47ca-8a9c-2c546be92264" providerId="ADAL" clId="{78774342-2579-46E2-B79C-D0F7E9D55D58}" dt="2026-01-16T18:53:02.359" v="1239" actId="20577"/>
          <ac:spMkLst>
            <pc:docMk/>
            <pc:sldMk cId="4230139489" sldId="2147481690"/>
            <ac:spMk id="3" creationId="{0120EF51-74B5-5436-6026-25C6316C2EEE}"/>
          </ac:spMkLst>
        </pc:spChg>
      </pc:sldChg>
      <pc:sldChg chg="addSp delSp modSp add mod ord">
        <pc:chgData name="Johnson, Lindsay" userId="319693b1-92f6-47ca-8a9c-2c546be92264" providerId="ADAL" clId="{78774342-2579-46E2-B79C-D0F7E9D55D58}" dt="2026-01-16T19:02:11.567" v="1898" actId="20577"/>
        <pc:sldMkLst>
          <pc:docMk/>
          <pc:sldMk cId="2903001100" sldId="2147481691"/>
        </pc:sldMkLst>
        <pc:spChg chg="mod">
          <ac:chgData name="Johnson, Lindsay" userId="319693b1-92f6-47ca-8a9c-2c546be92264" providerId="ADAL" clId="{78774342-2579-46E2-B79C-D0F7E9D55D58}" dt="2026-01-16T18:54:36.933" v="1447" actId="20577"/>
          <ac:spMkLst>
            <pc:docMk/>
            <pc:sldMk cId="2903001100" sldId="2147481691"/>
            <ac:spMk id="3" creationId="{87DAD1AE-AC77-8F12-3144-9055CE2AAACF}"/>
          </ac:spMkLst>
        </pc:spChg>
        <pc:spChg chg="mod">
          <ac:chgData name="Johnson, Lindsay" userId="319693b1-92f6-47ca-8a9c-2c546be92264" providerId="ADAL" clId="{78774342-2579-46E2-B79C-D0F7E9D55D58}" dt="2026-01-16T19:02:11.567" v="1898" actId="20577"/>
          <ac:spMkLst>
            <pc:docMk/>
            <pc:sldMk cId="2903001100" sldId="2147481691"/>
            <ac:spMk id="4" creationId="{9061D8EE-16D8-A03C-F7F5-413511A19B79}"/>
          </ac:spMkLst>
        </pc:spChg>
        <pc:spChg chg="del mod">
          <ac:chgData name="Johnson, Lindsay" userId="319693b1-92f6-47ca-8a9c-2c546be92264" providerId="ADAL" clId="{78774342-2579-46E2-B79C-D0F7E9D55D58}" dt="2026-01-16T18:58:31.061" v="1492" actId="21"/>
          <ac:spMkLst>
            <pc:docMk/>
            <pc:sldMk cId="2903001100" sldId="2147481691"/>
            <ac:spMk id="11" creationId="{D838F56F-DAF1-1293-7647-648096B0C573}"/>
          </ac:spMkLst>
        </pc:spChg>
        <pc:spChg chg="add mod">
          <ac:chgData name="Johnson, Lindsay" userId="319693b1-92f6-47ca-8a9c-2c546be92264" providerId="ADAL" clId="{78774342-2579-46E2-B79C-D0F7E9D55D58}" dt="2026-01-16T18:58:46.445" v="1498" actId="14100"/>
          <ac:spMkLst>
            <pc:docMk/>
            <pc:sldMk cId="2903001100" sldId="2147481691"/>
            <ac:spMk id="15" creationId="{D838F56F-DAF1-1293-7647-648096B0C573}"/>
          </ac:spMkLst>
        </pc:spChg>
        <pc:picChg chg="add del mod modCrop">
          <ac:chgData name="Johnson, Lindsay" userId="319693b1-92f6-47ca-8a9c-2c546be92264" providerId="ADAL" clId="{78774342-2579-46E2-B79C-D0F7E9D55D58}" dt="2026-01-16T18:56:01.173" v="1471" actId="478"/>
          <ac:picMkLst>
            <pc:docMk/>
            <pc:sldMk cId="2903001100" sldId="2147481691"/>
            <ac:picMk id="8" creationId="{1611691C-815B-7E30-3BB4-B0C8CB5EED40}"/>
          </ac:picMkLst>
        </pc:picChg>
        <pc:picChg chg="del mod">
          <ac:chgData name="Johnson, Lindsay" userId="319693b1-92f6-47ca-8a9c-2c546be92264" providerId="ADAL" clId="{78774342-2579-46E2-B79C-D0F7E9D55D58}" dt="2026-01-16T18:54:49.829" v="1451" actId="478"/>
          <ac:picMkLst>
            <pc:docMk/>
            <pc:sldMk cId="2903001100" sldId="2147481691"/>
            <ac:picMk id="9" creationId="{ED9027E9-A18F-D7EF-D098-31F70F36D0E9}"/>
          </ac:picMkLst>
        </pc:picChg>
        <pc:picChg chg="del mod">
          <ac:chgData name="Johnson, Lindsay" userId="319693b1-92f6-47ca-8a9c-2c546be92264" providerId="ADAL" clId="{78774342-2579-46E2-B79C-D0F7E9D55D58}" dt="2026-01-16T18:57:43.828" v="1479" actId="21"/>
          <ac:picMkLst>
            <pc:docMk/>
            <pc:sldMk cId="2903001100" sldId="2147481691"/>
            <ac:picMk id="10" creationId="{C22F2045-B3A1-F102-41F6-40C8E06CD336}"/>
          </ac:picMkLst>
        </pc:picChg>
        <pc:picChg chg="add mod">
          <ac:chgData name="Johnson, Lindsay" userId="319693b1-92f6-47ca-8a9c-2c546be92264" providerId="ADAL" clId="{78774342-2579-46E2-B79C-D0F7E9D55D58}" dt="2026-01-16T18:58:04.550" v="1486" actId="1076"/>
          <ac:picMkLst>
            <pc:docMk/>
            <pc:sldMk cId="2903001100" sldId="2147481691"/>
            <ac:picMk id="13" creationId="{138B9501-FAAB-35CF-281A-6F462AAB16B7}"/>
          </ac:picMkLst>
        </pc:picChg>
        <pc:picChg chg="add mod">
          <ac:chgData name="Johnson, Lindsay" userId="319693b1-92f6-47ca-8a9c-2c546be92264" providerId="ADAL" clId="{78774342-2579-46E2-B79C-D0F7E9D55D58}" dt="2026-01-16T18:58:22.957" v="1490" actId="14100"/>
          <ac:picMkLst>
            <pc:docMk/>
            <pc:sldMk cId="2903001100" sldId="2147481691"/>
            <ac:picMk id="14" creationId="{C22F2045-B3A1-F102-41F6-40C8E06CD336}"/>
          </ac:picMkLst>
        </pc:picChg>
      </pc:sldChg>
      <pc:sldMasterChg chg="delSldLayout">
        <pc:chgData name="Johnson, Lindsay" userId="319693b1-92f6-47ca-8a9c-2c546be92264" providerId="ADAL" clId="{78774342-2579-46E2-B79C-D0F7E9D55D58}" dt="2026-01-16T18:50:31.099" v="1210" actId="47"/>
        <pc:sldMasterMkLst>
          <pc:docMk/>
          <pc:sldMasterMk cId="179099561" sldId="2147484142"/>
        </pc:sldMasterMkLst>
        <pc:sldLayoutChg chg="del">
          <pc:chgData name="Johnson, Lindsay" userId="319693b1-92f6-47ca-8a9c-2c546be92264" providerId="ADAL" clId="{78774342-2579-46E2-B79C-D0F7E9D55D58}" dt="2026-01-16T18:50:31.099" v="1210" actId="47"/>
          <pc:sldLayoutMkLst>
            <pc:docMk/>
            <pc:sldMasterMk cId="179099561" sldId="2147484142"/>
            <pc:sldLayoutMk cId="652576510" sldId="2147484220"/>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2C53C66-4E0F-4E98-61C1-2D66F8D5143E}"/>
              </a:ext>
            </a:extLst>
          </p:cNvPr>
          <p:cNvSpPr>
            <a:spLocks noGrp="1"/>
          </p:cNvSpPr>
          <p:nvPr>
            <p:ph type="hdr" sz="quarter"/>
          </p:nvPr>
        </p:nvSpPr>
        <p:spPr>
          <a:xfrm>
            <a:off x="0" y="0"/>
            <a:ext cx="2929837" cy="498852"/>
          </a:xfrm>
          <a:prstGeom prst="rect">
            <a:avLst/>
          </a:prstGeom>
        </p:spPr>
        <p:txBody>
          <a:bodyPr vert="horz" lIns="91440" tIns="45720" rIns="91440" bIns="45720" rtlCol="0"/>
          <a:lstStyle>
            <a:lvl1pPr algn="l">
              <a:defRPr sz="1200"/>
            </a:lvl1pPr>
          </a:lstStyle>
          <a:p>
            <a:endParaRPr lang="en-US">
              <a:latin typeface="Forever Forma Body Text" pitchFamily="2" charset="0"/>
            </a:endParaRPr>
          </a:p>
        </p:txBody>
      </p:sp>
      <p:sp>
        <p:nvSpPr>
          <p:cNvPr id="3" name="Date Placeholder 2">
            <a:extLst>
              <a:ext uri="{FF2B5EF4-FFF2-40B4-BE49-F238E27FC236}">
                <a16:creationId xmlns:a16="http://schemas.microsoft.com/office/drawing/2014/main" id="{E457B237-9685-D8EA-D770-8D2191741471}"/>
              </a:ext>
            </a:extLst>
          </p:cNvPr>
          <p:cNvSpPr>
            <a:spLocks noGrp="1"/>
          </p:cNvSpPr>
          <p:nvPr>
            <p:ph type="dt" sz="quarter" idx="1"/>
          </p:nvPr>
        </p:nvSpPr>
        <p:spPr>
          <a:xfrm>
            <a:off x="3829761" y="0"/>
            <a:ext cx="2929837" cy="498852"/>
          </a:xfrm>
          <a:prstGeom prst="rect">
            <a:avLst/>
          </a:prstGeom>
        </p:spPr>
        <p:txBody>
          <a:bodyPr vert="horz" lIns="91440" tIns="45720" rIns="91440" bIns="45720" rtlCol="0"/>
          <a:lstStyle>
            <a:lvl1pPr algn="r">
              <a:defRPr sz="1200"/>
            </a:lvl1pPr>
          </a:lstStyle>
          <a:p>
            <a:fld id="{50B698E3-1BF5-416C-AA27-7FC310EBF94F}" type="datetimeFigureOut">
              <a:rPr lang="en-US" smtClean="0">
                <a:latin typeface="Forever Forma Body Text" pitchFamily="2" charset="0"/>
              </a:rPr>
              <a:t>1/15/2026</a:t>
            </a:fld>
            <a:endParaRPr lang="en-US">
              <a:latin typeface="Forever Forma Body Text" pitchFamily="2" charset="0"/>
            </a:endParaRPr>
          </a:p>
        </p:txBody>
      </p:sp>
      <p:sp>
        <p:nvSpPr>
          <p:cNvPr id="4" name="Footer Placeholder 3">
            <a:extLst>
              <a:ext uri="{FF2B5EF4-FFF2-40B4-BE49-F238E27FC236}">
                <a16:creationId xmlns:a16="http://schemas.microsoft.com/office/drawing/2014/main" id="{415D2E32-5E6C-3D5E-0ED0-DE0D01F757D0}"/>
              </a:ext>
            </a:extLst>
          </p:cNvPr>
          <p:cNvSpPr>
            <a:spLocks noGrp="1"/>
          </p:cNvSpPr>
          <p:nvPr>
            <p:ph type="ftr" sz="quarter" idx="2"/>
          </p:nvPr>
        </p:nvSpPr>
        <p:spPr>
          <a:xfrm>
            <a:off x="0" y="9443662"/>
            <a:ext cx="2929837" cy="498851"/>
          </a:xfrm>
          <a:prstGeom prst="rect">
            <a:avLst/>
          </a:prstGeom>
        </p:spPr>
        <p:txBody>
          <a:bodyPr vert="horz" lIns="91440" tIns="45720" rIns="91440" bIns="45720" rtlCol="0" anchor="b"/>
          <a:lstStyle>
            <a:lvl1pPr algn="l">
              <a:defRPr sz="1200"/>
            </a:lvl1pPr>
          </a:lstStyle>
          <a:p>
            <a:endParaRPr lang="en-US">
              <a:latin typeface="Forever Forma Body Text" pitchFamily="2" charset="0"/>
            </a:endParaRPr>
          </a:p>
        </p:txBody>
      </p:sp>
      <p:sp>
        <p:nvSpPr>
          <p:cNvPr id="5" name="Slide Number Placeholder 4">
            <a:extLst>
              <a:ext uri="{FF2B5EF4-FFF2-40B4-BE49-F238E27FC236}">
                <a16:creationId xmlns:a16="http://schemas.microsoft.com/office/drawing/2014/main" id="{BC80DCA4-8EA3-CD58-B535-4D19F687F9CD}"/>
              </a:ext>
            </a:extLst>
          </p:cNvPr>
          <p:cNvSpPr>
            <a:spLocks noGrp="1"/>
          </p:cNvSpPr>
          <p:nvPr>
            <p:ph type="sldNum" sz="quarter" idx="3"/>
          </p:nvPr>
        </p:nvSpPr>
        <p:spPr>
          <a:xfrm>
            <a:off x="3829761" y="9443662"/>
            <a:ext cx="2929837" cy="498851"/>
          </a:xfrm>
          <a:prstGeom prst="rect">
            <a:avLst/>
          </a:prstGeom>
        </p:spPr>
        <p:txBody>
          <a:bodyPr vert="horz" lIns="91440" tIns="45720" rIns="91440" bIns="45720" rtlCol="0" anchor="b"/>
          <a:lstStyle>
            <a:lvl1pPr algn="r">
              <a:defRPr sz="1200"/>
            </a:lvl1pPr>
          </a:lstStyle>
          <a:p>
            <a:fld id="{E5EDB665-0922-435D-A8F8-146386179D17}" type="slidenum">
              <a:rPr lang="en-US" smtClean="0">
                <a:latin typeface="Forever Forma Body Text" pitchFamily="2" charset="0"/>
              </a:rPr>
              <a:t>‹#›</a:t>
            </a:fld>
            <a:endParaRPr lang="en-US">
              <a:latin typeface="Forever Forma Body Text" pitchFamily="2" charset="0"/>
            </a:endParaRPr>
          </a:p>
        </p:txBody>
      </p:sp>
    </p:spTree>
    <p:extLst>
      <p:ext uri="{BB962C8B-B14F-4D97-AF65-F5344CB8AC3E}">
        <p14:creationId xmlns:p14="http://schemas.microsoft.com/office/powerpoint/2010/main" val="4178178808"/>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32" userDrawn="1">
          <p15:clr>
            <a:srgbClr val="F26B43"/>
          </p15:clr>
        </p15:guide>
        <p15:guide id="2" pos="213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29837" cy="498852"/>
          </a:xfrm>
          <a:prstGeom prst="rect">
            <a:avLst/>
          </a:prstGeom>
        </p:spPr>
        <p:txBody>
          <a:bodyPr vert="horz" lIns="91440" tIns="45720" rIns="91440" bIns="45720" rtlCol="0"/>
          <a:lstStyle>
            <a:lvl1pPr algn="l">
              <a:defRPr sz="1200" b="0" i="0">
                <a:latin typeface="Forever Forma Body Text" pitchFamily="2" charset="0"/>
              </a:defRPr>
            </a:lvl1pPr>
          </a:lstStyle>
          <a:p>
            <a:endParaRPr lang="nl-NL"/>
          </a:p>
        </p:txBody>
      </p:sp>
      <p:sp>
        <p:nvSpPr>
          <p:cNvPr id="3" name="Date Placeholder 2"/>
          <p:cNvSpPr>
            <a:spLocks noGrp="1"/>
          </p:cNvSpPr>
          <p:nvPr>
            <p:ph type="dt" idx="1"/>
          </p:nvPr>
        </p:nvSpPr>
        <p:spPr>
          <a:xfrm>
            <a:off x="3829761" y="0"/>
            <a:ext cx="2929837" cy="498852"/>
          </a:xfrm>
          <a:prstGeom prst="rect">
            <a:avLst/>
          </a:prstGeom>
        </p:spPr>
        <p:txBody>
          <a:bodyPr vert="horz" lIns="91440" tIns="45720" rIns="91440" bIns="45720" rtlCol="0"/>
          <a:lstStyle>
            <a:lvl1pPr algn="r">
              <a:defRPr sz="1200" b="0" i="0">
                <a:latin typeface="Forever Forma Body Text" pitchFamily="2" charset="0"/>
              </a:defRPr>
            </a:lvl1pPr>
          </a:lstStyle>
          <a:p>
            <a:fld id="{78139B51-E015-40B8-89BF-480588B58013}" type="datetimeFigureOut">
              <a:rPr lang="nl-NL" smtClean="0"/>
              <a:pPr/>
              <a:t>15-1-2026</a:t>
            </a:fld>
            <a:endParaRPr lang="nl-NL"/>
          </a:p>
        </p:txBody>
      </p:sp>
      <p:sp>
        <p:nvSpPr>
          <p:cNvPr id="4" name="Slide Image Placeholder 3"/>
          <p:cNvSpPr>
            <a:spLocks noGrp="1" noRot="1" noChangeAspect="1"/>
          </p:cNvSpPr>
          <p:nvPr>
            <p:ph type="sldImg" idx="2"/>
          </p:nvPr>
        </p:nvSpPr>
        <p:spPr>
          <a:xfrm>
            <a:off x="676117" y="643406"/>
            <a:ext cx="5408930" cy="3043513"/>
          </a:xfrm>
          <a:prstGeom prst="rect">
            <a:avLst/>
          </a:prstGeom>
          <a:noFill/>
          <a:ln w="12700">
            <a:solidFill>
              <a:prstClr val="black"/>
            </a:solidFill>
          </a:ln>
        </p:spPr>
        <p:txBody>
          <a:bodyPr vert="horz" lIns="91440" tIns="45720" rIns="91440" bIns="45720" rtlCol="0" anchor="ctr"/>
          <a:lstStyle/>
          <a:p>
            <a:endParaRPr lang="nl-NL"/>
          </a:p>
        </p:txBody>
      </p:sp>
      <p:sp>
        <p:nvSpPr>
          <p:cNvPr id="5" name="Notes Placeholder 4"/>
          <p:cNvSpPr>
            <a:spLocks noGrp="1"/>
          </p:cNvSpPr>
          <p:nvPr>
            <p:ph type="body" sz="quarter" idx="3"/>
          </p:nvPr>
        </p:nvSpPr>
        <p:spPr>
          <a:xfrm>
            <a:off x="676117" y="3831473"/>
            <a:ext cx="5408930" cy="546763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9443662"/>
            <a:ext cx="2929837" cy="498851"/>
          </a:xfrm>
          <a:prstGeom prst="rect">
            <a:avLst/>
          </a:prstGeom>
        </p:spPr>
        <p:txBody>
          <a:bodyPr vert="horz" lIns="91440" tIns="45720" rIns="91440" bIns="45720" rtlCol="0" anchor="b"/>
          <a:lstStyle>
            <a:lvl1pPr algn="l">
              <a:defRPr sz="1200" b="0" i="0">
                <a:latin typeface="Forever Forma Body Text" pitchFamily="2" charset="0"/>
              </a:defRPr>
            </a:lvl1pPr>
          </a:lstStyle>
          <a:p>
            <a:endParaRPr lang="nl-NL"/>
          </a:p>
        </p:txBody>
      </p:sp>
      <p:sp>
        <p:nvSpPr>
          <p:cNvPr id="7" name="Slide Number Placeholder 6"/>
          <p:cNvSpPr>
            <a:spLocks noGrp="1"/>
          </p:cNvSpPr>
          <p:nvPr>
            <p:ph type="sldNum" sz="quarter" idx="5"/>
          </p:nvPr>
        </p:nvSpPr>
        <p:spPr>
          <a:xfrm>
            <a:off x="3829761" y="9443662"/>
            <a:ext cx="2929837" cy="498851"/>
          </a:xfrm>
          <a:prstGeom prst="rect">
            <a:avLst/>
          </a:prstGeom>
        </p:spPr>
        <p:txBody>
          <a:bodyPr vert="horz" lIns="91440" tIns="45720" rIns="91440" bIns="45720" rtlCol="0" anchor="b"/>
          <a:lstStyle>
            <a:lvl1pPr algn="r">
              <a:defRPr sz="1200" b="0" i="0">
                <a:latin typeface="Forever Forma Body Text" pitchFamily="2" charset="0"/>
              </a:defRPr>
            </a:lvl1pPr>
          </a:lstStyle>
          <a:p>
            <a:fld id="{7A43FB1B-E0F4-426A-B06A-F89B35785A4F}" type="slidenum">
              <a:rPr lang="nl-NL" smtClean="0"/>
              <a:pPr/>
              <a:t>‹#›</a:t>
            </a:fld>
            <a:endParaRPr lang="nl-NL"/>
          </a:p>
        </p:txBody>
      </p:sp>
    </p:spTree>
    <p:extLst>
      <p:ext uri="{BB962C8B-B14F-4D97-AF65-F5344CB8AC3E}">
        <p14:creationId xmlns:p14="http://schemas.microsoft.com/office/powerpoint/2010/main" val="2070052562"/>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Forever Forma Body Text" pitchFamily="2" charset="0"/>
        <a:ea typeface="+mn-ea"/>
        <a:cs typeface="+mn-cs"/>
      </a:defRPr>
    </a:lvl1pPr>
    <a:lvl2pPr marL="457200" algn="l" defTabSz="914400" rtl="0" eaLnBrk="1" latinLnBrk="0" hangingPunct="1">
      <a:defRPr sz="1200" b="0" i="0" kern="1200">
        <a:solidFill>
          <a:schemeClr val="tx1"/>
        </a:solidFill>
        <a:latin typeface="Forever Forma Body Text" pitchFamily="2" charset="0"/>
        <a:ea typeface="+mn-ea"/>
        <a:cs typeface="+mn-cs"/>
      </a:defRPr>
    </a:lvl2pPr>
    <a:lvl3pPr marL="914400" algn="l" defTabSz="914400" rtl="0" eaLnBrk="1" latinLnBrk="0" hangingPunct="1">
      <a:defRPr sz="1200" b="0" i="0" kern="1200">
        <a:solidFill>
          <a:schemeClr val="tx1"/>
        </a:solidFill>
        <a:latin typeface="Forever Forma Body Text" pitchFamily="2" charset="0"/>
        <a:ea typeface="+mn-ea"/>
        <a:cs typeface="+mn-cs"/>
      </a:defRPr>
    </a:lvl3pPr>
    <a:lvl4pPr marL="1371600" algn="l" defTabSz="914400" rtl="0" eaLnBrk="1" latinLnBrk="0" hangingPunct="1">
      <a:defRPr sz="1200" b="0" i="0" kern="1200">
        <a:solidFill>
          <a:schemeClr val="tx1"/>
        </a:solidFill>
        <a:latin typeface="Forever Forma Body Text" pitchFamily="2" charset="0"/>
        <a:ea typeface="+mn-ea"/>
        <a:cs typeface="+mn-cs"/>
      </a:defRPr>
    </a:lvl4pPr>
    <a:lvl5pPr marL="1828800" algn="l" defTabSz="914400" rtl="0" eaLnBrk="1" latinLnBrk="0" hangingPunct="1">
      <a:defRPr sz="1200" b="0" i="0" kern="1200">
        <a:solidFill>
          <a:schemeClr val="tx1"/>
        </a:solidFill>
        <a:latin typeface="Forever Forma Body Text"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6275" y="642938"/>
            <a:ext cx="5408613" cy="3043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For Agent Use Only. Not For Public Use.</a:t>
            </a:r>
          </a:p>
          <a:p>
            <a:endParaRPr lang="en-US"/>
          </a:p>
        </p:txBody>
      </p:sp>
      <p:sp>
        <p:nvSpPr>
          <p:cNvPr id="4" name="Slide Number Placeholder 3"/>
          <p:cNvSpPr>
            <a:spLocks noGrp="1"/>
          </p:cNvSpPr>
          <p:nvPr>
            <p:ph type="sldNum" sz="quarter" idx="5"/>
          </p:nvPr>
        </p:nvSpPr>
        <p:spPr/>
        <p:txBody>
          <a:bodyPr/>
          <a:lstStyle/>
          <a:p>
            <a:fld id="{7A43FB1B-E0F4-426A-B06A-F89B35785A4F}" type="slidenum">
              <a:rPr lang="nl-NL" smtClean="0"/>
              <a:t>1</a:t>
            </a:fld>
            <a:endParaRPr lang="nl-NL"/>
          </a:p>
        </p:txBody>
      </p:sp>
    </p:spTree>
    <p:extLst>
      <p:ext uri="{BB962C8B-B14F-4D97-AF65-F5344CB8AC3E}">
        <p14:creationId xmlns:p14="http://schemas.microsoft.com/office/powerpoint/2010/main" val="33993768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6275" y="642938"/>
            <a:ext cx="5408613" cy="3043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After completing the 3</a:t>
            </a:r>
            <a:r>
              <a:rPr lang="en-US" baseline="30000"/>
              <a:t>rd</a:t>
            </a:r>
            <a:r>
              <a:rPr lang="en-US"/>
              <a:t> party payor questionnaire, select save billing information </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For Agent Use Only. Not For Public Use.</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A7E1D8-02A3-429E-8929-B484648AB22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986222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6275" y="642938"/>
            <a:ext cx="5408613" cy="3043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If the 3</a:t>
            </a:r>
            <a:r>
              <a:rPr lang="en-US" baseline="30000"/>
              <a:t>rd</a:t>
            </a:r>
            <a:r>
              <a:rPr lang="en-US"/>
              <a:t> party payor is using bank account information for payment, they’ll need to agree to the bank verification terms outlined here. Otherwise, you’ll be prompted to use a debit or credit card for paymen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For Agent Use Only. Not For Public Us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A7E1D8-02A3-429E-8929-B484648AB22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209643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6275" y="642938"/>
            <a:ext cx="5408613" cy="3043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First, select the delivery method the payor prefers (email or text message), confirm the phone number, and accept the terms and conditions. In this example, we will choose a text messag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u="none" strike="noStrike">
                <a:solidFill>
                  <a:srgbClr val="000000"/>
                </a:solidFill>
                <a:effectLst/>
                <a:latin typeface="Aptos" panose="020B0004020202020204" pitchFamily="34" charset="0"/>
              </a:rPr>
              <a:t>The payor will receive a series of back-to-back text messages from a (469) area code. The payor can review the electronic business consent, premium payor supplement, and privacy notice before providing the PIN by clicking on the link provided in the text messages. </a:t>
            </a:r>
            <a:endParaRPr lang="en-US"/>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For Agent Use Only. Not For Public Use.</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A7E1D8-02A3-429E-8929-B484648AB22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834070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6275" y="642938"/>
            <a:ext cx="5408613" cy="3043237"/>
          </a:xfrm>
        </p:spPr>
      </p:sp>
      <p:sp>
        <p:nvSpPr>
          <p:cNvPr id="3" name="Notes Placeholder 2"/>
          <p:cNvSpPr>
            <a:spLocks noGrp="1"/>
          </p:cNvSpPr>
          <p:nvPr>
            <p:ph type="body" idx="1"/>
          </p:nvPr>
        </p:nvSpPr>
        <p:spPr/>
        <p:txBody>
          <a:bodyPr/>
          <a:lstStyle/>
          <a:p>
            <a:pPr algn="l" rtl="0" fontAlgn="base">
              <a:buNone/>
            </a:pPr>
            <a:endParaRPr lang="en-US" b="0" i="0">
              <a:solidFill>
                <a:srgbClr val="444444"/>
              </a:solidFill>
              <a:effectLst/>
              <a:latin typeface="Calibri" panose="020F0502020204030204" pitchFamily="34" charset="0"/>
            </a:endParaRPr>
          </a:p>
          <a:p>
            <a:pPr algn="l" rtl="0" fontAlgn="base">
              <a:buNone/>
            </a:pPr>
            <a:r>
              <a:rPr lang="en-US" b="0" i="0" u="none" strike="noStrike">
                <a:solidFill>
                  <a:srgbClr val="000000"/>
                </a:solidFill>
                <a:effectLst/>
                <a:latin typeface="Aptos" panose="020B0004020202020204" pitchFamily="34" charset="0"/>
              </a:rPr>
              <a:t>Before requesting the PIN code, you’ll need to verbally read an authorization script on the screen and click the box to confirm this action was completed. </a:t>
            </a:r>
            <a:r>
              <a:rPr lang="en-US" b="0" i="0">
                <a:solidFill>
                  <a:srgbClr val="444444"/>
                </a:solidFill>
                <a:effectLst/>
                <a:latin typeface="Aptos" panose="020B0004020202020204" pitchFamily="34" charset="0"/>
              </a:rPr>
              <a:t>​</a:t>
            </a:r>
            <a:endParaRPr lang="en-US" b="0" i="0">
              <a:solidFill>
                <a:srgbClr val="444444"/>
              </a:solidFill>
              <a:effectLst/>
              <a:latin typeface="Calibri" panose="020F0502020204030204" pitchFamily="34" charset="0"/>
            </a:endParaRPr>
          </a:p>
          <a:p>
            <a:pPr algn="l" rtl="0" fontAlgn="base">
              <a:buNone/>
            </a:pPr>
            <a:r>
              <a:rPr lang="en-US" b="0" i="0">
                <a:solidFill>
                  <a:srgbClr val="444444"/>
                </a:solidFill>
                <a:effectLst/>
                <a:latin typeface="Aptos" panose="020B0004020202020204" pitchFamily="34" charset="0"/>
              </a:rPr>
              <a:t>​</a:t>
            </a:r>
            <a:endParaRPr lang="en-US" b="0" i="0">
              <a:solidFill>
                <a:srgbClr val="444444"/>
              </a:solidFill>
              <a:effectLst/>
              <a:latin typeface="Calibri" panose="020F0502020204030204" pitchFamily="34" charset="0"/>
            </a:endParaRPr>
          </a:p>
          <a:p>
            <a:pPr algn="l" rtl="0" fontAlgn="base"/>
            <a:r>
              <a:rPr lang="en-US" b="0" i="0" u="none" strike="noStrike">
                <a:solidFill>
                  <a:srgbClr val="000000"/>
                </a:solidFill>
                <a:effectLst/>
                <a:latin typeface="Aptos" panose="020B0004020202020204" pitchFamily="34" charset="0"/>
              </a:rPr>
              <a:t>Once the script has been read, the payor can provide you with the PIN Code.</a:t>
            </a:r>
          </a:p>
          <a:p>
            <a:pPr algn="l" rtl="0" fontAlgn="base"/>
            <a:endParaRPr lang="en-US" b="0" i="0" u="none" strike="noStrike">
              <a:solidFill>
                <a:srgbClr val="000000"/>
              </a:solidFill>
              <a:effectLst/>
              <a:latin typeface="Aptos" panose="020B0004020202020204" pitchFamily="34"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sz="1200" b="1"/>
              <a:t>For Agent Use Only. Not For Public Use.</a:t>
            </a:r>
          </a:p>
          <a:p>
            <a:pPr algn="l" rtl="0" fontAlgn="base"/>
            <a:endParaRPr lang="en-US" b="0" i="0">
              <a:solidFill>
                <a:srgbClr val="444444"/>
              </a:solidFill>
              <a:effectLst/>
              <a:latin typeface="Calibri" panose="020F0502020204030204" pitchFamily="34" charset="0"/>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A7E1D8-02A3-429E-8929-B484648AB22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496332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6275" y="642938"/>
            <a:ext cx="5408613" cy="3043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After collecting the third-party payor’s signature, you can proceed and finalize the process with the insured. </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For Agent Use Only. Not For Public Use.</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A7E1D8-02A3-429E-8929-B484648AB22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719715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6275" y="642938"/>
            <a:ext cx="5408613" cy="3043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For Agent Use Only. Not For Public Use.</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F191DC-94AC-4518-B47F-1EF478324A5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053789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6275" y="642938"/>
            <a:ext cx="5408613" cy="3043237"/>
          </a:xfrm>
        </p:spPr>
      </p:sp>
      <p:sp>
        <p:nvSpPr>
          <p:cNvPr id="3" name="Notes Placeholder 2"/>
          <p:cNvSpPr>
            <a:spLocks noGrp="1"/>
          </p:cNvSpPr>
          <p:nvPr>
            <p:ph type="body" idx="1"/>
          </p:nvPr>
        </p:nvSpPr>
        <p:spPr/>
        <p:txBody>
          <a:bodyPr/>
          <a:lstStyle/>
          <a:p>
            <a:r>
              <a:rPr lang="en-US"/>
              <a:t>Review slid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For Agent Use Only. Not For Public Use.</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A7E1D8-02A3-429E-8929-B484648AB22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778702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E9F06F-26EA-7881-EDFE-F0D386A1101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2437DD-E2A2-4A35-DFD0-ABF130B72B15}"/>
              </a:ext>
            </a:extLst>
          </p:cNvPr>
          <p:cNvSpPr>
            <a:spLocks noGrp="1" noRot="1" noChangeAspect="1"/>
          </p:cNvSpPr>
          <p:nvPr>
            <p:ph type="sldImg"/>
          </p:nvPr>
        </p:nvSpPr>
        <p:spPr>
          <a:xfrm>
            <a:off x="676275" y="642938"/>
            <a:ext cx="5408613" cy="3043237"/>
          </a:xfrm>
        </p:spPr>
      </p:sp>
      <p:sp>
        <p:nvSpPr>
          <p:cNvPr id="3" name="Notes Placeholder 2">
            <a:extLst>
              <a:ext uri="{FF2B5EF4-FFF2-40B4-BE49-F238E27FC236}">
                <a16:creationId xmlns:a16="http://schemas.microsoft.com/office/drawing/2014/main" id="{1A1365C6-4556-59E2-E564-E1A54F008372}"/>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For Agent Use Only. Not For Public Use.</a:t>
            </a:r>
          </a:p>
          <a:p>
            <a:endParaRPr lang="en-US"/>
          </a:p>
        </p:txBody>
      </p:sp>
      <p:sp>
        <p:nvSpPr>
          <p:cNvPr id="4" name="Slide Number Placeholder 3">
            <a:extLst>
              <a:ext uri="{FF2B5EF4-FFF2-40B4-BE49-F238E27FC236}">
                <a16:creationId xmlns:a16="http://schemas.microsoft.com/office/drawing/2014/main" id="{8FF150D3-0B7B-CFCA-C763-4C7E6012E65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F191DC-94AC-4518-B47F-1EF478324A5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277327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47D3B9-72A4-7CF5-1DF3-F852CF895F2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19147E1-C474-B065-23BF-261E4E249884}"/>
              </a:ext>
            </a:extLst>
          </p:cNvPr>
          <p:cNvSpPr>
            <a:spLocks noGrp="1" noRot="1" noChangeAspect="1"/>
          </p:cNvSpPr>
          <p:nvPr>
            <p:ph type="sldImg"/>
          </p:nvPr>
        </p:nvSpPr>
        <p:spPr>
          <a:xfrm>
            <a:off x="676275" y="642938"/>
            <a:ext cx="5408613" cy="3043237"/>
          </a:xfrm>
        </p:spPr>
      </p:sp>
      <p:sp>
        <p:nvSpPr>
          <p:cNvPr id="3" name="Notes Placeholder 2">
            <a:extLst>
              <a:ext uri="{FF2B5EF4-FFF2-40B4-BE49-F238E27FC236}">
                <a16:creationId xmlns:a16="http://schemas.microsoft.com/office/drawing/2014/main" id="{60AC0BCA-CE97-7C52-26C0-CFE1E9D4EDC7}"/>
              </a:ext>
            </a:extLst>
          </p:cNvPr>
          <p:cNvSpPr>
            <a:spLocks noGrp="1"/>
          </p:cNvSpPr>
          <p:nvPr>
            <p:ph type="body" idx="1"/>
          </p:nvPr>
        </p:nvSpPr>
        <p:spPr/>
        <p:txBody>
          <a:bodyPr/>
          <a:lstStyle/>
          <a:p>
            <a:r>
              <a:rPr lang="en-US"/>
              <a:t>Review slide.</a:t>
            </a:r>
          </a:p>
          <a:p>
            <a:endParaRPr lang="en-US"/>
          </a:p>
          <a:p>
            <a:r>
              <a:rPr lang="en-US" b="1"/>
              <a:t>ACH retry note: </a:t>
            </a:r>
            <a:r>
              <a:rPr lang="en-US" sz="1200" kern="100">
                <a:effectLst/>
                <a:latin typeface="Aptos" panose="020B0004020202020204" pitchFamily="34" charset="0"/>
                <a:ea typeface="Aptos" panose="020B0004020202020204" pitchFamily="34" charset="0"/>
                <a:cs typeface="Times New Roman" panose="02020603050405020304" pitchFamily="18" charset="0"/>
              </a:rPr>
              <a:t>Currently, when an ACH payment fails, an email is sent to the client and agent indicating the payment failure, but there is no automatic retry. </a:t>
            </a:r>
          </a:p>
          <a:p>
            <a:r>
              <a:rPr lang="en-US" sz="1200" b="1" kern="100">
                <a:effectLst/>
                <a:latin typeface="Aptos" panose="020B0004020202020204" pitchFamily="34" charset="0"/>
                <a:cs typeface="Times New Roman" panose="02020603050405020304" pitchFamily="18" charset="0"/>
              </a:rPr>
              <a:t>Incomplete purchase note: </a:t>
            </a:r>
            <a:r>
              <a:rPr lang="en-US" sz="1200" kern="100">
                <a:effectLst/>
                <a:latin typeface="Aptos" panose="020B0004020202020204" pitchFamily="34" charset="0"/>
                <a:cs typeface="Times New Roman" panose="02020603050405020304" pitchFamily="18" charset="0"/>
              </a:rPr>
              <a:t>An incomplete purchase would include a completed application that has not yet been submitted or purchased.</a:t>
            </a:r>
          </a:p>
          <a:p>
            <a:endParaRPr lang="en-US" sz="1200" kern="100">
              <a:effectLst/>
              <a:latin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For Agent Use Only. Not For Public Use.</a:t>
            </a:r>
          </a:p>
          <a:p>
            <a:endParaRPr lang="en-US"/>
          </a:p>
        </p:txBody>
      </p:sp>
      <p:sp>
        <p:nvSpPr>
          <p:cNvPr id="4" name="Slide Number Placeholder 3">
            <a:extLst>
              <a:ext uri="{FF2B5EF4-FFF2-40B4-BE49-F238E27FC236}">
                <a16:creationId xmlns:a16="http://schemas.microsoft.com/office/drawing/2014/main" id="{5767BEDC-4C44-9480-FED5-528EE51AF67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A7E1D8-02A3-429E-8929-B484648AB22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917063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45EA9D-785E-14B0-6C16-7385B367059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635204-402D-D291-6EAA-217CE5F011E7}"/>
              </a:ext>
            </a:extLst>
          </p:cNvPr>
          <p:cNvSpPr>
            <a:spLocks noGrp="1" noRot="1" noChangeAspect="1"/>
          </p:cNvSpPr>
          <p:nvPr>
            <p:ph type="sldImg"/>
          </p:nvPr>
        </p:nvSpPr>
        <p:spPr>
          <a:xfrm>
            <a:off x="676275" y="642938"/>
            <a:ext cx="5408613" cy="3043237"/>
          </a:xfrm>
        </p:spPr>
      </p:sp>
      <p:sp>
        <p:nvSpPr>
          <p:cNvPr id="3" name="Notes Placeholder 2">
            <a:extLst>
              <a:ext uri="{FF2B5EF4-FFF2-40B4-BE49-F238E27FC236}">
                <a16:creationId xmlns:a16="http://schemas.microsoft.com/office/drawing/2014/main" id="{FA597732-115F-77BD-A44B-3AC880854AD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For Agent Use Only. Not For Public Use.</a:t>
            </a:r>
          </a:p>
          <a:p>
            <a:endParaRPr lang="en-US"/>
          </a:p>
        </p:txBody>
      </p:sp>
      <p:sp>
        <p:nvSpPr>
          <p:cNvPr id="4" name="Slide Number Placeholder 3">
            <a:extLst>
              <a:ext uri="{FF2B5EF4-FFF2-40B4-BE49-F238E27FC236}">
                <a16:creationId xmlns:a16="http://schemas.microsoft.com/office/drawing/2014/main" id="{7F8A8598-194D-741E-E7D0-04996AD0870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F191DC-94AC-4518-B47F-1EF478324A5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332223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7ADD0C-BF40-533A-F008-7504B3F9D9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839D128-0744-6163-0DF1-00057F32840D}"/>
              </a:ext>
            </a:extLst>
          </p:cNvPr>
          <p:cNvSpPr>
            <a:spLocks noGrp="1" noRot="1" noChangeAspect="1"/>
          </p:cNvSpPr>
          <p:nvPr>
            <p:ph type="sldImg"/>
          </p:nvPr>
        </p:nvSpPr>
        <p:spPr>
          <a:xfrm>
            <a:off x="676275" y="642938"/>
            <a:ext cx="5408613" cy="3043237"/>
          </a:xfrm>
        </p:spPr>
      </p:sp>
      <p:sp>
        <p:nvSpPr>
          <p:cNvPr id="3" name="Notes Placeholder 2">
            <a:extLst>
              <a:ext uri="{FF2B5EF4-FFF2-40B4-BE49-F238E27FC236}">
                <a16:creationId xmlns:a16="http://schemas.microsoft.com/office/drawing/2014/main" id="{18199251-3445-4D77-4ABB-0202ABFF076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For Agent Use Only. Not For Public Use.</a:t>
            </a:r>
          </a:p>
          <a:p>
            <a:endParaRPr lang="en-US"/>
          </a:p>
        </p:txBody>
      </p:sp>
      <p:sp>
        <p:nvSpPr>
          <p:cNvPr id="4" name="Slide Number Placeholder 3">
            <a:extLst>
              <a:ext uri="{FF2B5EF4-FFF2-40B4-BE49-F238E27FC236}">
                <a16:creationId xmlns:a16="http://schemas.microsoft.com/office/drawing/2014/main" id="{7C4C92A8-E5F0-4171-B7B5-00FC9C565D8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F191DC-94AC-4518-B47F-1EF478324A5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899648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6275" y="642938"/>
            <a:ext cx="5408613" cy="3043237"/>
          </a:xfrm>
        </p:spPr>
      </p:sp>
      <p:sp>
        <p:nvSpPr>
          <p:cNvPr id="3" name="Notes Placeholder 2"/>
          <p:cNvSpPr>
            <a:spLocks noGrp="1"/>
          </p:cNvSpPr>
          <p:nvPr>
            <p:ph type="body" idx="1"/>
          </p:nvPr>
        </p:nvSpPr>
        <p:spPr/>
        <p:txBody>
          <a:bodyPr/>
          <a:lstStyle/>
          <a:p>
            <a:r>
              <a:rPr lang="en-US"/>
              <a:t>The PIN-to-Sign remote signature experience works the same way for both Parts 1 and 2 of the application. </a:t>
            </a:r>
          </a:p>
          <a:p>
            <a:endParaRPr lang="en-US"/>
          </a:p>
          <a:p>
            <a:r>
              <a:rPr lang="en-US"/>
              <a:t>First, select the delivery method your client prefers: email or text message. For this demonstration, we will choose a text message. </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For Agent Use Only. Not For Public Use.</a:t>
            </a:r>
          </a:p>
          <a:p>
            <a:endParaRPr lang="en-US"/>
          </a:p>
        </p:txBody>
      </p:sp>
      <p:sp>
        <p:nvSpPr>
          <p:cNvPr id="4" name="Slide Number Placeholder 3"/>
          <p:cNvSpPr>
            <a:spLocks noGrp="1"/>
          </p:cNvSpPr>
          <p:nvPr>
            <p:ph type="sldNum" sz="quarter" idx="5"/>
          </p:nvPr>
        </p:nvSpPr>
        <p:spPr/>
        <p:txBody>
          <a:bodyPr/>
          <a:lstStyle/>
          <a:p>
            <a:fld id="{7A43FB1B-E0F4-426A-B06A-F89B35785A4F}" type="slidenum">
              <a:rPr lang="nl-NL" smtClean="0"/>
              <a:pPr/>
              <a:t>20</a:t>
            </a:fld>
            <a:endParaRPr lang="nl-NL"/>
          </a:p>
        </p:txBody>
      </p:sp>
    </p:spTree>
    <p:extLst>
      <p:ext uri="{BB962C8B-B14F-4D97-AF65-F5344CB8AC3E}">
        <p14:creationId xmlns:p14="http://schemas.microsoft.com/office/powerpoint/2010/main" val="39554840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6275" y="642938"/>
            <a:ext cx="5408613" cy="3043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Next, confirm the phone number, click to accept the terms and conditions, then click the blue button to send a text to your client.</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For Agent Use Only. Not For Public Use.</a:t>
            </a:r>
          </a:p>
          <a:p>
            <a:endParaRPr lang="en-US"/>
          </a:p>
        </p:txBody>
      </p:sp>
      <p:sp>
        <p:nvSpPr>
          <p:cNvPr id="4" name="Slide Number Placeholder 3"/>
          <p:cNvSpPr>
            <a:spLocks noGrp="1"/>
          </p:cNvSpPr>
          <p:nvPr>
            <p:ph type="sldNum" sz="quarter" idx="5"/>
          </p:nvPr>
        </p:nvSpPr>
        <p:spPr/>
        <p:txBody>
          <a:bodyPr/>
          <a:lstStyle/>
          <a:p>
            <a:fld id="{7A43FB1B-E0F4-426A-B06A-F89B35785A4F}" type="slidenum">
              <a:rPr lang="nl-NL" smtClean="0"/>
              <a:pPr/>
              <a:t>21</a:t>
            </a:fld>
            <a:endParaRPr lang="nl-NL"/>
          </a:p>
        </p:txBody>
      </p:sp>
    </p:spTree>
    <p:extLst>
      <p:ext uri="{BB962C8B-B14F-4D97-AF65-F5344CB8AC3E}">
        <p14:creationId xmlns:p14="http://schemas.microsoft.com/office/powerpoint/2010/main" val="96862972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6275" y="642938"/>
            <a:ext cx="5408613" cy="3043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he client will receive a series of back-to-back text messages from a (469) area code.  To review the forms before providing the PIN, the client will click the link provided in the text. </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For Agent Use Only. Not For Public Use.</a:t>
            </a:r>
          </a:p>
          <a:p>
            <a:endParaRPr lang="en-US"/>
          </a:p>
        </p:txBody>
      </p:sp>
      <p:sp>
        <p:nvSpPr>
          <p:cNvPr id="4" name="Slide Number Placeholder 3"/>
          <p:cNvSpPr>
            <a:spLocks noGrp="1"/>
          </p:cNvSpPr>
          <p:nvPr>
            <p:ph type="sldNum" sz="quarter" idx="5"/>
          </p:nvPr>
        </p:nvSpPr>
        <p:spPr/>
        <p:txBody>
          <a:bodyPr/>
          <a:lstStyle/>
          <a:p>
            <a:fld id="{7A43FB1B-E0F4-426A-B06A-F89B35785A4F}" type="slidenum">
              <a:rPr lang="nl-NL" smtClean="0"/>
              <a:pPr/>
              <a:t>22</a:t>
            </a:fld>
            <a:endParaRPr lang="nl-NL"/>
          </a:p>
        </p:txBody>
      </p:sp>
    </p:spTree>
    <p:extLst>
      <p:ext uri="{BB962C8B-B14F-4D97-AF65-F5344CB8AC3E}">
        <p14:creationId xmlns:p14="http://schemas.microsoft.com/office/powerpoint/2010/main" val="27409140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6275" y="642938"/>
            <a:ext cx="5408613" cy="3043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Next, select the box confirming you’ve read the script to the client, then ask the client to provide you with the PIN they received via text messag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Finally, click the blue 'Agree and sign client documents' button and proceed with part B of the application.</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For Agent Use Only. Not For Public Use.</a:t>
            </a:r>
          </a:p>
          <a:p>
            <a:endParaRPr lang="en-US"/>
          </a:p>
        </p:txBody>
      </p:sp>
      <p:sp>
        <p:nvSpPr>
          <p:cNvPr id="4" name="Slide Number Placeholder 3"/>
          <p:cNvSpPr>
            <a:spLocks noGrp="1"/>
          </p:cNvSpPr>
          <p:nvPr>
            <p:ph type="sldNum" sz="quarter" idx="5"/>
          </p:nvPr>
        </p:nvSpPr>
        <p:spPr/>
        <p:txBody>
          <a:bodyPr/>
          <a:lstStyle/>
          <a:p>
            <a:fld id="{7A43FB1B-E0F4-426A-B06A-F89B35785A4F}" type="slidenum">
              <a:rPr lang="nl-NL" smtClean="0"/>
              <a:pPr/>
              <a:t>23</a:t>
            </a:fld>
            <a:endParaRPr lang="nl-NL"/>
          </a:p>
        </p:txBody>
      </p:sp>
    </p:spTree>
    <p:extLst>
      <p:ext uri="{BB962C8B-B14F-4D97-AF65-F5344CB8AC3E}">
        <p14:creationId xmlns:p14="http://schemas.microsoft.com/office/powerpoint/2010/main" val="194441545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6275" y="642938"/>
            <a:ext cx="5408613" cy="3043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For Agent Use Only. Not For Public Use.</a:t>
            </a:r>
          </a:p>
        </p:txBody>
      </p:sp>
      <p:sp>
        <p:nvSpPr>
          <p:cNvPr id="4" name="Slide Number Placeholder 3"/>
          <p:cNvSpPr>
            <a:spLocks noGrp="1"/>
          </p:cNvSpPr>
          <p:nvPr>
            <p:ph type="sldNum" sz="quarter" idx="5"/>
          </p:nvPr>
        </p:nvSpPr>
        <p:spPr/>
        <p:txBody>
          <a:bodyPr/>
          <a:lstStyle/>
          <a:p>
            <a:fld id="{7A43FB1B-E0F4-426A-B06A-F89B35785A4F}" type="slidenum">
              <a:rPr lang="nl-NL" smtClean="0"/>
              <a:pPr/>
              <a:t>24</a:t>
            </a:fld>
            <a:endParaRPr lang="nl-NL"/>
          </a:p>
        </p:txBody>
      </p:sp>
    </p:spTree>
    <p:extLst>
      <p:ext uri="{BB962C8B-B14F-4D97-AF65-F5344CB8AC3E}">
        <p14:creationId xmlns:p14="http://schemas.microsoft.com/office/powerpoint/2010/main" val="373547510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0C4334-2364-82D5-C094-A967BC0F19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9A45F91-94C6-46B9-FD97-DCB5A5F868FF}"/>
              </a:ext>
            </a:extLst>
          </p:cNvPr>
          <p:cNvSpPr>
            <a:spLocks noGrp="1" noRot="1" noChangeAspect="1"/>
          </p:cNvSpPr>
          <p:nvPr>
            <p:ph type="sldImg"/>
          </p:nvPr>
        </p:nvSpPr>
        <p:spPr>
          <a:xfrm>
            <a:off x="676275" y="642938"/>
            <a:ext cx="5408613" cy="3043237"/>
          </a:xfrm>
        </p:spPr>
      </p:sp>
      <p:sp>
        <p:nvSpPr>
          <p:cNvPr id="3" name="Notes Placeholder 2">
            <a:extLst>
              <a:ext uri="{FF2B5EF4-FFF2-40B4-BE49-F238E27FC236}">
                <a16:creationId xmlns:a16="http://schemas.microsoft.com/office/drawing/2014/main" id="{4F31A4D5-4B94-B0F5-0920-2A9FE59D289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For Agent Use Only. Not For Public Use.</a:t>
            </a:r>
          </a:p>
          <a:p>
            <a:endParaRPr lang="en-US"/>
          </a:p>
        </p:txBody>
      </p:sp>
      <p:sp>
        <p:nvSpPr>
          <p:cNvPr id="4" name="Slide Number Placeholder 3">
            <a:extLst>
              <a:ext uri="{FF2B5EF4-FFF2-40B4-BE49-F238E27FC236}">
                <a16:creationId xmlns:a16="http://schemas.microsoft.com/office/drawing/2014/main" id="{E95637F8-89CD-1D40-8338-D2C17D55308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F191DC-94AC-4518-B47F-1EF478324A5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3097440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6275" y="642938"/>
            <a:ext cx="5408613" cy="3043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For Agent Use Only. Not For Public Use.</a:t>
            </a:r>
          </a:p>
          <a:p>
            <a:endParaRPr lang="en-US"/>
          </a:p>
        </p:txBody>
      </p:sp>
      <p:sp>
        <p:nvSpPr>
          <p:cNvPr id="4" name="Slide Number Placeholder 3"/>
          <p:cNvSpPr>
            <a:spLocks noGrp="1"/>
          </p:cNvSpPr>
          <p:nvPr>
            <p:ph type="sldNum" sz="quarter" idx="5"/>
          </p:nvPr>
        </p:nvSpPr>
        <p:spPr/>
        <p:txBody>
          <a:bodyPr/>
          <a:lstStyle/>
          <a:p>
            <a:fld id="{7A43FB1B-E0F4-426A-B06A-F89B35785A4F}" type="slidenum">
              <a:rPr lang="nl-NL" smtClean="0"/>
              <a:t>26</a:t>
            </a:fld>
            <a:endParaRPr lang="nl-NL"/>
          </a:p>
        </p:txBody>
      </p:sp>
    </p:spTree>
    <p:extLst>
      <p:ext uri="{BB962C8B-B14F-4D97-AF65-F5344CB8AC3E}">
        <p14:creationId xmlns:p14="http://schemas.microsoft.com/office/powerpoint/2010/main" val="35658171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9DDD7D-A08B-0222-5795-C4F4394010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EC2BD5-027A-01AE-CF37-ED61B1068151}"/>
              </a:ext>
            </a:extLst>
          </p:cNvPr>
          <p:cNvSpPr>
            <a:spLocks noGrp="1" noRot="1" noChangeAspect="1"/>
          </p:cNvSpPr>
          <p:nvPr>
            <p:ph type="sldImg"/>
          </p:nvPr>
        </p:nvSpPr>
        <p:spPr>
          <a:xfrm>
            <a:off x="676275" y="642938"/>
            <a:ext cx="5408613" cy="3043237"/>
          </a:xfrm>
        </p:spPr>
      </p:sp>
      <p:sp>
        <p:nvSpPr>
          <p:cNvPr id="3" name="Notes Placeholder 2">
            <a:extLst>
              <a:ext uri="{FF2B5EF4-FFF2-40B4-BE49-F238E27FC236}">
                <a16:creationId xmlns:a16="http://schemas.microsoft.com/office/drawing/2014/main" id="{42CBC2A0-FD2B-9B3A-201A-501C586D864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For Agent Use Only. Not For Public Use.</a:t>
            </a:r>
          </a:p>
          <a:p>
            <a:endParaRPr lang="en-US"/>
          </a:p>
        </p:txBody>
      </p:sp>
      <p:sp>
        <p:nvSpPr>
          <p:cNvPr id="4" name="Slide Number Placeholder 3">
            <a:extLst>
              <a:ext uri="{FF2B5EF4-FFF2-40B4-BE49-F238E27FC236}">
                <a16:creationId xmlns:a16="http://schemas.microsoft.com/office/drawing/2014/main" id="{807442F3-8B3E-5B22-E380-21A5AA940919}"/>
              </a:ext>
            </a:extLst>
          </p:cNvPr>
          <p:cNvSpPr>
            <a:spLocks noGrp="1"/>
          </p:cNvSpPr>
          <p:nvPr>
            <p:ph type="sldNum" sz="quarter" idx="5"/>
          </p:nvPr>
        </p:nvSpPr>
        <p:spPr/>
        <p:txBody>
          <a:bodyPr/>
          <a:lstStyle/>
          <a:p>
            <a:fld id="{7A43FB1B-E0F4-426A-B06A-F89B35785A4F}" type="slidenum">
              <a:rPr lang="nl-NL" smtClean="0"/>
              <a:t>27</a:t>
            </a:fld>
            <a:endParaRPr lang="nl-NL"/>
          </a:p>
        </p:txBody>
      </p:sp>
    </p:spTree>
    <p:extLst>
      <p:ext uri="{BB962C8B-B14F-4D97-AF65-F5344CB8AC3E}">
        <p14:creationId xmlns:p14="http://schemas.microsoft.com/office/powerpoint/2010/main" val="179630619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6275" y="642938"/>
            <a:ext cx="5408613" cy="3043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For Agent Use Only. Not For Public Use.</a:t>
            </a:r>
          </a:p>
          <a:p>
            <a:endParaRPr lang="en-US"/>
          </a:p>
        </p:txBody>
      </p:sp>
      <p:sp>
        <p:nvSpPr>
          <p:cNvPr id="4" name="Slide Number Placeholder 3"/>
          <p:cNvSpPr>
            <a:spLocks noGrp="1"/>
          </p:cNvSpPr>
          <p:nvPr>
            <p:ph type="sldNum" sz="quarter" idx="5"/>
          </p:nvPr>
        </p:nvSpPr>
        <p:spPr/>
        <p:txBody>
          <a:bodyPr/>
          <a:lstStyle/>
          <a:p>
            <a:fld id="{7A43FB1B-E0F4-426A-B06A-F89B35785A4F}" type="slidenum">
              <a:rPr lang="nl-NL" smtClean="0"/>
              <a:t>28</a:t>
            </a:fld>
            <a:endParaRPr lang="nl-NL"/>
          </a:p>
        </p:txBody>
      </p:sp>
    </p:spTree>
    <p:extLst>
      <p:ext uri="{BB962C8B-B14F-4D97-AF65-F5344CB8AC3E}">
        <p14:creationId xmlns:p14="http://schemas.microsoft.com/office/powerpoint/2010/main" val="497634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6275" y="642938"/>
            <a:ext cx="5408613" cy="3043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For Agent Use Only. Not For Public Use.</a:t>
            </a:r>
          </a:p>
          <a:p>
            <a:endParaRPr lang="en-US"/>
          </a:p>
        </p:txBody>
      </p:sp>
      <p:sp>
        <p:nvSpPr>
          <p:cNvPr id="4" name="Slide Number Placeholder 3"/>
          <p:cNvSpPr>
            <a:spLocks noGrp="1"/>
          </p:cNvSpPr>
          <p:nvPr>
            <p:ph type="sldNum" sz="quarter" idx="5"/>
          </p:nvPr>
        </p:nvSpPr>
        <p:spPr/>
        <p:txBody>
          <a:bodyPr/>
          <a:lstStyle/>
          <a:p>
            <a:fld id="{7A43FB1B-E0F4-426A-B06A-F89B35785A4F}" type="slidenum">
              <a:rPr lang="nl-NL" smtClean="0"/>
              <a:t>29</a:t>
            </a:fld>
            <a:endParaRPr lang="nl-NL"/>
          </a:p>
        </p:txBody>
      </p:sp>
    </p:spTree>
    <p:extLst>
      <p:ext uri="{BB962C8B-B14F-4D97-AF65-F5344CB8AC3E}">
        <p14:creationId xmlns:p14="http://schemas.microsoft.com/office/powerpoint/2010/main" val="15732875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6275" y="642938"/>
            <a:ext cx="5408613" cy="3043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Agent Use Only. Not for public use.</a:t>
            </a:r>
          </a:p>
          <a:p>
            <a:endParaRPr lang="en-US" dirty="0"/>
          </a:p>
        </p:txBody>
      </p:sp>
      <p:sp>
        <p:nvSpPr>
          <p:cNvPr id="4" name="Slide Number Placeholder 3"/>
          <p:cNvSpPr>
            <a:spLocks noGrp="1"/>
          </p:cNvSpPr>
          <p:nvPr>
            <p:ph type="sldNum" sz="quarter" idx="5"/>
          </p:nvPr>
        </p:nvSpPr>
        <p:spPr/>
        <p:txBody>
          <a:bodyPr/>
          <a:lstStyle/>
          <a:p>
            <a:fld id="{7A43FB1B-E0F4-426A-B06A-F89B35785A4F}" type="slidenum">
              <a:rPr lang="nl-NL" smtClean="0"/>
              <a:pPr/>
              <a:t>3</a:t>
            </a:fld>
            <a:endParaRPr lang="nl-NL"/>
          </a:p>
        </p:txBody>
      </p:sp>
    </p:spTree>
    <p:extLst>
      <p:ext uri="{BB962C8B-B14F-4D97-AF65-F5344CB8AC3E}">
        <p14:creationId xmlns:p14="http://schemas.microsoft.com/office/powerpoint/2010/main" val="5154155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2875E5-F9D8-2AB9-D625-51E4629699C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84B3B0-178C-9D96-A811-8597F3AB2B5A}"/>
              </a:ext>
            </a:extLst>
          </p:cNvPr>
          <p:cNvSpPr>
            <a:spLocks noGrp="1" noRot="1" noChangeAspect="1"/>
          </p:cNvSpPr>
          <p:nvPr>
            <p:ph type="sldImg"/>
          </p:nvPr>
        </p:nvSpPr>
        <p:spPr>
          <a:xfrm>
            <a:off x="676275" y="642938"/>
            <a:ext cx="5408613" cy="3043237"/>
          </a:xfrm>
        </p:spPr>
      </p:sp>
      <p:sp>
        <p:nvSpPr>
          <p:cNvPr id="3" name="Notes Placeholder 2">
            <a:extLst>
              <a:ext uri="{FF2B5EF4-FFF2-40B4-BE49-F238E27FC236}">
                <a16:creationId xmlns:a16="http://schemas.microsoft.com/office/drawing/2014/main" id="{8C1B9CBF-CD0A-A8E1-2CC3-0A9E99D93A29}"/>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For Agent Use Only. Not For Public Use.</a:t>
            </a:r>
          </a:p>
          <a:p>
            <a:endParaRPr lang="en-US"/>
          </a:p>
        </p:txBody>
      </p:sp>
      <p:sp>
        <p:nvSpPr>
          <p:cNvPr id="4" name="Slide Number Placeholder 3">
            <a:extLst>
              <a:ext uri="{FF2B5EF4-FFF2-40B4-BE49-F238E27FC236}">
                <a16:creationId xmlns:a16="http://schemas.microsoft.com/office/drawing/2014/main" id="{D0713068-0E43-8856-090F-EBB2FF72024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F191DC-94AC-4518-B47F-1EF478324A5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7638257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6275" y="642938"/>
            <a:ext cx="5408613" cy="3043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For Agent Use Only. Not For Public Use.</a:t>
            </a:r>
          </a:p>
          <a:p>
            <a:endParaRPr lang="en-US"/>
          </a:p>
        </p:txBody>
      </p:sp>
      <p:sp>
        <p:nvSpPr>
          <p:cNvPr id="4" name="Slide Number Placeholder 3"/>
          <p:cNvSpPr>
            <a:spLocks noGrp="1"/>
          </p:cNvSpPr>
          <p:nvPr>
            <p:ph type="sldNum" sz="quarter" idx="5"/>
          </p:nvPr>
        </p:nvSpPr>
        <p:spPr/>
        <p:txBody>
          <a:bodyPr/>
          <a:lstStyle/>
          <a:p>
            <a:fld id="{7A43FB1B-E0F4-426A-B06A-F89B35785A4F}" type="slidenum">
              <a:rPr lang="nl-NL" smtClean="0"/>
              <a:pPr/>
              <a:t>31</a:t>
            </a:fld>
            <a:endParaRPr lang="nl-NL"/>
          </a:p>
        </p:txBody>
      </p:sp>
    </p:spTree>
    <p:extLst>
      <p:ext uri="{BB962C8B-B14F-4D97-AF65-F5344CB8AC3E}">
        <p14:creationId xmlns:p14="http://schemas.microsoft.com/office/powerpoint/2010/main" val="186611546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6275" y="642938"/>
            <a:ext cx="5408613" cy="3043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For Agent Use Only. Not For Public Use.</a:t>
            </a:r>
          </a:p>
          <a:p>
            <a:endParaRPr lang="en-US"/>
          </a:p>
        </p:txBody>
      </p:sp>
      <p:sp>
        <p:nvSpPr>
          <p:cNvPr id="4" name="Slide Number Placeholder 3"/>
          <p:cNvSpPr>
            <a:spLocks noGrp="1"/>
          </p:cNvSpPr>
          <p:nvPr>
            <p:ph type="sldNum" sz="quarter" idx="5"/>
          </p:nvPr>
        </p:nvSpPr>
        <p:spPr/>
        <p:txBody>
          <a:bodyPr/>
          <a:lstStyle/>
          <a:p>
            <a:fld id="{7A43FB1B-E0F4-426A-B06A-F89B35785A4F}" type="slidenum">
              <a:rPr lang="nl-NL" smtClean="0"/>
              <a:pPr/>
              <a:t>32</a:t>
            </a:fld>
            <a:endParaRPr lang="nl-NL"/>
          </a:p>
        </p:txBody>
      </p:sp>
    </p:spTree>
    <p:extLst>
      <p:ext uri="{BB962C8B-B14F-4D97-AF65-F5344CB8AC3E}">
        <p14:creationId xmlns:p14="http://schemas.microsoft.com/office/powerpoint/2010/main" val="90867426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E70BF0-36AD-E781-6C64-B7650CF2355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F0009FD-C0CE-8E36-367D-60B21BF54CC7}"/>
              </a:ext>
            </a:extLst>
          </p:cNvPr>
          <p:cNvSpPr>
            <a:spLocks noGrp="1" noRot="1" noChangeAspect="1"/>
          </p:cNvSpPr>
          <p:nvPr>
            <p:ph type="sldImg"/>
          </p:nvPr>
        </p:nvSpPr>
        <p:spPr>
          <a:xfrm>
            <a:off x="676275" y="642938"/>
            <a:ext cx="5408613" cy="3043237"/>
          </a:xfrm>
        </p:spPr>
      </p:sp>
      <p:sp>
        <p:nvSpPr>
          <p:cNvPr id="3" name="Notes Placeholder 2">
            <a:extLst>
              <a:ext uri="{FF2B5EF4-FFF2-40B4-BE49-F238E27FC236}">
                <a16:creationId xmlns:a16="http://schemas.microsoft.com/office/drawing/2014/main" id="{5B2F758F-4C31-B451-4EEA-19160AA7E20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For Agent Use Only. Not For Public Use.</a:t>
            </a:r>
          </a:p>
          <a:p>
            <a:endParaRPr lang="en-US"/>
          </a:p>
        </p:txBody>
      </p:sp>
      <p:sp>
        <p:nvSpPr>
          <p:cNvPr id="4" name="Slide Number Placeholder 3">
            <a:extLst>
              <a:ext uri="{FF2B5EF4-FFF2-40B4-BE49-F238E27FC236}">
                <a16:creationId xmlns:a16="http://schemas.microsoft.com/office/drawing/2014/main" id="{814E4487-5DC2-A8CB-6A38-1C8BF4880C5C}"/>
              </a:ext>
            </a:extLst>
          </p:cNvPr>
          <p:cNvSpPr>
            <a:spLocks noGrp="1"/>
          </p:cNvSpPr>
          <p:nvPr>
            <p:ph type="sldNum" sz="quarter" idx="5"/>
          </p:nvPr>
        </p:nvSpPr>
        <p:spPr/>
        <p:txBody>
          <a:bodyPr/>
          <a:lstStyle/>
          <a:p>
            <a:fld id="{7A43FB1B-E0F4-426A-B06A-F89B35785A4F}" type="slidenum">
              <a:rPr lang="nl-NL" smtClean="0"/>
              <a:pPr/>
              <a:t>33</a:t>
            </a:fld>
            <a:endParaRPr lang="nl-NL"/>
          </a:p>
        </p:txBody>
      </p:sp>
    </p:spTree>
    <p:extLst>
      <p:ext uri="{BB962C8B-B14F-4D97-AF65-F5344CB8AC3E}">
        <p14:creationId xmlns:p14="http://schemas.microsoft.com/office/powerpoint/2010/main" val="62445145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804320-39CE-E255-1FBD-7C7D8FF2F82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151305F-BE66-2B3C-CDEE-1FC4E5E8C343}"/>
              </a:ext>
            </a:extLst>
          </p:cNvPr>
          <p:cNvSpPr>
            <a:spLocks noGrp="1" noRot="1" noChangeAspect="1"/>
          </p:cNvSpPr>
          <p:nvPr>
            <p:ph type="sldImg"/>
          </p:nvPr>
        </p:nvSpPr>
        <p:spPr>
          <a:xfrm>
            <a:off x="676275" y="642938"/>
            <a:ext cx="5408613" cy="3043237"/>
          </a:xfrm>
        </p:spPr>
      </p:sp>
      <p:sp>
        <p:nvSpPr>
          <p:cNvPr id="3" name="Notes Placeholder 2">
            <a:extLst>
              <a:ext uri="{FF2B5EF4-FFF2-40B4-BE49-F238E27FC236}">
                <a16:creationId xmlns:a16="http://schemas.microsoft.com/office/drawing/2014/main" id="{E43F4AD3-AFAB-E77C-E5D5-D40DE2993C09}"/>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For Agent Use Only. Not For Public Use.</a:t>
            </a:r>
          </a:p>
          <a:p>
            <a:endParaRPr lang="en-US"/>
          </a:p>
        </p:txBody>
      </p:sp>
      <p:sp>
        <p:nvSpPr>
          <p:cNvPr id="4" name="Slide Number Placeholder 3">
            <a:extLst>
              <a:ext uri="{FF2B5EF4-FFF2-40B4-BE49-F238E27FC236}">
                <a16:creationId xmlns:a16="http://schemas.microsoft.com/office/drawing/2014/main" id="{27E8D2C7-37BE-8F6C-0901-8FDD3C3E6AA0}"/>
              </a:ext>
            </a:extLst>
          </p:cNvPr>
          <p:cNvSpPr>
            <a:spLocks noGrp="1"/>
          </p:cNvSpPr>
          <p:nvPr>
            <p:ph type="sldNum" sz="quarter" idx="5"/>
          </p:nvPr>
        </p:nvSpPr>
        <p:spPr/>
        <p:txBody>
          <a:bodyPr/>
          <a:lstStyle/>
          <a:p>
            <a:fld id="{7A43FB1B-E0F4-426A-B06A-F89B35785A4F}" type="slidenum">
              <a:rPr lang="nl-NL" smtClean="0"/>
              <a:pPr/>
              <a:t>34</a:t>
            </a:fld>
            <a:endParaRPr lang="nl-NL"/>
          </a:p>
        </p:txBody>
      </p:sp>
    </p:spTree>
    <p:extLst>
      <p:ext uri="{BB962C8B-B14F-4D97-AF65-F5344CB8AC3E}">
        <p14:creationId xmlns:p14="http://schemas.microsoft.com/office/powerpoint/2010/main" val="112851507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FCD75B-76A6-1783-A788-CC9B05A036B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6662034-DC11-0948-43A9-A0BD8D2212F7}"/>
              </a:ext>
            </a:extLst>
          </p:cNvPr>
          <p:cNvSpPr>
            <a:spLocks noGrp="1" noRot="1" noChangeAspect="1"/>
          </p:cNvSpPr>
          <p:nvPr>
            <p:ph type="sldImg"/>
          </p:nvPr>
        </p:nvSpPr>
        <p:spPr>
          <a:xfrm>
            <a:off x="676275" y="642938"/>
            <a:ext cx="5408613" cy="3043237"/>
          </a:xfrm>
        </p:spPr>
      </p:sp>
      <p:sp>
        <p:nvSpPr>
          <p:cNvPr id="3" name="Notes Placeholder 2">
            <a:extLst>
              <a:ext uri="{FF2B5EF4-FFF2-40B4-BE49-F238E27FC236}">
                <a16:creationId xmlns:a16="http://schemas.microsoft.com/office/drawing/2014/main" id="{FEE47BE1-CFA4-4C71-CE64-5217B55705D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For Agent Use Only. Not For Public Use.</a:t>
            </a:r>
          </a:p>
          <a:p>
            <a:endParaRPr lang="en-US"/>
          </a:p>
        </p:txBody>
      </p:sp>
      <p:sp>
        <p:nvSpPr>
          <p:cNvPr id="4" name="Slide Number Placeholder 3">
            <a:extLst>
              <a:ext uri="{FF2B5EF4-FFF2-40B4-BE49-F238E27FC236}">
                <a16:creationId xmlns:a16="http://schemas.microsoft.com/office/drawing/2014/main" id="{B9FE187A-776F-E27E-A3DF-79180C289FA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F191DC-94AC-4518-B47F-1EF478324A5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5329708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6275" y="642938"/>
            <a:ext cx="5408613" cy="3043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For Agent Use Only. Not For Public Use.</a:t>
            </a:r>
          </a:p>
          <a:p>
            <a:endParaRPr lang="en-US"/>
          </a:p>
        </p:txBody>
      </p:sp>
      <p:sp>
        <p:nvSpPr>
          <p:cNvPr id="4" name="Slide Number Placeholder 3"/>
          <p:cNvSpPr>
            <a:spLocks noGrp="1"/>
          </p:cNvSpPr>
          <p:nvPr>
            <p:ph type="sldNum" sz="quarter" idx="5"/>
          </p:nvPr>
        </p:nvSpPr>
        <p:spPr/>
        <p:txBody>
          <a:bodyPr/>
          <a:lstStyle/>
          <a:p>
            <a:fld id="{7A43FB1B-E0F4-426A-B06A-F89B35785A4F}" type="slidenum">
              <a:rPr lang="nl-NL" smtClean="0"/>
              <a:pPr/>
              <a:t>36</a:t>
            </a:fld>
            <a:endParaRPr lang="nl-NL"/>
          </a:p>
        </p:txBody>
      </p:sp>
    </p:spTree>
    <p:extLst>
      <p:ext uri="{BB962C8B-B14F-4D97-AF65-F5344CB8AC3E}">
        <p14:creationId xmlns:p14="http://schemas.microsoft.com/office/powerpoint/2010/main" val="259847330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E997D9-ACB4-D852-A0BA-5873214BF68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4EB1870-F37B-0F88-123C-B9155E8E4E2D}"/>
              </a:ext>
            </a:extLst>
          </p:cNvPr>
          <p:cNvSpPr>
            <a:spLocks noGrp="1" noRot="1" noChangeAspect="1"/>
          </p:cNvSpPr>
          <p:nvPr>
            <p:ph type="sldImg"/>
          </p:nvPr>
        </p:nvSpPr>
        <p:spPr>
          <a:xfrm>
            <a:off x="676275" y="642938"/>
            <a:ext cx="5408613" cy="3043237"/>
          </a:xfrm>
        </p:spPr>
      </p:sp>
      <p:sp>
        <p:nvSpPr>
          <p:cNvPr id="3" name="Notes Placeholder 2">
            <a:extLst>
              <a:ext uri="{FF2B5EF4-FFF2-40B4-BE49-F238E27FC236}">
                <a16:creationId xmlns:a16="http://schemas.microsoft.com/office/drawing/2014/main" id="{B0222302-4D1F-556F-DAD6-1B53985962D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For Agent Use Only. Not For Public Use.</a:t>
            </a:r>
          </a:p>
          <a:p>
            <a:endParaRPr lang="en-US"/>
          </a:p>
        </p:txBody>
      </p:sp>
      <p:sp>
        <p:nvSpPr>
          <p:cNvPr id="4" name="Slide Number Placeholder 3">
            <a:extLst>
              <a:ext uri="{FF2B5EF4-FFF2-40B4-BE49-F238E27FC236}">
                <a16:creationId xmlns:a16="http://schemas.microsoft.com/office/drawing/2014/main" id="{D8F21D6C-840B-FF11-280A-94C7A142111F}"/>
              </a:ext>
            </a:extLst>
          </p:cNvPr>
          <p:cNvSpPr>
            <a:spLocks noGrp="1"/>
          </p:cNvSpPr>
          <p:nvPr>
            <p:ph type="sldNum" sz="quarter" idx="5"/>
          </p:nvPr>
        </p:nvSpPr>
        <p:spPr/>
        <p:txBody>
          <a:bodyPr/>
          <a:lstStyle/>
          <a:p>
            <a:fld id="{7A43FB1B-E0F4-426A-B06A-F89B35785A4F}" type="slidenum">
              <a:rPr lang="nl-NL" smtClean="0"/>
              <a:pPr/>
              <a:t>37</a:t>
            </a:fld>
            <a:endParaRPr lang="nl-NL"/>
          </a:p>
        </p:txBody>
      </p:sp>
    </p:spTree>
    <p:extLst>
      <p:ext uri="{BB962C8B-B14F-4D97-AF65-F5344CB8AC3E}">
        <p14:creationId xmlns:p14="http://schemas.microsoft.com/office/powerpoint/2010/main" val="324366933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BFB0D7-B3F8-C0AC-D190-ECF4BB6432B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8D2438D-1A22-5C4C-9C07-3220B3072C2E}"/>
              </a:ext>
            </a:extLst>
          </p:cNvPr>
          <p:cNvSpPr>
            <a:spLocks noGrp="1" noRot="1" noChangeAspect="1"/>
          </p:cNvSpPr>
          <p:nvPr>
            <p:ph type="sldImg"/>
          </p:nvPr>
        </p:nvSpPr>
        <p:spPr>
          <a:xfrm>
            <a:off x="676275" y="642938"/>
            <a:ext cx="5408613" cy="3043237"/>
          </a:xfrm>
        </p:spPr>
      </p:sp>
      <p:sp>
        <p:nvSpPr>
          <p:cNvPr id="3" name="Notes Placeholder 2">
            <a:extLst>
              <a:ext uri="{FF2B5EF4-FFF2-40B4-BE49-F238E27FC236}">
                <a16:creationId xmlns:a16="http://schemas.microsoft.com/office/drawing/2014/main" id="{6299E911-0D7C-8D5A-49DB-9DD916CE821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For Agent Use Only. Not For Public Use.</a:t>
            </a:r>
          </a:p>
          <a:p>
            <a:endParaRPr lang="en-US"/>
          </a:p>
        </p:txBody>
      </p:sp>
      <p:sp>
        <p:nvSpPr>
          <p:cNvPr id="4" name="Slide Number Placeholder 3">
            <a:extLst>
              <a:ext uri="{FF2B5EF4-FFF2-40B4-BE49-F238E27FC236}">
                <a16:creationId xmlns:a16="http://schemas.microsoft.com/office/drawing/2014/main" id="{B1A1D14B-A54E-9AE6-43CF-D219C7EBCAB5}"/>
              </a:ext>
            </a:extLst>
          </p:cNvPr>
          <p:cNvSpPr>
            <a:spLocks noGrp="1"/>
          </p:cNvSpPr>
          <p:nvPr>
            <p:ph type="sldNum" sz="quarter" idx="5"/>
          </p:nvPr>
        </p:nvSpPr>
        <p:spPr/>
        <p:txBody>
          <a:bodyPr/>
          <a:lstStyle/>
          <a:p>
            <a:fld id="{7A43FB1B-E0F4-426A-B06A-F89B35785A4F}" type="slidenum">
              <a:rPr lang="nl-NL" smtClean="0"/>
              <a:pPr/>
              <a:t>38</a:t>
            </a:fld>
            <a:endParaRPr lang="nl-NL"/>
          </a:p>
        </p:txBody>
      </p:sp>
    </p:spTree>
    <p:extLst>
      <p:ext uri="{BB962C8B-B14F-4D97-AF65-F5344CB8AC3E}">
        <p14:creationId xmlns:p14="http://schemas.microsoft.com/office/powerpoint/2010/main" val="15691773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BD2730-9BBD-B8D5-BE87-71F5146DBA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8BC04E-E0C4-CE24-9C66-330A40B20E3F}"/>
              </a:ext>
            </a:extLst>
          </p:cNvPr>
          <p:cNvSpPr>
            <a:spLocks noGrp="1" noRot="1" noChangeAspect="1"/>
          </p:cNvSpPr>
          <p:nvPr>
            <p:ph type="sldImg"/>
          </p:nvPr>
        </p:nvSpPr>
        <p:spPr>
          <a:xfrm>
            <a:off x="676275" y="642938"/>
            <a:ext cx="5408613" cy="3043237"/>
          </a:xfrm>
        </p:spPr>
      </p:sp>
      <p:sp>
        <p:nvSpPr>
          <p:cNvPr id="3" name="Notes Placeholder 2">
            <a:extLst>
              <a:ext uri="{FF2B5EF4-FFF2-40B4-BE49-F238E27FC236}">
                <a16:creationId xmlns:a16="http://schemas.microsoft.com/office/drawing/2014/main" id="{BDB5F3C5-54BB-4C03-2326-92A586777F19}"/>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For Agent Use Only. Not For Public Use.</a:t>
            </a:r>
          </a:p>
          <a:p>
            <a:endParaRPr lang="en-US"/>
          </a:p>
        </p:txBody>
      </p:sp>
      <p:sp>
        <p:nvSpPr>
          <p:cNvPr id="4" name="Slide Number Placeholder 3">
            <a:extLst>
              <a:ext uri="{FF2B5EF4-FFF2-40B4-BE49-F238E27FC236}">
                <a16:creationId xmlns:a16="http://schemas.microsoft.com/office/drawing/2014/main" id="{59CDC01E-8F2F-BDAF-328A-14E87C28619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F191DC-94AC-4518-B47F-1EF478324A5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010519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BB1264-213D-5A82-3E1F-F3A0858873E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96AE2D0-257D-2883-EE42-EEFE966E8349}"/>
              </a:ext>
            </a:extLst>
          </p:cNvPr>
          <p:cNvSpPr>
            <a:spLocks noGrp="1" noRot="1" noChangeAspect="1"/>
          </p:cNvSpPr>
          <p:nvPr>
            <p:ph type="sldImg"/>
          </p:nvPr>
        </p:nvSpPr>
        <p:spPr>
          <a:xfrm>
            <a:off x="676275" y="642938"/>
            <a:ext cx="5408613" cy="3043237"/>
          </a:xfrm>
        </p:spPr>
      </p:sp>
      <p:sp>
        <p:nvSpPr>
          <p:cNvPr id="3" name="Notes Placeholder 2">
            <a:extLst>
              <a:ext uri="{FF2B5EF4-FFF2-40B4-BE49-F238E27FC236}">
                <a16:creationId xmlns:a16="http://schemas.microsoft.com/office/drawing/2014/main" id="{5DEAFBE2-9759-2074-B228-9DF95175279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For Agent Use Only. Not For Public Use.</a:t>
            </a:r>
          </a:p>
          <a:p>
            <a:endParaRPr lang="en-US"/>
          </a:p>
        </p:txBody>
      </p:sp>
      <p:sp>
        <p:nvSpPr>
          <p:cNvPr id="4" name="Slide Number Placeholder 3">
            <a:extLst>
              <a:ext uri="{FF2B5EF4-FFF2-40B4-BE49-F238E27FC236}">
                <a16:creationId xmlns:a16="http://schemas.microsoft.com/office/drawing/2014/main" id="{769A7260-585D-27BD-13E0-CDC8AE3DF0E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F191DC-94AC-4518-B47F-1EF478324A5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2093662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6275" y="642938"/>
            <a:ext cx="5408613" cy="3043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For Agent Use Only. Not For Public Use.</a:t>
            </a:r>
          </a:p>
          <a:p>
            <a:endParaRPr lang="en-US"/>
          </a:p>
        </p:txBody>
      </p:sp>
      <p:sp>
        <p:nvSpPr>
          <p:cNvPr id="4" name="Slide Number Placeholder 3"/>
          <p:cNvSpPr>
            <a:spLocks noGrp="1"/>
          </p:cNvSpPr>
          <p:nvPr>
            <p:ph type="sldNum" sz="quarter" idx="5"/>
          </p:nvPr>
        </p:nvSpPr>
        <p:spPr/>
        <p:txBody>
          <a:bodyPr/>
          <a:lstStyle/>
          <a:p>
            <a:fld id="{7A43FB1B-E0F4-426A-B06A-F89B35785A4F}" type="slidenum">
              <a:rPr lang="nl-NL" smtClean="0"/>
              <a:pPr/>
              <a:t>40</a:t>
            </a:fld>
            <a:endParaRPr lang="nl-NL"/>
          </a:p>
        </p:txBody>
      </p:sp>
    </p:spTree>
    <p:extLst>
      <p:ext uri="{BB962C8B-B14F-4D97-AF65-F5344CB8AC3E}">
        <p14:creationId xmlns:p14="http://schemas.microsoft.com/office/powerpoint/2010/main" val="132484876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6275" y="642938"/>
            <a:ext cx="5408613" cy="3043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For Agent Use Only. Not For Public Use.</a:t>
            </a:r>
          </a:p>
          <a:p>
            <a:endParaRPr lang="en-US"/>
          </a:p>
        </p:txBody>
      </p:sp>
      <p:sp>
        <p:nvSpPr>
          <p:cNvPr id="4" name="Slide Number Placeholder 3"/>
          <p:cNvSpPr>
            <a:spLocks noGrp="1"/>
          </p:cNvSpPr>
          <p:nvPr>
            <p:ph type="sldNum" sz="quarter" idx="5"/>
          </p:nvPr>
        </p:nvSpPr>
        <p:spPr/>
        <p:txBody>
          <a:bodyPr/>
          <a:lstStyle/>
          <a:p>
            <a:fld id="{7A43FB1B-E0F4-426A-B06A-F89B35785A4F}" type="slidenum">
              <a:rPr lang="nl-NL" smtClean="0"/>
              <a:pPr/>
              <a:t>41</a:t>
            </a:fld>
            <a:endParaRPr lang="nl-NL"/>
          </a:p>
        </p:txBody>
      </p:sp>
    </p:spTree>
    <p:extLst>
      <p:ext uri="{BB962C8B-B14F-4D97-AF65-F5344CB8AC3E}">
        <p14:creationId xmlns:p14="http://schemas.microsoft.com/office/powerpoint/2010/main" val="120199581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6275" y="642938"/>
            <a:ext cx="5408613" cy="3043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For Agent Use Only. Not For Public Use.</a:t>
            </a:r>
          </a:p>
          <a:p>
            <a:endParaRPr lang="en-US"/>
          </a:p>
        </p:txBody>
      </p:sp>
      <p:sp>
        <p:nvSpPr>
          <p:cNvPr id="4" name="Slide Number Placeholder 3"/>
          <p:cNvSpPr>
            <a:spLocks noGrp="1"/>
          </p:cNvSpPr>
          <p:nvPr>
            <p:ph type="sldNum" sz="quarter" idx="5"/>
          </p:nvPr>
        </p:nvSpPr>
        <p:spPr/>
        <p:txBody>
          <a:bodyPr/>
          <a:lstStyle/>
          <a:p>
            <a:fld id="{7A43FB1B-E0F4-426A-B06A-F89B35785A4F}" type="slidenum">
              <a:rPr lang="nl-NL" smtClean="0"/>
              <a:pPr/>
              <a:t>42</a:t>
            </a:fld>
            <a:endParaRPr lang="nl-NL"/>
          </a:p>
        </p:txBody>
      </p:sp>
    </p:spTree>
    <p:extLst>
      <p:ext uri="{BB962C8B-B14F-4D97-AF65-F5344CB8AC3E}">
        <p14:creationId xmlns:p14="http://schemas.microsoft.com/office/powerpoint/2010/main" val="156202583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6275" y="642938"/>
            <a:ext cx="5408613" cy="3043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For Agent Use Only. Not For Public Use.</a:t>
            </a:r>
          </a:p>
          <a:p>
            <a:endParaRPr lang="en-US"/>
          </a:p>
        </p:txBody>
      </p:sp>
      <p:sp>
        <p:nvSpPr>
          <p:cNvPr id="4" name="Slide Number Placeholder 3"/>
          <p:cNvSpPr>
            <a:spLocks noGrp="1"/>
          </p:cNvSpPr>
          <p:nvPr>
            <p:ph type="sldNum" sz="quarter" idx="5"/>
          </p:nvPr>
        </p:nvSpPr>
        <p:spPr/>
        <p:txBody>
          <a:bodyPr/>
          <a:lstStyle/>
          <a:p>
            <a:fld id="{7A43FB1B-E0F4-426A-B06A-F89B35785A4F}" type="slidenum">
              <a:rPr lang="nl-NL" smtClean="0"/>
              <a:pPr/>
              <a:t>43</a:t>
            </a:fld>
            <a:endParaRPr lang="nl-NL"/>
          </a:p>
        </p:txBody>
      </p:sp>
    </p:spTree>
    <p:extLst>
      <p:ext uri="{BB962C8B-B14F-4D97-AF65-F5344CB8AC3E}">
        <p14:creationId xmlns:p14="http://schemas.microsoft.com/office/powerpoint/2010/main" val="378099178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6275" y="642938"/>
            <a:ext cx="5408613" cy="3043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For Agent Use Only. Not For Public Use.</a:t>
            </a:r>
          </a:p>
          <a:p>
            <a:endParaRPr lang="en-US"/>
          </a:p>
        </p:txBody>
      </p:sp>
      <p:sp>
        <p:nvSpPr>
          <p:cNvPr id="4" name="Slide Number Placeholder 3"/>
          <p:cNvSpPr>
            <a:spLocks noGrp="1"/>
          </p:cNvSpPr>
          <p:nvPr>
            <p:ph type="sldNum" sz="quarter" idx="5"/>
          </p:nvPr>
        </p:nvSpPr>
        <p:spPr/>
        <p:txBody>
          <a:bodyPr/>
          <a:lstStyle/>
          <a:p>
            <a:fld id="{7A43FB1B-E0F4-426A-B06A-F89B35785A4F}" type="slidenum">
              <a:rPr lang="nl-NL" smtClean="0"/>
              <a:pPr/>
              <a:t>44</a:t>
            </a:fld>
            <a:endParaRPr lang="nl-NL"/>
          </a:p>
        </p:txBody>
      </p:sp>
    </p:spTree>
    <p:extLst>
      <p:ext uri="{BB962C8B-B14F-4D97-AF65-F5344CB8AC3E}">
        <p14:creationId xmlns:p14="http://schemas.microsoft.com/office/powerpoint/2010/main" val="78927858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92E8AB-258B-3439-C7AC-E015121CF4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A75A66-5F6B-9C47-CE56-78A175588803}"/>
              </a:ext>
            </a:extLst>
          </p:cNvPr>
          <p:cNvSpPr>
            <a:spLocks noGrp="1" noRot="1" noChangeAspect="1"/>
          </p:cNvSpPr>
          <p:nvPr>
            <p:ph type="sldImg"/>
          </p:nvPr>
        </p:nvSpPr>
        <p:spPr>
          <a:xfrm>
            <a:off x="676275" y="642938"/>
            <a:ext cx="5408613" cy="3043237"/>
          </a:xfrm>
        </p:spPr>
      </p:sp>
      <p:sp>
        <p:nvSpPr>
          <p:cNvPr id="3" name="Notes Placeholder 2">
            <a:extLst>
              <a:ext uri="{FF2B5EF4-FFF2-40B4-BE49-F238E27FC236}">
                <a16:creationId xmlns:a16="http://schemas.microsoft.com/office/drawing/2014/main" id="{F66FA479-8CA0-D89E-90BF-D8405904FE09}"/>
              </a:ext>
            </a:extLst>
          </p:cNvPr>
          <p:cNvSpPr>
            <a:spLocks noGrp="1"/>
          </p:cNvSpPr>
          <p:nvPr>
            <p:ph type="body" idx="1"/>
          </p:nvPr>
        </p:nvSpPr>
        <p:spPr/>
        <p:txBody>
          <a:bodyPr/>
          <a:lstStyle/>
          <a:p>
            <a:r>
              <a:rPr lang="en-US"/>
              <a:t>Click anywhere on the image to open the self-guided demonstration tool. </a:t>
            </a:r>
          </a:p>
        </p:txBody>
      </p:sp>
      <p:sp>
        <p:nvSpPr>
          <p:cNvPr id="4" name="Slide Number Placeholder 3">
            <a:extLst>
              <a:ext uri="{FF2B5EF4-FFF2-40B4-BE49-F238E27FC236}">
                <a16:creationId xmlns:a16="http://schemas.microsoft.com/office/drawing/2014/main" id="{7123A283-6CB3-580B-7055-6ED7A670B53B}"/>
              </a:ext>
            </a:extLst>
          </p:cNvPr>
          <p:cNvSpPr>
            <a:spLocks noGrp="1"/>
          </p:cNvSpPr>
          <p:nvPr>
            <p:ph type="sldNum" sz="quarter" idx="5"/>
          </p:nvPr>
        </p:nvSpPr>
        <p:spPr/>
        <p:txBody>
          <a:bodyPr/>
          <a:lstStyle/>
          <a:p>
            <a:fld id="{3D91003E-6009-4F09-8B2F-9E091D33BD13}" type="slidenum">
              <a:rPr lang="en-US" smtClean="0"/>
              <a:t>45</a:t>
            </a:fld>
            <a:endParaRPr lang="en-US"/>
          </a:p>
        </p:txBody>
      </p:sp>
    </p:spTree>
    <p:extLst>
      <p:ext uri="{BB962C8B-B14F-4D97-AF65-F5344CB8AC3E}">
        <p14:creationId xmlns:p14="http://schemas.microsoft.com/office/powerpoint/2010/main" val="348866687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6275" y="642938"/>
            <a:ext cx="5408613" cy="3043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For Agent Use Only. Not For Public Use.</a:t>
            </a:r>
          </a:p>
          <a:p>
            <a:endParaRPr lang="en-US"/>
          </a:p>
        </p:txBody>
      </p:sp>
      <p:sp>
        <p:nvSpPr>
          <p:cNvPr id="4" name="Slide Number Placeholder 3"/>
          <p:cNvSpPr>
            <a:spLocks noGrp="1"/>
          </p:cNvSpPr>
          <p:nvPr>
            <p:ph type="sldNum" sz="quarter" idx="5"/>
          </p:nvPr>
        </p:nvSpPr>
        <p:spPr/>
        <p:txBody>
          <a:bodyPr/>
          <a:lstStyle/>
          <a:p>
            <a:fld id="{7A43FB1B-E0F4-426A-B06A-F89B35785A4F}" type="slidenum">
              <a:rPr lang="nl-NL" smtClean="0"/>
              <a:t>46</a:t>
            </a:fld>
            <a:endParaRPr lang="nl-NL"/>
          </a:p>
        </p:txBody>
      </p:sp>
    </p:spTree>
    <p:extLst>
      <p:ext uri="{BB962C8B-B14F-4D97-AF65-F5344CB8AC3E}">
        <p14:creationId xmlns:p14="http://schemas.microsoft.com/office/powerpoint/2010/main" val="39187536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CB5A6D-A67C-9ED7-332E-401971B597C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9E8C89A-8D33-EB0D-257F-984AEC78A894}"/>
              </a:ext>
            </a:extLst>
          </p:cNvPr>
          <p:cNvSpPr>
            <a:spLocks noGrp="1" noRot="1" noChangeAspect="1"/>
          </p:cNvSpPr>
          <p:nvPr>
            <p:ph type="sldImg"/>
          </p:nvPr>
        </p:nvSpPr>
        <p:spPr>
          <a:xfrm>
            <a:off x="676275" y="642938"/>
            <a:ext cx="5408613" cy="3043237"/>
          </a:xfrm>
        </p:spPr>
      </p:sp>
      <p:sp>
        <p:nvSpPr>
          <p:cNvPr id="3" name="Notes Placeholder 2">
            <a:extLst>
              <a:ext uri="{FF2B5EF4-FFF2-40B4-BE49-F238E27FC236}">
                <a16:creationId xmlns:a16="http://schemas.microsoft.com/office/drawing/2014/main" id="{63B2F922-30A0-90CB-6D0A-4BB856E822DB}"/>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Agent Use Only. Not for public use.</a:t>
            </a:r>
          </a:p>
          <a:p>
            <a:endParaRPr lang="en-US" dirty="0"/>
          </a:p>
        </p:txBody>
      </p:sp>
      <p:sp>
        <p:nvSpPr>
          <p:cNvPr id="4" name="Slide Number Placeholder 3">
            <a:extLst>
              <a:ext uri="{FF2B5EF4-FFF2-40B4-BE49-F238E27FC236}">
                <a16:creationId xmlns:a16="http://schemas.microsoft.com/office/drawing/2014/main" id="{16E24F17-5626-CFDB-7917-107D23DE3B32}"/>
              </a:ext>
            </a:extLst>
          </p:cNvPr>
          <p:cNvSpPr>
            <a:spLocks noGrp="1"/>
          </p:cNvSpPr>
          <p:nvPr>
            <p:ph type="sldNum" sz="quarter" idx="5"/>
          </p:nvPr>
        </p:nvSpPr>
        <p:spPr/>
        <p:txBody>
          <a:bodyPr/>
          <a:lstStyle/>
          <a:p>
            <a:fld id="{7A43FB1B-E0F4-426A-B06A-F89B35785A4F}" type="slidenum">
              <a:rPr lang="nl-NL" smtClean="0"/>
              <a:pPr/>
              <a:t>5</a:t>
            </a:fld>
            <a:endParaRPr lang="nl-NL"/>
          </a:p>
        </p:txBody>
      </p:sp>
    </p:spTree>
    <p:extLst>
      <p:ext uri="{BB962C8B-B14F-4D97-AF65-F5344CB8AC3E}">
        <p14:creationId xmlns:p14="http://schemas.microsoft.com/office/powerpoint/2010/main" val="32902238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230FB3-8782-3F09-BCCC-757A273317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76C7383-B61B-3F12-EDD4-523C34BB7A17}"/>
              </a:ext>
            </a:extLst>
          </p:cNvPr>
          <p:cNvSpPr>
            <a:spLocks noGrp="1" noRot="1" noChangeAspect="1"/>
          </p:cNvSpPr>
          <p:nvPr>
            <p:ph type="sldImg"/>
          </p:nvPr>
        </p:nvSpPr>
        <p:spPr>
          <a:xfrm>
            <a:off x="676275" y="642938"/>
            <a:ext cx="5408613" cy="3043237"/>
          </a:xfrm>
        </p:spPr>
      </p:sp>
      <p:sp>
        <p:nvSpPr>
          <p:cNvPr id="3" name="Notes Placeholder 2">
            <a:extLst>
              <a:ext uri="{FF2B5EF4-FFF2-40B4-BE49-F238E27FC236}">
                <a16:creationId xmlns:a16="http://schemas.microsoft.com/office/drawing/2014/main" id="{A7C18B8A-27E0-F3D1-50B5-FC1FD7DB674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For Agent Use Only. Not For Public Use.</a:t>
            </a:r>
          </a:p>
          <a:p>
            <a:endParaRPr lang="en-US"/>
          </a:p>
        </p:txBody>
      </p:sp>
      <p:sp>
        <p:nvSpPr>
          <p:cNvPr id="4" name="Slide Number Placeholder 3">
            <a:extLst>
              <a:ext uri="{FF2B5EF4-FFF2-40B4-BE49-F238E27FC236}">
                <a16:creationId xmlns:a16="http://schemas.microsoft.com/office/drawing/2014/main" id="{9C0E880B-3DE4-62AA-B465-7BB5FA0D0DB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F191DC-94AC-4518-B47F-1EF478324A5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141802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6275" y="642938"/>
            <a:ext cx="5408613" cy="3043237"/>
          </a:xfrm>
        </p:spPr>
      </p:sp>
      <p:sp>
        <p:nvSpPr>
          <p:cNvPr id="3" name="Notes Placeholder 2"/>
          <p:cNvSpPr>
            <a:spLocks noGrp="1"/>
          </p:cNvSpPr>
          <p:nvPr>
            <p:ph type="body" idx="1"/>
          </p:nvPr>
        </p:nvSpPr>
        <p:spPr/>
        <p:txBody>
          <a:bodyPr/>
          <a:lstStyle/>
          <a:p>
            <a:pPr marL="0" marR="0">
              <a:lnSpc>
                <a:spcPct val="115000"/>
              </a:lnSpc>
              <a:spcAft>
                <a:spcPts val="800"/>
              </a:spcAft>
            </a:pPr>
            <a:r>
              <a:rPr lang="en-US" sz="1200" b="0" kern="100">
                <a:effectLst/>
                <a:latin typeface="Aptos" panose="020B0004020202020204" pitchFamily="34" charset="0"/>
                <a:ea typeface="Aptos" panose="020B0004020202020204" pitchFamily="34" charset="0"/>
                <a:cs typeface="Times New Roman" panose="02020603050405020304" pitchFamily="18" charset="0"/>
              </a:rPr>
              <a:t>All third-party payors, including those outside of the owner or the insured, must adhere to the PIN-to-Sign signature process for payor forms, regardless of the method of interaction with the payor, whether virtual or in-person. </a:t>
            </a:r>
          </a:p>
          <a:p>
            <a:pPr marL="0" marR="0">
              <a:lnSpc>
                <a:spcPct val="115000"/>
              </a:lnSpc>
              <a:spcAft>
                <a:spcPts val="800"/>
              </a:spcAft>
            </a:pPr>
            <a:endParaRPr lang="en-US" sz="1200" b="0" kern="10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800"/>
              </a:spcAft>
            </a:pPr>
            <a:r>
              <a:rPr lang="en-US" sz="1200" b="0" kern="100">
                <a:effectLst/>
                <a:latin typeface="Aptos" panose="020B0004020202020204" pitchFamily="34" charset="0"/>
                <a:ea typeface="Aptos" panose="020B0004020202020204" pitchFamily="34" charset="0"/>
                <a:cs typeface="Times New Roman" panose="02020603050405020304" pitchFamily="18" charset="0"/>
              </a:rPr>
              <a:t>After setting up the payment schedule, to add a third-party payor to the application, select “someone else” and then click “Start”. </a:t>
            </a:r>
          </a:p>
          <a:p>
            <a:endParaRPr lang="en-US"/>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For Agent Use Only. Not For Public Use.</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A7E1D8-02A3-429E-8929-B484648AB22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111486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C06D8F-4709-7530-7F91-9293FABBDD9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FF361E3-23F9-7116-4F9D-6AC2E6CD406D}"/>
              </a:ext>
            </a:extLst>
          </p:cNvPr>
          <p:cNvSpPr>
            <a:spLocks noGrp="1" noRot="1" noChangeAspect="1"/>
          </p:cNvSpPr>
          <p:nvPr>
            <p:ph type="sldImg"/>
          </p:nvPr>
        </p:nvSpPr>
        <p:spPr>
          <a:xfrm>
            <a:off x="676275" y="642938"/>
            <a:ext cx="5408613" cy="3043237"/>
          </a:xfrm>
        </p:spPr>
      </p:sp>
      <p:sp>
        <p:nvSpPr>
          <p:cNvPr id="3" name="Notes Placeholder 2">
            <a:extLst>
              <a:ext uri="{FF2B5EF4-FFF2-40B4-BE49-F238E27FC236}">
                <a16:creationId xmlns:a16="http://schemas.microsoft.com/office/drawing/2014/main" id="{FEB9F4C1-0D56-3441-4B26-2E0DACEF8C1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he 3rd-party payor questionnaire will populate in a secondary window for completion.</a:t>
            </a:r>
          </a:p>
          <a:p>
            <a:endParaRPr lang="en-US"/>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For Agent Use Only. Not For Public Use.</a:t>
            </a:r>
          </a:p>
          <a:p>
            <a:endParaRPr lang="en-US"/>
          </a:p>
        </p:txBody>
      </p:sp>
      <p:sp>
        <p:nvSpPr>
          <p:cNvPr id="4" name="Slide Number Placeholder 3">
            <a:extLst>
              <a:ext uri="{FF2B5EF4-FFF2-40B4-BE49-F238E27FC236}">
                <a16:creationId xmlns:a16="http://schemas.microsoft.com/office/drawing/2014/main" id="{13C337ED-659D-D5BB-04C9-3E04A69CCFF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A7E1D8-02A3-429E-8929-B484648AB22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718732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6275" y="642938"/>
            <a:ext cx="5408613" cy="3043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00">
                <a:effectLst/>
                <a:latin typeface="Aptos" panose="020B0004020202020204" pitchFamily="34" charset="0"/>
                <a:ea typeface="Aptos" panose="020B0004020202020204" pitchFamily="34" charset="0"/>
                <a:cs typeface="Times New Roman" panose="02020603050405020304" pitchFamily="18" charset="0"/>
              </a:rPr>
              <a:t>Next, you’ll be asked to specify how you are interacting with the third-party payor, then fill out the remaining ques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100">
              <a:effectLst/>
              <a:latin typeface="Aptos" panose="020B0004020202020204" pitchFamily="34" charset="0"/>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00">
                <a:effectLst/>
                <a:latin typeface="Aptos" panose="020B0004020202020204" pitchFamily="34" charset="0"/>
                <a:ea typeface="Aptos" panose="020B0004020202020204" pitchFamily="34" charset="0"/>
                <a:cs typeface="Times New Roman" panose="02020603050405020304" pitchFamily="18" charset="0"/>
              </a:rPr>
              <a:t>Please note: </a:t>
            </a:r>
            <a:r>
              <a:rPr lang="en-US" sz="1200" b="0" kern="100">
                <a:effectLst/>
                <a:latin typeface="Aptos" panose="020B0004020202020204" pitchFamily="34" charset="0"/>
                <a:ea typeface="Aptos" panose="020B0004020202020204" pitchFamily="34" charset="0"/>
                <a:cs typeface="Times New Roman" panose="02020603050405020304" pitchFamily="18" charset="0"/>
              </a:rPr>
              <a:t>This question does not reflect the signature process that the third-party payor is required to follow. All third-party payors, including those outside of the owner or insured, must adhere to the PIN-to-Sign signature process for the payor forms.</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For Agent Use Only. Not For Public Use.</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A7E1D8-02A3-429E-8929-B484648AB22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914688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14.xml"/><Relationship Id="rId4" Type="http://schemas.openxmlformats.org/officeDocument/2006/relationships/image" Target="../media/image8.emf"/></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9.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10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4.bin"/><Relationship Id="rId7" Type="http://schemas.openxmlformats.org/officeDocument/2006/relationships/image" Target="../media/image5.png"/><Relationship Id="rId2" Type="http://schemas.openxmlformats.org/officeDocument/2006/relationships/slideMaster" Target="../slideMasters/slideMaster9.xml"/><Relationship Id="rId1" Type="http://schemas.openxmlformats.org/officeDocument/2006/relationships/tags" Target="../tags/tag90.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8.emf"/><Relationship Id="rId9" Type="http://schemas.openxmlformats.org/officeDocument/2006/relationships/image" Target="../media/image7.png"/></Relationships>
</file>

<file path=ppt/slideLayouts/_rels/slideLayout10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7.bin"/><Relationship Id="rId7" Type="http://schemas.openxmlformats.org/officeDocument/2006/relationships/image" Target="../media/image5.png"/><Relationship Id="rId2" Type="http://schemas.openxmlformats.org/officeDocument/2006/relationships/slideMaster" Target="../slideMasters/slideMaster9.xml"/><Relationship Id="rId1" Type="http://schemas.openxmlformats.org/officeDocument/2006/relationships/tags" Target="../tags/tag91.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8.emf"/><Relationship Id="rId9" Type="http://schemas.openxmlformats.org/officeDocument/2006/relationships/image" Target="../media/image7.pn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9.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7.png"/><Relationship Id="rId2" Type="http://schemas.openxmlformats.org/officeDocument/2006/relationships/slideMaster" Target="../slideMasters/slideMaster9.xml"/><Relationship Id="rId1" Type="http://schemas.openxmlformats.org/officeDocument/2006/relationships/tags" Target="../tags/tag9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8.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7.png"/><Relationship Id="rId2" Type="http://schemas.openxmlformats.org/officeDocument/2006/relationships/slideMaster" Target="../slideMasters/slideMaster9.xml"/><Relationship Id="rId1" Type="http://schemas.openxmlformats.org/officeDocument/2006/relationships/tags" Target="../tags/tag93.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8.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7.png"/><Relationship Id="rId2" Type="http://schemas.openxmlformats.org/officeDocument/2006/relationships/slideMaster" Target="../slideMasters/slideMaster9.xml"/><Relationship Id="rId1" Type="http://schemas.openxmlformats.org/officeDocument/2006/relationships/tags" Target="../tags/tag94.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8.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7.png"/><Relationship Id="rId2" Type="http://schemas.openxmlformats.org/officeDocument/2006/relationships/slideMaster" Target="../slideMasters/slideMaster9.xml"/><Relationship Id="rId1" Type="http://schemas.openxmlformats.org/officeDocument/2006/relationships/tags" Target="../tags/tag95.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8.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7.png"/><Relationship Id="rId2" Type="http://schemas.openxmlformats.org/officeDocument/2006/relationships/slideMaster" Target="../slideMasters/slideMaster9.xml"/><Relationship Id="rId1" Type="http://schemas.openxmlformats.org/officeDocument/2006/relationships/tags" Target="../tags/tag96.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8.emf"/></Relationships>
</file>

<file path=ppt/slideLayouts/_rels/slideLayout10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4.bin"/><Relationship Id="rId7" Type="http://schemas.openxmlformats.org/officeDocument/2006/relationships/image" Target="../media/image5.png"/><Relationship Id="rId2" Type="http://schemas.openxmlformats.org/officeDocument/2006/relationships/slideMaster" Target="../slideMasters/slideMaster9.xml"/><Relationship Id="rId1" Type="http://schemas.openxmlformats.org/officeDocument/2006/relationships/tags" Target="../tags/tag97.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8.emf"/><Relationship Id="rId9" Type="http://schemas.openxmlformats.org/officeDocument/2006/relationships/image" Target="../media/image7.png"/></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15.xml"/><Relationship Id="rId4" Type="http://schemas.openxmlformats.org/officeDocument/2006/relationships/image" Target="../media/image8.emf"/></Relationships>
</file>

<file path=ppt/slideLayouts/_rels/slideLayout11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4.bin"/><Relationship Id="rId7" Type="http://schemas.openxmlformats.org/officeDocument/2006/relationships/image" Target="../media/image5.png"/><Relationship Id="rId2" Type="http://schemas.openxmlformats.org/officeDocument/2006/relationships/slideMaster" Target="../slideMasters/slideMaster9.xml"/><Relationship Id="rId1" Type="http://schemas.openxmlformats.org/officeDocument/2006/relationships/tags" Target="../tags/tag98.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8.emf"/><Relationship Id="rId9" Type="http://schemas.openxmlformats.org/officeDocument/2006/relationships/image" Target="../media/image7.png"/></Relationships>
</file>

<file path=ppt/slideLayouts/_rels/slideLayout11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4.bin"/><Relationship Id="rId7" Type="http://schemas.openxmlformats.org/officeDocument/2006/relationships/image" Target="../media/image5.png"/><Relationship Id="rId2" Type="http://schemas.openxmlformats.org/officeDocument/2006/relationships/slideMaster" Target="../slideMasters/slideMaster9.xml"/><Relationship Id="rId1" Type="http://schemas.openxmlformats.org/officeDocument/2006/relationships/tags" Target="../tags/tag99.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8.emf"/><Relationship Id="rId9" Type="http://schemas.openxmlformats.org/officeDocument/2006/relationships/image" Target="../media/image7.png"/></Relationships>
</file>

<file path=ppt/slideLayouts/_rels/slideLayout11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4.bin"/><Relationship Id="rId7" Type="http://schemas.openxmlformats.org/officeDocument/2006/relationships/image" Target="../media/image5.png"/><Relationship Id="rId2" Type="http://schemas.openxmlformats.org/officeDocument/2006/relationships/slideMaster" Target="../slideMasters/slideMaster9.xml"/><Relationship Id="rId1" Type="http://schemas.openxmlformats.org/officeDocument/2006/relationships/tags" Target="../tags/tag100.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8.emf"/><Relationship Id="rId9" Type="http://schemas.openxmlformats.org/officeDocument/2006/relationships/image" Target="../media/image7.png"/></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9.xml"/><Relationship Id="rId1" Type="http://schemas.openxmlformats.org/officeDocument/2006/relationships/tags" Target="../tags/tag101.xml"/><Relationship Id="rId4" Type="http://schemas.openxmlformats.org/officeDocument/2006/relationships/image" Target="../media/image8.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9.xml"/><Relationship Id="rId1" Type="http://schemas.openxmlformats.org/officeDocument/2006/relationships/tags" Target="../tags/tag102.xml"/><Relationship Id="rId4" Type="http://schemas.openxmlformats.org/officeDocument/2006/relationships/image" Target="../media/image8.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9.xml"/><Relationship Id="rId1" Type="http://schemas.openxmlformats.org/officeDocument/2006/relationships/tags" Target="../tags/tag103.xml"/><Relationship Id="rId4" Type="http://schemas.openxmlformats.org/officeDocument/2006/relationships/image" Target="../media/image8.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9.xml"/><Relationship Id="rId1" Type="http://schemas.openxmlformats.org/officeDocument/2006/relationships/tags" Target="../tags/tag104.xml"/><Relationship Id="rId4" Type="http://schemas.openxmlformats.org/officeDocument/2006/relationships/image" Target="../media/image8.emf"/></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6.xml"/><Relationship Id="rId1" Type="http://schemas.openxmlformats.org/officeDocument/2006/relationships/tags" Target="../tags/tag105.xml"/><Relationship Id="rId5" Type="http://schemas.openxmlformats.org/officeDocument/2006/relationships/image" Target="../media/image8.emf"/><Relationship Id="rId4" Type="http://schemas.openxmlformats.org/officeDocument/2006/relationships/oleObject" Target="../embeddings/oleObject4.bin"/></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16.xml"/><Relationship Id="rId4" Type="http://schemas.openxmlformats.org/officeDocument/2006/relationships/image" Target="../media/image8.emf"/></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9.xml"/><Relationship Id="rId1" Type="http://schemas.openxmlformats.org/officeDocument/2006/relationships/tags" Target="../tags/tag107.xml"/><Relationship Id="rId4" Type="http://schemas.openxmlformats.org/officeDocument/2006/relationships/image" Target="../media/image8.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9.xml"/><Relationship Id="rId1" Type="http://schemas.openxmlformats.org/officeDocument/2006/relationships/tags" Target="../tags/tag108.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8.emf"/></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9.xml"/><Relationship Id="rId1" Type="http://schemas.openxmlformats.org/officeDocument/2006/relationships/tags" Target="../tags/tag109.xml"/><Relationship Id="rId4" Type="http://schemas.openxmlformats.org/officeDocument/2006/relationships/image" Target="../media/image8.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17.xml"/><Relationship Id="rId4" Type="http://schemas.openxmlformats.org/officeDocument/2006/relationships/image" Target="../media/image8.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18.xml"/><Relationship Id="rId4" Type="http://schemas.openxmlformats.org/officeDocument/2006/relationships/image" Target="../media/image8.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19.xml"/><Relationship Id="rId4" Type="http://schemas.openxmlformats.org/officeDocument/2006/relationships/image" Target="../media/image8.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20.xml"/><Relationship Id="rId4" Type="http://schemas.openxmlformats.org/officeDocument/2006/relationships/image" Target="../media/image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21.xml"/><Relationship Id="rId4" Type="http://schemas.openxmlformats.org/officeDocument/2006/relationships/image" Target="../media/image8.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22.xml"/><Relationship Id="rId4" Type="http://schemas.openxmlformats.org/officeDocument/2006/relationships/image" Target="../media/image8.emf"/></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8.emf"/><Relationship Id="rId4" Type="http://schemas.openxmlformats.org/officeDocument/2006/relationships/oleObject" Target="../embeddings/oleObject4.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25.xml"/><Relationship Id="rId4" Type="http://schemas.openxmlformats.org/officeDocument/2006/relationships/image" Target="../media/image8.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26.xml"/><Relationship Id="rId4" Type="http://schemas.openxmlformats.org/officeDocument/2006/relationships/image" Target="../media/image8.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27.xml"/><Relationship Id="rId4" Type="http://schemas.openxmlformats.org/officeDocument/2006/relationships/image" Target="../media/image8.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28.xml"/><Relationship Id="rId4" Type="http://schemas.openxmlformats.org/officeDocument/2006/relationships/image" Target="../media/image8.emf"/></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4.bin"/><Relationship Id="rId7" Type="http://schemas.openxmlformats.org/officeDocument/2006/relationships/image" Target="../media/image5.png"/><Relationship Id="rId2" Type="http://schemas.openxmlformats.org/officeDocument/2006/relationships/slideMaster" Target="../slideMasters/slideMaster4.xml"/><Relationship Id="rId1" Type="http://schemas.openxmlformats.org/officeDocument/2006/relationships/tags" Target="../tags/tag29.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8.emf"/><Relationship Id="rId9" Type="http://schemas.openxmlformats.org/officeDocument/2006/relationships/image" Target="../media/image7.png"/></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4.bin"/><Relationship Id="rId7" Type="http://schemas.openxmlformats.org/officeDocument/2006/relationships/image" Target="../media/image5.png"/><Relationship Id="rId2" Type="http://schemas.openxmlformats.org/officeDocument/2006/relationships/slideMaster" Target="../slideMasters/slideMaster4.xml"/><Relationship Id="rId1" Type="http://schemas.openxmlformats.org/officeDocument/2006/relationships/tags" Target="../tags/tag30.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8.emf"/><Relationship Id="rId9" Type="http://schemas.openxmlformats.org/officeDocument/2006/relationships/image" Target="../media/image7.png"/></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31.xml"/><Relationship Id="rId4" Type="http://schemas.openxmlformats.org/officeDocument/2006/relationships/image" Target="../media/image8.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32.xml"/><Relationship Id="rId4" Type="http://schemas.openxmlformats.org/officeDocument/2006/relationships/image" Target="../media/image8.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33.xml"/><Relationship Id="rId4" Type="http://schemas.openxmlformats.org/officeDocument/2006/relationships/image" Target="../media/image8.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34.xml"/><Relationship Id="rId4" Type="http://schemas.openxmlformats.org/officeDocument/2006/relationships/image" Target="../media/image8.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3.bin"/><Relationship Id="rId7"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6.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emf"/><Relationship Id="rId9" Type="http://schemas.openxmlformats.org/officeDocument/2006/relationships/image" Target="../media/image7.pn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8.emf"/><Relationship Id="rId4" Type="http://schemas.openxmlformats.org/officeDocument/2006/relationships/oleObject" Target="../embeddings/oleObject4.bin"/></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37.xml"/><Relationship Id="rId4" Type="http://schemas.openxmlformats.org/officeDocument/2006/relationships/image" Target="../media/image8.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5.xml"/><Relationship Id="rId1" Type="http://schemas.openxmlformats.org/officeDocument/2006/relationships/tags" Target="../tags/tag39.xml"/><Relationship Id="rId4" Type="http://schemas.openxmlformats.org/officeDocument/2006/relationships/image" Target="../media/image8.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5.xml"/><Relationship Id="rId1" Type="http://schemas.openxmlformats.org/officeDocument/2006/relationships/tags" Target="../tags/tag40.xml"/><Relationship Id="rId4" Type="http://schemas.openxmlformats.org/officeDocument/2006/relationships/image" Target="../media/image8.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5.xml"/><Relationship Id="rId1" Type="http://schemas.openxmlformats.org/officeDocument/2006/relationships/tags" Target="../tags/tag41.xml"/><Relationship Id="rId4" Type="http://schemas.openxmlformats.org/officeDocument/2006/relationships/image" Target="../media/image8.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5.xml"/><Relationship Id="rId1" Type="http://schemas.openxmlformats.org/officeDocument/2006/relationships/tags" Target="../tags/tag42.xml"/><Relationship Id="rId4" Type="http://schemas.openxmlformats.org/officeDocument/2006/relationships/image" Target="../media/image8.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5.xml"/><Relationship Id="rId1" Type="http://schemas.openxmlformats.org/officeDocument/2006/relationships/tags" Target="../tags/tag43.xml"/><Relationship Id="rId4" Type="http://schemas.openxmlformats.org/officeDocument/2006/relationships/image" Target="../media/image8.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6.xml"/><Relationship Id="rId1" Type="http://schemas.openxmlformats.org/officeDocument/2006/relationships/tags" Target="../tags/tag45.xml"/><Relationship Id="rId4" Type="http://schemas.openxmlformats.org/officeDocument/2006/relationships/image" Target="../media/image8.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46.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7.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13.png"/><Relationship Id="rId2" Type="http://schemas.openxmlformats.org/officeDocument/2006/relationships/slideMaster" Target="../slideMasters/slideMaster7.xml"/><Relationship Id="rId1" Type="http://schemas.openxmlformats.org/officeDocument/2006/relationships/tags" Target="../tags/tag48.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8.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7.xml"/><Relationship Id="rId1" Type="http://schemas.openxmlformats.org/officeDocument/2006/relationships/tags" Target="../tags/tag49.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8.emf"/></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oleObject" Target="../embeddings/oleObject4.bin"/><Relationship Id="rId7" Type="http://schemas.openxmlformats.org/officeDocument/2006/relationships/image" Target="../media/image18.png"/><Relationship Id="rId12" Type="http://schemas.openxmlformats.org/officeDocument/2006/relationships/image" Target="../media/image23.png"/><Relationship Id="rId2" Type="http://schemas.openxmlformats.org/officeDocument/2006/relationships/slideMaster" Target="../slideMasters/slideMaster7.xml"/><Relationship Id="rId1" Type="http://schemas.openxmlformats.org/officeDocument/2006/relationships/tags" Target="../tags/tag50.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8.emf"/><Relationship Id="rId9" Type="http://schemas.openxmlformats.org/officeDocument/2006/relationships/image" Target="../media/image20.png"/></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oleObject" Target="../embeddings/oleObject4.bin"/><Relationship Id="rId7" Type="http://schemas.openxmlformats.org/officeDocument/2006/relationships/image" Target="../media/image18.png"/><Relationship Id="rId2" Type="http://schemas.openxmlformats.org/officeDocument/2006/relationships/slideMaster" Target="../slideMasters/slideMaster7.xml"/><Relationship Id="rId1" Type="http://schemas.openxmlformats.org/officeDocument/2006/relationships/tags" Target="../tags/tag51.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8.emf"/><Relationship Id="rId9" Type="http://schemas.openxmlformats.org/officeDocument/2006/relationships/image" Target="../media/image27.png"/></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7.xml"/><Relationship Id="rId1" Type="http://schemas.openxmlformats.org/officeDocument/2006/relationships/tags" Target="../tags/tag52.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8.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7.xml"/><Relationship Id="rId1" Type="http://schemas.openxmlformats.org/officeDocument/2006/relationships/tags" Target="../tags/tag53.xml"/><Relationship Id="rId5" Type="http://schemas.openxmlformats.org/officeDocument/2006/relationships/image" Target="../media/image30.png"/><Relationship Id="rId4" Type="http://schemas.openxmlformats.org/officeDocument/2006/relationships/image" Target="../media/image8.emf"/></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slideMaster" Target="../slideMasters/slideMaster7.xml"/><Relationship Id="rId1" Type="http://schemas.openxmlformats.org/officeDocument/2006/relationships/tags" Target="../tags/tag54.xml"/><Relationship Id="rId5" Type="http://schemas.openxmlformats.org/officeDocument/2006/relationships/image" Target="../media/image8.emf"/><Relationship Id="rId4" Type="http://schemas.openxmlformats.org/officeDocument/2006/relationships/oleObject" Target="../embeddings/oleObject4.bin"/></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7.xml"/><Relationship Id="rId1" Type="http://schemas.openxmlformats.org/officeDocument/2006/relationships/tags" Target="../tags/tag55.xml"/><Relationship Id="rId5" Type="http://schemas.openxmlformats.org/officeDocument/2006/relationships/image" Target="../media/image32.png"/><Relationship Id="rId4" Type="http://schemas.openxmlformats.org/officeDocument/2006/relationships/image" Target="../media/image8.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7.xml"/><Relationship Id="rId1" Type="http://schemas.openxmlformats.org/officeDocument/2006/relationships/tags" Target="../tags/tag56.xml"/><Relationship Id="rId4" Type="http://schemas.openxmlformats.org/officeDocument/2006/relationships/image" Target="../media/image8.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7.xml"/><Relationship Id="rId1" Type="http://schemas.openxmlformats.org/officeDocument/2006/relationships/tags" Target="../tags/tag57.xml"/><Relationship Id="rId6" Type="http://schemas.openxmlformats.org/officeDocument/2006/relationships/image" Target="../media/image12.png"/><Relationship Id="rId5" Type="http://schemas.openxmlformats.org/officeDocument/2006/relationships/hyperlink" Target="https://fonts.google.com/icons" TargetMode="External"/><Relationship Id="rId4" Type="http://schemas.openxmlformats.org/officeDocument/2006/relationships/image" Target="../media/image8.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10.xml"/><Relationship Id="rId4" Type="http://schemas.openxmlformats.org/officeDocument/2006/relationships/image" Target="../media/image8.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8.xml"/><Relationship Id="rId1" Type="http://schemas.openxmlformats.org/officeDocument/2006/relationships/tags" Target="../tags/tag58.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8.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9.xml"/><Relationship Id="rId1" Type="http://schemas.openxmlformats.org/officeDocument/2006/relationships/tags" Target="../tags/tag60.xml"/><Relationship Id="rId4" Type="http://schemas.openxmlformats.org/officeDocument/2006/relationships/image" Target="../media/image8.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9.xml"/><Relationship Id="rId1" Type="http://schemas.openxmlformats.org/officeDocument/2006/relationships/tags" Target="../tags/tag61.xml"/><Relationship Id="rId4" Type="http://schemas.openxmlformats.org/officeDocument/2006/relationships/image" Target="../media/image8.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9.xml"/><Relationship Id="rId1" Type="http://schemas.openxmlformats.org/officeDocument/2006/relationships/tags" Target="../tags/tag62.xml"/><Relationship Id="rId4" Type="http://schemas.openxmlformats.org/officeDocument/2006/relationships/image" Target="../media/image8.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9.xml"/><Relationship Id="rId1" Type="http://schemas.openxmlformats.org/officeDocument/2006/relationships/tags" Target="../tags/tag63.xml"/><Relationship Id="rId4" Type="http://schemas.openxmlformats.org/officeDocument/2006/relationships/image" Target="../media/image8.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9.xml"/><Relationship Id="rId1" Type="http://schemas.openxmlformats.org/officeDocument/2006/relationships/tags" Target="../tags/tag64.xml"/><Relationship Id="rId4" Type="http://schemas.openxmlformats.org/officeDocument/2006/relationships/image" Target="../media/image8.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9.xml"/><Relationship Id="rId1" Type="http://schemas.openxmlformats.org/officeDocument/2006/relationships/tags" Target="../tags/tag65.xml"/><Relationship Id="rId4" Type="http://schemas.openxmlformats.org/officeDocument/2006/relationships/image" Target="../media/image8.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9.xml"/><Relationship Id="rId1" Type="http://schemas.openxmlformats.org/officeDocument/2006/relationships/tags" Target="../tags/tag66.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11.xml"/><Relationship Id="rId4" Type="http://schemas.openxmlformats.org/officeDocument/2006/relationships/image" Target="../media/image8.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9.xml"/><Relationship Id="rId1" Type="http://schemas.openxmlformats.org/officeDocument/2006/relationships/tags" Target="../tags/tag67.xml"/><Relationship Id="rId4" Type="http://schemas.openxmlformats.org/officeDocument/2006/relationships/image" Target="../media/image8.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9.xml"/><Relationship Id="rId1" Type="http://schemas.openxmlformats.org/officeDocument/2006/relationships/tags" Target="../tags/tag68.xml"/><Relationship Id="rId4" Type="http://schemas.openxmlformats.org/officeDocument/2006/relationships/image" Target="../media/image8.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9.xml"/><Relationship Id="rId1" Type="http://schemas.openxmlformats.org/officeDocument/2006/relationships/tags" Target="../tags/tag69.xml"/><Relationship Id="rId4" Type="http://schemas.openxmlformats.org/officeDocument/2006/relationships/image" Target="../media/image8.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9.xml"/><Relationship Id="rId1" Type="http://schemas.openxmlformats.org/officeDocument/2006/relationships/tags" Target="../tags/tag70.xml"/><Relationship Id="rId4" Type="http://schemas.openxmlformats.org/officeDocument/2006/relationships/image" Target="../media/image8.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9.xml"/><Relationship Id="rId1" Type="http://schemas.openxmlformats.org/officeDocument/2006/relationships/tags" Target="../tags/tag71.xml"/><Relationship Id="rId4" Type="http://schemas.openxmlformats.org/officeDocument/2006/relationships/image" Target="../media/image8.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9.xml"/><Relationship Id="rId1" Type="http://schemas.openxmlformats.org/officeDocument/2006/relationships/tags" Target="../tags/tag72.xml"/><Relationship Id="rId4" Type="http://schemas.openxmlformats.org/officeDocument/2006/relationships/image" Target="../media/image8.emf"/></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74.xml"/><Relationship Id="rId1" Type="http://schemas.openxmlformats.org/officeDocument/2006/relationships/tags" Target="../tags/tag73.xml"/><Relationship Id="rId5" Type="http://schemas.openxmlformats.org/officeDocument/2006/relationships/image" Target="../media/image8.emf"/><Relationship Id="rId4" Type="http://schemas.openxmlformats.org/officeDocument/2006/relationships/oleObject" Target="../embeddings/oleObject4.bin"/></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9.xml"/><Relationship Id="rId1" Type="http://schemas.openxmlformats.org/officeDocument/2006/relationships/tags" Target="../tags/tag75.xml"/><Relationship Id="rId4" Type="http://schemas.openxmlformats.org/officeDocument/2006/relationships/image" Target="../media/image8.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9.xml"/><Relationship Id="rId1" Type="http://schemas.openxmlformats.org/officeDocument/2006/relationships/tags" Target="../tags/tag76.xml"/><Relationship Id="rId4" Type="http://schemas.openxmlformats.org/officeDocument/2006/relationships/image" Target="../media/image8.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9.xml"/><Relationship Id="rId1" Type="http://schemas.openxmlformats.org/officeDocument/2006/relationships/tags" Target="../tags/tag77.xml"/><Relationship Id="rId4" Type="http://schemas.openxmlformats.org/officeDocument/2006/relationships/image" Target="../media/image8.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12.xml"/><Relationship Id="rId4" Type="http://schemas.openxmlformats.org/officeDocument/2006/relationships/image" Target="../media/image8.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9.xml"/><Relationship Id="rId1" Type="http://schemas.openxmlformats.org/officeDocument/2006/relationships/tags" Target="../tags/tag78.xml"/><Relationship Id="rId4" Type="http://schemas.openxmlformats.org/officeDocument/2006/relationships/image" Target="../media/image8.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9.xml"/><Relationship Id="rId1" Type="http://schemas.openxmlformats.org/officeDocument/2006/relationships/tags" Target="../tags/tag79.xml"/><Relationship Id="rId4" Type="http://schemas.openxmlformats.org/officeDocument/2006/relationships/image" Target="../media/image8.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9.xml"/><Relationship Id="rId1" Type="http://schemas.openxmlformats.org/officeDocument/2006/relationships/tags" Target="../tags/tag80.xml"/><Relationship Id="rId4" Type="http://schemas.openxmlformats.org/officeDocument/2006/relationships/image" Target="../media/image8.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9.xml"/><Relationship Id="rId1" Type="http://schemas.openxmlformats.org/officeDocument/2006/relationships/tags" Target="../tags/tag81.xml"/><Relationship Id="rId4" Type="http://schemas.openxmlformats.org/officeDocument/2006/relationships/image" Target="../media/image8.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9.xml"/><Relationship Id="rId1" Type="http://schemas.openxmlformats.org/officeDocument/2006/relationships/tags" Target="../tags/tag82.xml"/><Relationship Id="rId4" Type="http://schemas.openxmlformats.org/officeDocument/2006/relationships/image" Target="../media/image8.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9.xml"/><Relationship Id="rId1" Type="http://schemas.openxmlformats.org/officeDocument/2006/relationships/tags" Target="../tags/tag83.xml"/><Relationship Id="rId4" Type="http://schemas.openxmlformats.org/officeDocument/2006/relationships/image" Target="../media/image8.emf"/></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9.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5.bin"/><Relationship Id="rId7" Type="http://schemas.openxmlformats.org/officeDocument/2006/relationships/image" Target="../media/image5.png"/><Relationship Id="rId2" Type="http://schemas.openxmlformats.org/officeDocument/2006/relationships/slideMaster" Target="../slideMasters/slideMaster9.xml"/><Relationship Id="rId1" Type="http://schemas.openxmlformats.org/officeDocument/2006/relationships/tags" Target="../tags/tag84.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8.emf"/><Relationship Id="rId9" Type="http://schemas.openxmlformats.org/officeDocument/2006/relationships/image" Target="../media/image7.png"/></Relationships>
</file>

<file path=ppt/slideLayouts/_rels/slideLayout8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5.bin"/><Relationship Id="rId7" Type="http://schemas.openxmlformats.org/officeDocument/2006/relationships/image" Target="../media/image5.png"/><Relationship Id="rId2" Type="http://schemas.openxmlformats.org/officeDocument/2006/relationships/slideMaster" Target="../slideMasters/slideMaster9.xml"/><Relationship Id="rId1" Type="http://schemas.openxmlformats.org/officeDocument/2006/relationships/tags" Target="../tags/tag85.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8.emf"/><Relationship Id="rId9" Type="http://schemas.openxmlformats.org/officeDocument/2006/relationships/image" Target="../media/image7.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9.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13.xml"/><Relationship Id="rId4" Type="http://schemas.openxmlformats.org/officeDocument/2006/relationships/image" Target="../media/image8.emf"/></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9.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9.xml"/><Relationship Id="rId4" Type="http://schemas.openxmlformats.org/officeDocument/2006/relationships/image" Target="../media/image7.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9.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9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5.bin"/><Relationship Id="rId7" Type="http://schemas.openxmlformats.org/officeDocument/2006/relationships/image" Target="../media/image5.png"/><Relationship Id="rId2" Type="http://schemas.openxmlformats.org/officeDocument/2006/relationships/slideMaster" Target="../slideMasters/slideMaster9.xml"/><Relationship Id="rId1" Type="http://schemas.openxmlformats.org/officeDocument/2006/relationships/tags" Target="../tags/tag86.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emf"/><Relationship Id="rId9" Type="http://schemas.openxmlformats.org/officeDocument/2006/relationships/image" Target="../media/image7.png"/></Relationships>
</file>

<file path=ppt/slideLayouts/_rels/slideLayout9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5.bin"/><Relationship Id="rId7" Type="http://schemas.openxmlformats.org/officeDocument/2006/relationships/image" Target="../media/image5.png"/><Relationship Id="rId2" Type="http://schemas.openxmlformats.org/officeDocument/2006/relationships/slideMaster" Target="../slideMasters/slideMaster9.xml"/><Relationship Id="rId1" Type="http://schemas.openxmlformats.org/officeDocument/2006/relationships/tags" Target="../tags/tag87.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emf"/><Relationship Id="rId9" Type="http://schemas.openxmlformats.org/officeDocument/2006/relationships/image" Target="../media/image7.pn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9.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9.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9.xml"/><Relationship Id="rId4" Type="http://schemas.openxmlformats.org/officeDocument/2006/relationships/image" Target="../media/image7.png"/></Relationships>
</file>

<file path=ppt/slideLayouts/_rels/slideLayout9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4.bin"/><Relationship Id="rId7" Type="http://schemas.openxmlformats.org/officeDocument/2006/relationships/image" Target="../media/image5.png"/><Relationship Id="rId2" Type="http://schemas.openxmlformats.org/officeDocument/2006/relationships/slideMaster" Target="../slideMasters/slideMaster9.xml"/><Relationship Id="rId1" Type="http://schemas.openxmlformats.org/officeDocument/2006/relationships/tags" Target="../tags/tag88.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8.emf"/><Relationship Id="rId9" Type="http://schemas.openxmlformats.org/officeDocument/2006/relationships/image" Target="../media/image7.png"/></Relationships>
</file>

<file path=ppt/slideLayouts/_rels/slideLayout9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7.bin"/><Relationship Id="rId7" Type="http://schemas.openxmlformats.org/officeDocument/2006/relationships/image" Target="../media/image5.png"/><Relationship Id="rId2" Type="http://schemas.openxmlformats.org/officeDocument/2006/relationships/slideMaster" Target="../slideMasters/slideMaster9.xml"/><Relationship Id="rId1" Type="http://schemas.openxmlformats.org/officeDocument/2006/relationships/tags" Target="../tags/tag89.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8.emf"/><Relationship Id="rId9" Type="http://schemas.openxmlformats.org/officeDocument/2006/relationships/image" Target="../media/image7.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 No image">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39DA44C5-759C-86D6-2BFE-0A72E0BD523B}"/>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1255622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6" name="think-cell data - do not delete" hidden="1">
                        <a:extLst>
                          <a:ext uri="{FF2B5EF4-FFF2-40B4-BE49-F238E27FC236}">
                            <a16:creationId xmlns:a16="http://schemas.microsoft.com/office/drawing/2014/main" id="{39DA44C5-759C-86D6-2BFE-0A72E0BD523B}"/>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9" name="logo sm" descr="Transamerica Logo">
            <a:extLst>
              <a:ext uri="{FF2B5EF4-FFF2-40B4-BE49-F238E27FC236}">
                <a16:creationId xmlns:a16="http://schemas.microsoft.com/office/drawing/2014/main" id="{70F8CB03-C110-1168-2E33-FE8BAE7D253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0" y="0"/>
            <a:ext cx="4141724" cy="1559052"/>
          </a:xfrm>
          <a:prstGeom prst="rect">
            <a:avLst/>
          </a:prstGeom>
        </p:spPr>
      </p:pic>
      <p:sp>
        <p:nvSpPr>
          <p:cNvPr id="2" name="Title 1">
            <a:extLst>
              <a:ext uri="{FF2B5EF4-FFF2-40B4-BE49-F238E27FC236}">
                <a16:creationId xmlns:a16="http://schemas.microsoft.com/office/drawing/2014/main" id="{5A86874A-FA12-2517-B453-C324E0434187}"/>
              </a:ext>
            </a:extLst>
          </p:cNvPr>
          <p:cNvSpPr>
            <a:spLocks noGrp="1"/>
          </p:cNvSpPr>
          <p:nvPr>
            <p:ph type="ctrTitle" hasCustomPrompt="1"/>
          </p:nvPr>
        </p:nvSpPr>
        <p:spPr>
          <a:xfrm>
            <a:off x="521208" y="1559052"/>
            <a:ext cx="9318896" cy="1932948"/>
          </a:xfrm>
          <a:prstGeom prst="rect">
            <a:avLst/>
          </a:prstGeom>
        </p:spPr>
        <p:txBody>
          <a:bodyPr vert="horz" wrap="square" anchor="b" anchorCtr="0">
            <a:noAutofit/>
          </a:bodyPr>
          <a:lstStyle>
            <a:lvl1pPr algn="l">
              <a:lnSpc>
                <a:spcPct val="85000"/>
              </a:lnSpc>
              <a:defRPr sz="4800" kern="100" spc="-120" baseline="0"/>
            </a:lvl1pPr>
          </a:lstStyle>
          <a:p>
            <a:r>
              <a:rPr lang="en-US"/>
              <a:t>Click to edit title</a:t>
            </a:r>
          </a:p>
        </p:txBody>
      </p:sp>
      <p:sp>
        <p:nvSpPr>
          <p:cNvPr id="3" name="Subtitle 2">
            <a:extLst>
              <a:ext uri="{FF2B5EF4-FFF2-40B4-BE49-F238E27FC236}">
                <a16:creationId xmlns:a16="http://schemas.microsoft.com/office/drawing/2014/main" id="{D9322BA0-7900-6548-8C91-5C883FA22AAA}"/>
              </a:ext>
            </a:extLst>
          </p:cNvPr>
          <p:cNvSpPr>
            <a:spLocks noGrp="1"/>
          </p:cNvSpPr>
          <p:nvPr>
            <p:ph type="subTitle" idx="1"/>
          </p:nvPr>
        </p:nvSpPr>
        <p:spPr>
          <a:xfrm>
            <a:off x="521208" y="3708000"/>
            <a:ext cx="9318896" cy="432000"/>
          </a:xfrm>
          <a:prstGeom prst="rect">
            <a:avLst/>
          </a:prstGeom>
        </p:spPr>
        <p:txBody>
          <a:bodyPr anchor="t" anchorCtr="0">
            <a:noAutofit/>
          </a:bodyPr>
          <a:lstStyle>
            <a:lvl1pPr marL="0" indent="0" algn="l">
              <a:buNone/>
              <a:defRPr sz="2400" b="0" i="0">
                <a:latin typeface="Forever Forma Heading"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7">
            <a:extLst>
              <a:ext uri="{FF2B5EF4-FFF2-40B4-BE49-F238E27FC236}">
                <a16:creationId xmlns:a16="http://schemas.microsoft.com/office/drawing/2014/main" id="{BDAA084D-363D-B650-0E58-F7892FE1196E}"/>
              </a:ext>
            </a:extLst>
          </p:cNvPr>
          <p:cNvSpPr>
            <a:spLocks noGrp="1"/>
          </p:cNvSpPr>
          <p:nvPr>
            <p:ph type="body" sz="quarter" idx="17" hasCustomPrompt="1"/>
          </p:nvPr>
        </p:nvSpPr>
        <p:spPr>
          <a:xfrm>
            <a:off x="521208" y="4752000"/>
            <a:ext cx="7878792" cy="288000"/>
          </a:xfrm>
          <a:prstGeom prst="rect">
            <a:avLst/>
          </a:prstGeom>
        </p:spPr>
        <p:txBody>
          <a:bodyPr>
            <a:noAutofit/>
          </a:bodyPr>
          <a:lstStyle>
            <a:lvl1pPr>
              <a:spcBef>
                <a:spcPts val="0"/>
              </a:spcBef>
              <a:defRPr sz="1600" b="1"/>
            </a:lvl1pPr>
          </a:lstStyle>
          <a:p>
            <a:pPr lvl="0"/>
            <a:r>
              <a:rPr lang="en-US"/>
              <a:t>[Presenter name]</a:t>
            </a:r>
          </a:p>
        </p:txBody>
      </p:sp>
      <p:sp>
        <p:nvSpPr>
          <p:cNvPr id="8" name="Text Placeholder 7">
            <a:extLst>
              <a:ext uri="{FF2B5EF4-FFF2-40B4-BE49-F238E27FC236}">
                <a16:creationId xmlns:a16="http://schemas.microsoft.com/office/drawing/2014/main" id="{42BC1D38-D6E1-7E0C-EF78-D061302A3DF8}"/>
              </a:ext>
            </a:extLst>
          </p:cNvPr>
          <p:cNvSpPr>
            <a:spLocks noGrp="1"/>
          </p:cNvSpPr>
          <p:nvPr>
            <p:ph type="body" sz="quarter" idx="13" hasCustomPrompt="1"/>
          </p:nvPr>
        </p:nvSpPr>
        <p:spPr>
          <a:xfrm>
            <a:off x="521208" y="5040000"/>
            <a:ext cx="7878792" cy="252000"/>
          </a:xfrm>
          <a:prstGeom prst="rect">
            <a:avLst/>
          </a:prstGeom>
        </p:spPr>
        <p:txBody>
          <a:bodyPr>
            <a:noAutofit/>
          </a:bodyPr>
          <a:lstStyle>
            <a:lvl1pPr>
              <a:spcBef>
                <a:spcPts val="0"/>
              </a:spcBef>
              <a:defRPr sz="1600"/>
            </a:lvl1pPr>
          </a:lstStyle>
          <a:p>
            <a:pPr lvl="0"/>
            <a:r>
              <a:rPr lang="en-US"/>
              <a:t>[Month date year]</a:t>
            </a:r>
          </a:p>
        </p:txBody>
      </p:sp>
      <p:sp>
        <p:nvSpPr>
          <p:cNvPr id="6" name="LYBL 3" descr="live your best life tagline graphic">
            <a:extLst>
              <a:ext uri="{FF2B5EF4-FFF2-40B4-BE49-F238E27FC236}">
                <a16:creationId xmlns:a16="http://schemas.microsoft.com/office/drawing/2014/main" id="{01A489F3-1530-F1AA-659D-A07B8679E3C9}"/>
              </a:ext>
            </a:extLst>
          </p:cNvPr>
          <p:cNvSpPr>
            <a:spLocks noGrp="1"/>
          </p:cNvSpPr>
          <p:nvPr>
            <p:ph type="body" sz="quarter" idx="21" hasCustomPrompt="1"/>
          </p:nvPr>
        </p:nvSpPr>
        <p:spPr>
          <a:xfrm>
            <a:off x="12711249" y="4973918"/>
            <a:ext cx="1987009" cy="1884082"/>
          </a:xfrm>
          <a:custGeom>
            <a:avLst/>
            <a:gdLst>
              <a:gd name="connsiteX0" fmla="*/ 1381206 w 1987009"/>
              <a:gd name="connsiteY0" fmla="*/ 1687344 h 1884082"/>
              <a:gd name="connsiteX1" fmla="*/ 1204824 w 1987009"/>
              <a:gd name="connsiteY1" fmla="*/ 1742294 h 1884082"/>
              <a:gd name="connsiteX2" fmla="*/ 1320151 w 1987009"/>
              <a:gd name="connsiteY2" fmla="*/ 1808777 h 1884082"/>
              <a:gd name="connsiteX3" fmla="*/ 1381206 w 1987009"/>
              <a:gd name="connsiteY3" fmla="*/ 1687344 h 1884082"/>
              <a:gd name="connsiteX4" fmla="*/ 904614 w 1987009"/>
              <a:gd name="connsiteY4" fmla="*/ 1538915 h 1884082"/>
              <a:gd name="connsiteX5" fmla="*/ 959924 w 1987009"/>
              <a:gd name="connsiteY5" fmla="*/ 1540134 h 1884082"/>
              <a:gd name="connsiteX6" fmla="*/ 1089497 w 1987009"/>
              <a:gd name="connsiteY6" fmla="*/ 1675812 h 1884082"/>
              <a:gd name="connsiteX7" fmla="*/ 1082713 w 1987009"/>
              <a:gd name="connsiteY7" fmla="*/ 1680561 h 1884082"/>
              <a:gd name="connsiteX8" fmla="*/ 1038618 w 1987009"/>
              <a:gd name="connsiteY8" fmla="*/ 1673777 h 1884082"/>
              <a:gd name="connsiteX9" fmla="*/ 1033869 w 1987009"/>
              <a:gd name="connsiteY9" fmla="*/ 1666993 h 1884082"/>
              <a:gd name="connsiteX10" fmla="*/ 952462 w 1987009"/>
              <a:gd name="connsiteY10" fmla="*/ 1579480 h 1884082"/>
              <a:gd name="connsiteX11" fmla="*/ 864271 w 1987009"/>
              <a:gd name="connsiteY11" fmla="*/ 1624254 h 1884082"/>
              <a:gd name="connsiteX12" fmla="*/ 1063040 w 1987009"/>
              <a:gd name="connsiteY12" fmla="*/ 1804707 h 1884082"/>
              <a:gd name="connsiteX13" fmla="*/ 919899 w 1987009"/>
              <a:gd name="connsiteY13" fmla="*/ 1881365 h 1884082"/>
              <a:gd name="connsiteX14" fmla="*/ 797788 w 1987009"/>
              <a:gd name="connsiteY14" fmla="*/ 1761968 h 1884082"/>
              <a:gd name="connsiteX15" fmla="*/ 804572 w 1987009"/>
              <a:gd name="connsiteY15" fmla="*/ 1757219 h 1884082"/>
              <a:gd name="connsiteX16" fmla="*/ 847311 w 1987009"/>
              <a:gd name="connsiteY16" fmla="*/ 1763325 h 1884082"/>
              <a:gd name="connsiteX17" fmla="*/ 852738 w 1987009"/>
              <a:gd name="connsiteY17" fmla="*/ 1770109 h 1884082"/>
              <a:gd name="connsiteX18" fmla="*/ 926683 w 1987009"/>
              <a:gd name="connsiteY18" fmla="*/ 1842697 h 1884082"/>
              <a:gd name="connsiteX19" fmla="*/ 1007412 w 1987009"/>
              <a:gd name="connsiteY19" fmla="*/ 1800636 h 1884082"/>
              <a:gd name="connsiteX20" fmla="*/ 808643 w 1987009"/>
              <a:gd name="connsiteY20" fmla="*/ 1620862 h 1884082"/>
              <a:gd name="connsiteX21" fmla="*/ 904614 w 1987009"/>
              <a:gd name="connsiteY21" fmla="*/ 1538915 h 1884082"/>
              <a:gd name="connsiteX22" fmla="*/ 1295718 w 1987009"/>
              <a:gd name="connsiteY22" fmla="*/ 1511683 h 1884082"/>
              <a:gd name="connsiteX23" fmla="*/ 1429372 w 1987009"/>
              <a:gd name="connsiteY23" fmla="*/ 1636465 h 1884082"/>
              <a:gd name="connsiteX24" fmla="*/ 1333718 w 1987009"/>
              <a:gd name="connsiteY24" fmla="*/ 1848802 h 1884082"/>
              <a:gd name="connsiteX25" fmla="*/ 1134271 w 1987009"/>
              <a:gd name="connsiteY25" fmla="*/ 1727370 h 1884082"/>
              <a:gd name="connsiteX26" fmla="*/ 1138342 w 1987009"/>
              <a:gd name="connsiteY26" fmla="*/ 1719907 h 1884082"/>
              <a:gd name="connsiteX27" fmla="*/ 1371030 w 1987009"/>
              <a:gd name="connsiteY27" fmla="*/ 1647319 h 1884082"/>
              <a:gd name="connsiteX28" fmla="*/ 1240100 w 1987009"/>
              <a:gd name="connsiteY28" fmla="*/ 1560485 h 1884082"/>
              <a:gd name="connsiteX29" fmla="*/ 1178367 w 1987009"/>
              <a:gd name="connsiteY29" fmla="*/ 1656817 h 1884082"/>
              <a:gd name="connsiteX30" fmla="*/ 1173618 w 1987009"/>
              <a:gd name="connsiteY30" fmla="*/ 1664279 h 1884082"/>
              <a:gd name="connsiteX31" fmla="*/ 1130201 w 1987009"/>
              <a:gd name="connsiteY31" fmla="*/ 1678525 h 1884082"/>
              <a:gd name="connsiteX32" fmla="*/ 1123417 w 1987009"/>
              <a:gd name="connsiteY32" fmla="*/ 1674455 h 1884082"/>
              <a:gd name="connsiteX33" fmla="*/ 1227211 w 1987009"/>
              <a:gd name="connsiteY33" fmla="*/ 1519781 h 1884082"/>
              <a:gd name="connsiteX34" fmla="*/ 1295718 w 1987009"/>
              <a:gd name="connsiteY34" fmla="*/ 1511683 h 1884082"/>
              <a:gd name="connsiteX35" fmla="*/ 688568 w 1987009"/>
              <a:gd name="connsiteY35" fmla="*/ 1443801 h 1884082"/>
              <a:gd name="connsiteX36" fmla="*/ 731985 w 1987009"/>
              <a:gd name="connsiteY36" fmla="*/ 1458048 h 1884082"/>
              <a:gd name="connsiteX37" fmla="*/ 764548 w 1987009"/>
              <a:gd name="connsiteY37" fmla="*/ 1584907 h 1884082"/>
              <a:gd name="connsiteX38" fmla="*/ 672965 w 1987009"/>
              <a:gd name="connsiteY38" fmla="*/ 1755862 h 1884082"/>
              <a:gd name="connsiteX39" fmla="*/ 705527 w 1987009"/>
              <a:gd name="connsiteY39" fmla="*/ 1772822 h 1884082"/>
              <a:gd name="connsiteX40" fmla="*/ 707563 w 1987009"/>
              <a:gd name="connsiteY40" fmla="*/ 1780962 h 1884082"/>
              <a:gd name="connsiteX41" fmla="*/ 691281 w 1987009"/>
              <a:gd name="connsiteY41" fmla="*/ 1810812 h 1884082"/>
              <a:gd name="connsiteX42" fmla="*/ 683141 w 1987009"/>
              <a:gd name="connsiteY42" fmla="*/ 1813525 h 1884082"/>
              <a:gd name="connsiteX43" fmla="*/ 650578 w 1987009"/>
              <a:gd name="connsiteY43" fmla="*/ 1796565 h 1884082"/>
              <a:gd name="connsiteX44" fmla="*/ 614623 w 1987009"/>
              <a:gd name="connsiteY44" fmla="*/ 1865083 h 1884082"/>
              <a:gd name="connsiteX45" fmla="*/ 606482 w 1987009"/>
              <a:gd name="connsiteY45" fmla="*/ 1867118 h 1884082"/>
              <a:gd name="connsiteX46" fmla="*/ 564422 w 1987009"/>
              <a:gd name="connsiteY46" fmla="*/ 1844731 h 1884082"/>
              <a:gd name="connsiteX47" fmla="*/ 561708 w 1987009"/>
              <a:gd name="connsiteY47" fmla="*/ 1836591 h 1884082"/>
              <a:gd name="connsiteX48" fmla="*/ 598342 w 1987009"/>
              <a:gd name="connsiteY48" fmla="*/ 1768751 h 1884082"/>
              <a:gd name="connsiteX49" fmla="*/ 531859 w 1987009"/>
              <a:gd name="connsiteY49" fmla="*/ 1732797 h 1884082"/>
              <a:gd name="connsiteX50" fmla="*/ 529824 w 1987009"/>
              <a:gd name="connsiteY50" fmla="*/ 1724656 h 1884082"/>
              <a:gd name="connsiteX51" fmla="*/ 546105 w 1987009"/>
              <a:gd name="connsiteY51" fmla="*/ 1694807 h 1884082"/>
              <a:gd name="connsiteX52" fmla="*/ 554246 w 1987009"/>
              <a:gd name="connsiteY52" fmla="*/ 1692771 h 1884082"/>
              <a:gd name="connsiteX53" fmla="*/ 620728 w 1987009"/>
              <a:gd name="connsiteY53" fmla="*/ 1728726 h 1884082"/>
              <a:gd name="connsiteX54" fmla="*/ 711633 w 1987009"/>
              <a:gd name="connsiteY54" fmla="*/ 1559128 h 1884082"/>
              <a:gd name="connsiteX55" fmla="*/ 699422 w 1987009"/>
              <a:gd name="connsiteY55" fmla="*/ 1493324 h 1884082"/>
              <a:gd name="connsiteX56" fmla="*/ 667538 w 1987009"/>
              <a:gd name="connsiteY56" fmla="*/ 1480435 h 1884082"/>
              <a:gd name="connsiteX57" fmla="*/ 664146 w 1987009"/>
              <a:gd name="connsiteY57" fmla="*/ 1474329 h 1884082"/>
              <a:gd name="connsiteX58" fmla="*/ 679749 w 1987009"/>
              <a:gd name="connsiteY58" fmla="*/ 1447872 h 1884082"/>
              <a:gd name="connsiteX59" fmla="*/ 688568 w 1987009"/>
              <a:gd name="connsiteY59" fmla="*/ 1443801 h 1884082"/>
              <a:gd name="connsiteX60" fmla="*/ 1553602 w 1987009"/>
              <a:gd name="connsiteY60" fmla="*/ 1402336 h 1884082"/>
              <a:gd name="connsiteX61" fmla="*/ 1485000 w 1987009"/>
              <a:gd name="connsiteY61" fmla="*/ 1434983 h 1884082"/>
              <a:gd name="connsiteX62" fmla="*/ 1527738 w 1987009"/>
              <a:gd name="connsiteY62" fmla="*/ 1585586 h 1884082"/>
              <a:gd name="connsiteX63" fmla="*/ 1687839 w 1987009"/>
              <a:gd name="connsiteY63" fmla="*/ 1591692 h 1884082"/>
              <a:gd name="connsiteX64" fmla="*/ 1645100 w 1987009"/>
              <a:gd name="connsiteY64" fmla="*/ 1442445 h 1884082"/>
              <a:gd name="connsiteX65" fmla="*/ 1553602 w 1987009"/>
              <a:gd name="connsiteY65" fmla="*/ 1402336 h 1884082"/>
              <a:gd name="connsiteX66" fmla="*/ 160100 w 1987009"/>
              <a:gd name="connsiteY66" fmla="*/ 1361038 h 1884082"/>
              <a:gd name="connsiteX67" fmla="*/ 167562 w 1987009"/>
              <a:gd name="connsiteY67" fmla="*/ 1363751 h 1884082"/>
              <a:gd name="connsiteX68" fmla="*/ 189271 w 1987009"/>
              <a:gd name="connsiteY68" fmla="*/ 1406490 h 1884082"/>
              <a:gd name="connsiteX69" fmla="*/ 186557 w 1987009"/>
              <a:gd name="connsiteY69" fmla="*/ 1413952 h 1884082"/>
              <a:gd name="connsiteX70" fmla="*/ 139748 w 1987009"/>
              <a:gd name="connsiteY70" fmla="*/ 1437696 h 1884082"/>
              <a:gd name="connsiteX71" fmla="*/ 132286 w 1987009"/>
              <a:gd name="connsiteY71" fmla="*/ 1434982 h 1884082"/>
              <a:gd name="connsiteX72" fmla="*/ 110577 w 1987009"/>
              <a:gd name="connsiteY72" fmla="*/ 1392244 h 1884082"/>
              <a:gd name="connsiteX73" fmla="*/ 113291 w 1987009"/>
              <a:gd name="connsiteY73" fmla="*/ 1384782 h 1884082"/>
              <a:gd name="connsiteX74" fmla="*/ 1548769 w 1987009"/>
              <a:gd name="connsiteY74" fmla="*/ 1298626 h 1884082"/>
              <a:gd name="connsiteX75" fmla="*/ 1738718 w 1987009"/>
              <a:gd name="connsiteY75" fmla="*/ 1445837 h 1884082"/>
              <a:gd name="connsiteX76" fmla="*/ 1896105 w 1987009"/>
              <a:gd name="connsiteY76" fmla="*/ 1563878 h 1884082"/>
              <a:gd name="connsiteX77" fmla="*/ 1897462 w 1987009"/>
              <a:gd name="connsiteY77" fmla="*/ 1572018 h 1884082"/>
              <a:gd name="connsiteX78" fmla="*/ 1868291 w 1987009"/>
              <a:gd name="connsiteY78" fmla="*/ 1610008 h 1884082"/>
              <a:gd name="connsiteX79" fmla="*/ 1860151 w 1987009"/>
              <a:gd name="connsiteY79" fmla="*/ 1611365 h 1884082"/>
              <a:gd name="connsiteX80" fmla="*/ 1730578 w 1987009"/>
              <a:gd name="connsiteY80" fmla="*/ 1510963 h 1884082"/>
              <a:gd name="connsiteX81" fmla="*/ 1712939 w 1987009"/>
              <a:gd name="connsiteY81" fmla="*/ 1629003 h 1884082"/>
              <a:gd name="connsiteX82" fmla="*/ 1494497 w 1987009"/>
              <a:gd name="connsiteY82" fmla="*/ 1633752 h 1884082"/>
              <a:gd name="connsiteX83" fmla="*/ 1440904 w 1987009"/>
              <a:gd name="connsiteY83" fmla="*/ 1420737 h 1884082"/>
              <a:gd name="connsiteX84" fmla="*/ 1550125 w 1987009"/>
              <a:gd name="connsiteY84" fmla="*/ 1372571 h 1884082"/>
              <a:gd name="connsiteX85" fmla="*/ 1513492 w 1987009"/>
              <a:gd name="connsiteY85" fmla="*/ 1346114 h 1884082"/>
              <a:gd name="connsiteX86" fmla="*/ 1512135 w 1987009"/>
              <a:gd name="connsiteY86" fmla="*/ 1337973 h 1884082"/>
              <a:gd name="connsiteX87" fmla="*/ 1540628 w 1987009"/>
              <a:gd name="connsiteY87" fmla="*/ 1299983 h 1884082"/>
              <a:gd name="connsiteX88" fmla="*/ 1548769 w 1987009"/>
              <a:gd name="connsiteY88" fmla="*/ 1298626 h 1884082"/>
              <a:gd name="connsiteX89" fmla="*/ 546105 w 1987009"/>
              <a:gd name="connsiteY89" fmla="*/ 1297947 h 1884082"/>
              <a:gd name="connsiteX90" fmla="*/ 554246 w 1987009"/>
              <a:gd name="connsiteY90" fmla="*/ 1299304 h 1884082"/>
              <a:gd name="connsiteX91" fmla="*/ 582738 w 1987009"/>
              <a:gd name="connsiteY91" fmla="*/ 1337294 h 1884082"/>
              <a:gd name="connsiteX92" fmla="*/ 581381 w 1987009"/>
              <a:gd name="connsiteY92" fmla="*/ 1345435 h 1884082"/>
              <a:gd name="connsiteX93" fmla="*/ 402964 w 1987009"/>
              <a:gd name="connsiteY93" fmla="*/ 1476365 h 1884082"/>
              <a:gd name="connsiteX94" fmla="*/ 232009 w 1987009"/>
              <a:gd name="connsiteY94" fmla="*/ 1608651 h 1884082"/>
              <a:gd name="connsiteX95" fmla="*/ 223869 w 1987009"/>
              <a:gd name="connsiteY95" fmla="*/ 1607294 h 1884082"/>
              <a:gd name="connsiteX96" fmla="*/ 195376 w 1987009"/>
              <a:gd name="connsiteY96" fmla="*/ 1569304 h 1884082"/>
              <a:gd name="connsiteX97" fmla="*/ 196733 w 1987009"/>
              <a:gd name="connsiteY97" fmla="*/ 1561164 h 1884082"/>
              <a:gd name="connsiteX98" fmla="*/ 370401 w 1987009"/>
              <a:gd name="connsiteY98" fmla="*/ 1433626 h 1884082"/>
              <a:gd name="connsiteX99" fmla="*/ 487763 w 1987009"/>
              <a:gd name="connsiteY99" fmla="*/ 1194153 h 1884082"/>
              <a:gd name="connsiteX100" fmla="*/ 495226 w 1987009"/>
              <a:gd name="connsiteY100" fmla="*/ 1196867 h 1884082"/>
              <a:gd name="connsiteX101" fmla="*/ 516934 w 1987009"/>
              <a:gd name="connsiteY101" fmla="*/ 1239606 h 1884082"/>
              <a:gd name="connsiteX102" fmla="*/ 514220 w 1987009"/>
              <a:gd name="connsiteY102" fmla="*/ 1247068 h 1884082"/>
              <a:gd name="connsiteX103" fmla="*/ 367009 w 1987009"/>
              <a:gd name="connsiteY103" fmla="*/ 1320334 h 1884082"/>
              <a:gd name="connsiteX104" fmla="*/ 229974 w 1987009"/>
              <a:gd name="connsiteY104" fmla="*/ 1391565 h 1884082"/>
              <a:gd name="connsiteX105" fmla="*/ 222512 w 1987009"/>
              <a:gd name="connsiteY105" fmla="*/ 1388852 h 1884082"/>
              <a:gd name="connsiteX106" fmla="*/ 200803 w 1987009"/>
              <a:gd name="connsiteY106" fmla="*/ 1346113 h 1884082"/>
              <a:gd name="connsiteX107" fmla="*/ 203517 w 1987009"/>
              <a:gd name="connsiteY107" fmla="*/ 1338651 h 1884082"/>
              <a:gd name="connsiteX108" fmla="*/ 341231 w 1987009"/>
              <a:gd name="connsiteY108" fmla="*/ 1270133 h 1884082"/>
              <a:gd name="connsiteX109" fmla="*/ 155352 w 1987009"/>
              <a:gd name="connsiteY109" fmla="*/ 1066615 h 1884082"/>
              <a:gd name="connsiteX110" fmla="*/ 162136 w 1987009"/>
              <a:gd name="connsiteY110" fmla="*/ 1070686 h 1884082"/>
              <a:gd name="connsiteX111" fmla="*/ 179095 w 1987009"/>
              <a:gd name="connsiteY111" fmla="*/ 1140560 h 1884082"/>
              <a:gd name="connsiteX112" fmla="*/ 312060 w 1987009"/>
              <a:gd name="connsiteY112" fmla="*/ 1107997 h 1884082"/>
              <a:gd name="connsiteX113" fmla="*/ 450452 w 1987009"/>
              <a:gd name="connsiteY113" fmla="*/ 1072721 h 1884082"/>
              <a:gd name="connsiteX114" fmla="*/ 457236 w 1987009"/>
              <a:gd name="connsiteY114" fmla="*/ 1076791 h 1884082"/>
              <a:gd name="connsiteX115" fmla="*/ 468769 w 1987009"/>
              <a:gd name="connsiteY115" fmla="*/ 1124957 h 1884082"/>
              <a:gd name="connsiteX116" fmla="*/ 464699 w 1987009"/>
              <a:gd name="connsiteY116" fmla="*/ 1131741 h 1884082"/>
              <a:gd name="connsiteX117" fmla="*/ 324950 w 1987009"/>
              <a:gd name="connsiteY117" fmla="*/ 1162947 h 1884082"/>
              <a:gd name="connsiteX118" fmla="*/ 191985 w 1987009"/>
              <a:gd name="connsiteY118" fmla="*/ 1194832 h 1884082"/>
              <a:gd name="connsiteX119" fmla="*/ 202839 w 1987009"/>
              <a:gd name="connsiteY119" fmla="*/ 1239605 h 1884082"/>
              <a:gd name="connsiteX120" fmla="*/ 198769 w 1987009"/>
              <a:gd name="connsiteY120" fmla="*/ 1246389 h 1884082"/>
              <a:gd name="connsiteX121" fmla="*/ 166206 w 1987009"/>
              <a:gd name="connsiteY121" fmla="*/ 1253852 h 1884082"/>
              <a:gd name="connsiteX122" fmla="*/ 159422 w 1987009"/>
              <a:gd name="connsiteY122" fmla="*/ 1249781 h 1884082"/>
              <a:gd name="connsiteX123" fmla="*/ 148568 w 1987009"/>
              <a:gd name="connsiteY123" fmla="*/ 1205008 h 1884082"/>
              <a:gd name="connsiteX124" fmla="*/ 120754 w 1987009"/>
              <a:gd name="connsiteY124" fmla="*/ 1211791 h 1884082"/>
              <a:gd name="connsiteX125" fmla="*/ 5427 w 1987009"/>
              <a:gd name="connsiteY125" fmla="*/ 1150736 h 1884082"/>
              <a:gd name="connsiteX126" fmla="*/ 0 w 1987009"/>
              <a:gd name="connsiteY126" fmla="*/ 1107997 h 1884082"/>
              <a:gd name="connsiteX127" fmla="*/ 5427 w 1987009"/>
              <a:gd name="connsiteY127" fmla="*/ 1100535 h 1884082"/>
              <a:gd name="connsiteX128" fmla="*/ 37312 w 1987009"/>
              <a:gd name="connsiteY128" fmla="*/ 1093073 h 1884082"/>
              <a:gd name="connsiteX129" fmla="*/ 42739 w 1987009"/>
              <a:gd name="connsiteY129" fmla="*/ 1097822 h 1884082"/>
              <a:gd name="connsiteX130" fmla="*/ 46131 w 1987009"/>
              <a:gd name="connsiteY130" fmla="*/ 1128349 h 1884082"/>
              <a:gd name="connsiteX131" fmla="*/ 111935 w 1987009"/>
              <a:gd name="connsiteY131" fmla="*/ 1156163 h 1884082"/>
              <a:gd name="connsiteX132" fmla="*/ 135678 w 1987009"/>
              <a:gd name="connsiteY132" fmla="*/ 1150736 h 1884082"/>
              <a:gd name="connsiteX133" fmla="*/ 118719 w 1987009"/>
              <a:gd name="connsiteY133" fmla="*/ 1080862 h 1884082"/>
              <a:gd name="connsiteX134" fmla="*/ 122789 w 1987009"/>
              <a:gd name="connsiteY134" fmla="*/ 1074078 h 1884082"/>
              <a:gd name="connsiteX135" fmla="*/ 1659346 w 1987009"/>
              <a:gd name="connsiteY135" fmla="*/ 1048978 h 1884082"/>
              <a:gd name="connsiteX136" fmla="*/ 1818768 w 1987009"/>
              <a:gd name="connsiteY136" fmla="*/ 1080862 h 1884082"/>
              <a:gd name="connsiteX137" fmla="*/ 1972085 w 1987009"/>
              <a:gd name="connsiteY137" fmla="*/ 1107998 h 1884082"/>
              <a:gd name="connsiteX138" fmla="*/ 1976834 w 1987009"/>
              <a:gd name="connsiteY138" fmla="*/ 1114782 h 1884082"/>
              <a:gd name="connsiteX139" fmla="*/ 1968015 w 1987009"/>
              <a:gd name="connsiteY139" fmla="*/ 1161591 h 1884082"/>
              <a:gd name="connsiteX140" fmla="*/ 1961231 w 1987009"/>
              <a:gd name="connsiteY140" fmla="*/ 1166340 h 1884082"/>
              <a:gd name="connsiteX141" fmla="*/ 1906959 w 1987009"/>
              <a:gd name="connsiteY141" fmla="*/ 1153450 h 1884082"/>
              <a:gd name="connsiteX142" fmla="*/ 1949698 w 1987009"/>
              <a:gd name="connsiteY142" fmla="*/ 1275561 h 1884082"/>
              <a:gd name="connsiteX143" fmla="*/ 1944271 w 1987009"/>
              <a:gd name="connsiteY143" fmla="*/ 1293878 h 1884082"/>
              <a:gd name="connsiteX144" fmla="*/ 1936130 w 1987009"/>
              <a:gd name="connsiteY144" fmla="*/ 1297948 h 1884082"/>
              <a:gd name="connsiteX145" fmla="*/ 1900854 w 1987009"/>
              <a:gd name="connsiteY145" fmla="*/ 1291164 h 1884082"/>
              <a:gd name="connsiteX146" fmla="*/ 1897462 w 1987009"/>
              <a:gd name="connsiteY146" fmla="*/ 1284380 h 1884082"/>
              <a:gd name="connsiteX147" fmla="*/ 1902211 w 1987009"/>
              <a:gd name="connsiteY147" fmla="*/ 1266064 h 1884082"/>
              <a:gd name="connsiteX148" fmla="*/ 1818090 w 1987009"/>
              <a:gd name="connsiteY148" fmla="*/ 1137169 h 1884082"/>
              <a:gd name="connsiteX149" fmla="*/ 1647814 w 1987009"/>
              <a:gd name="connsiteY149" fmla="*/ 1105963 h 1884082"/>
              <a:gd name="connsiteX150" fmla="*/ 1643065 w 1987009"/>
              <a:gd name="connsiteY150" fmla="*/ 1099179 h 1884082"/>
              <a:gd name="connsiteX151" fmla="*/ 1652562 w 1987009"/>
              <a:gd name="connsiteY151" fmla="*/ 1053727 h 1884082"/>
              <a:gd name="connsiteX152" fmla="*/ 1659346 w 1987009"/>
              <a:gd name="connsiteY152" fmla="*/ 1048978 h 1884082"/>
              <a:gd name="connsiteX153" fmla="*/ 260502 w 1987009"/>
              <a:gd name="connsiteY153" fmla="*/ 767445 h 1884082"/>
              <a:gd name="connsiteX154" fmla="*/ 153995 w 1987009"/>
              <a:gd name="connsiteY154" fmla="*/ 846817 h 1884082"/>
              <a:gd name="connsiteX155" fmla="*/ 240829 w 1987009"/>
              <a:gd name="connsiteY155" fmla="*/ 951290 h 1884082"/>
              <a:gd name="connsiteX156" fmla="*/ 301884 w 1987009"/>
              <a:gd name="connsiteY156" fmla="*/ 708425 h 1884082"/>
              <a:gd name="connsiteX157" fmla="*/ 307311 w 1987009"/>
              <a:gd name="connsiteY157" fmla="*/ 714531 h 1884082"/>
              <a:gd name="connsiteX158" fmla="*/ 280854 w 1987009"/>
              <a:gd name="connsiteY158" fmla="*/ 956717 h 1884082"/>
              <a:gd name="connsiteX159" fmla="*/ 412462 w 1987009"/>
              <a:gd name="connsiteY159" fmla="*/ 871239 h 1884082"/>
              <a:gd name="connsiteX160" fmla="*/ 348693 w 1987009"/>
              <a:gd name="connsiteY160" fmla="*/ 775586 h 1884082"/>
              <a:gd name="connsiteX161" fmla="*/ 343944 w 1987009"/>
              <a:gd name="connsiteY161" fmla="*/ 768124 h 1884082"/>
              <a:gd name="connsiteX162" fmla="*/ 348693 w 1987009"/>
              <a:gd name="connsiteY162" fmla="*/ 724707 h 1884082"/>
              <a:gd name="connsiteX163" fmla="*/ 354799 w 1987009"/>
              <a:gd name="connsiteY163" fmla="*/ 719958 h 1884082"/>
              <a:gd name="connsiteX164" fmla="*/ 455201 w 1987009"/>
              <a:gd name="connsiteY164" fmla="*/ 876667 h 1884082"/>
              <a:gd name="connsiteX165" fmla="*/ 267286 w 1987009"/>
              <a:gd name="connsiteY165" fmla="*/ 1015059 h 1884082"/>
              <a:gd name="connsiteX166" fmla="*/ 111256 w 1987009"/>
              <a:gd name="connsiteY166" fmla="*/ 842747 h 1884082"/>
              <a:gd name="connsiteX167" fmla="*/ 301884 w 1987009"/>
              <a:gd name="connsiteY167" fmla="*/ 708425 h 1884082"/>
              <a:gd name="connsiteX168" fmla="*/ 1965979 w 1987009"/>
              <a:gd name="connsiteY168" fmla="*/ 702998 h 1884082"/>
              <a:gd name="connsiteX169" fmla="*/ 1972085 w 1987009"/>
              <a:gd name="connsiteY169" fmla="*/ 708425 h 1884082"/>
              <a:gd name="connsiteX170" fmla="*/ 1974798 w 1987009"/>
              <a:gd name="connsiteY170" fmla="*/ 756591 h 1884082"/>
              <a:gd name="connsiteX171" fmla="*/ 1969371 w 1987009"/>
              <a:gd name="connsiteY171" fmla="*/ 762696 h 1884082"/>
              <a:gd name="connsiteX172" fmla="*/ 1834371 w 1987009"/>
              <a:gd name="connsiteY172" fmla="*/ 768802 h 1884082"/>
              <a:gd name="connsiteX173" fmla="*/ 1771281 w 1987009"/>
              <a:gd name="connsiteY173" fmla="*/ 772194 h 1884082"/>
              <a:gd name="connsiteX174" fmla="*/ 1688517 w 1987009"/>
              <a:gd name="connsiteY174" fmla="*/ 846817 h 1884082"/>
              <a:gd name="connsiteX175" fmla="*/ 1792989 w 1987009"/>
              <a:gd name="connsiteY175" fmla="*/ 932294 h 1884082"/>
              <a:gd name="connsiteX176" fmla="*/ 1843190 w 1987009"/>
              <a:gd name="connsiteY176" fmla="*/ 929581 h 1884082"/>
              <a:gd name="connsiteX177" fmla="*/ 1978190 w 1987009"/>
              <a:gd name="connsiteY177" fmla="*/ 921440 h 1884082"/>
              <a:gd name="connsiteX178" fmla="*/ 1984296 w 1987009"/>
              <a:gd name="connsiteY178" fmla="*/ 926867 h 1884082"/>
              <a:gd name="connsiteX179" fmla="*/ 1987009 w 1987009"/>
              <a:gd name="connsiteY179" fmla="*/ 975712 h 1884082"/>
              <a:gd name="connsiteX180" fmla="*/ 1981582 w 1987009"/>
              <a:gd name="connsiteY180" fmla="*/ 981817 h 1884082"/>
              <a:gd name="connsiteX181" fmla="*/ 1836406 w 1987009"/>
              <a:gd name="connsiteY181" fmla="*/ 987244 h 1884082"/>
              <a:gd name="connsiteX182" fmla="*/ 1662738 w 1987009"/>
              <a:gd name="connsiteY182" fmla="*/ 997420 h 1884082"/>
              <a:gd name="connsiteX183" fmla="*/ 1656633 w 1987009"/>
              <a:gd name="connsiteY183" fmla="*/ 991993 h 1884082"/>
              <a:gd name="connsiteX184" fmla="*/ 1653919 w 1987009"/>
              <a:gd name="connsiteY184" fmla="*/ 946541 h 1884082"/>
              <a:gd name="connsiteX185" fmla="*/ 1659346 w 1987009"/>
              <a:gd name="connsiteY185" fmla="*/ 940435 h 1884082"/>
              <a:gd name="connsiteX186" fmla="*/ 1710225 w 1987009"/>
              <a:gd name="connsiteY186" fmla="*/ 939078 h 1884082"/>
              <a:gd name="connsiteX187" fmla="*/ 1640351 w 1987009"/>
              <a:gd name="connsiteY187" fmla="*/ 831893 h 1884082"/>
              <a:gd name="connsiteX188" fmla="*/ 1765854 w 1987009"/>
              <a:gd name="connsiteY188" fmla="*/ 714531 h 1884082"/>
              <a:gd name="connsiteX189" fmla="*/ 1830979 w 1987009"/>
              <a:gd name="connsiteY189" fmla="*/ 711139 h 1884082"/>
              <a:gd name="connsiteX190" fmla="*/ 1738549 w 1987009"/>
              <a:gd name="connsiteY190" fmla="*/ 405184 h 1884082"/>
              <a:gd name="connsiteX191" fmla="*/ 1643065 w 1987009"/>
              <a:gd name="connsiteY191" fmla="*/ 431641 h 1884082"/>
              <a:gd name="connsiteX192" fmla="*/ 1577940 w 1987009"/>
              <a:gd name="connsiteY192" fmla="*/ 578852 h 1884082"/>
              <a:gd name="connsiteX193" fmla="*/ 1737362 w 1987009"/>
              <a:gd name="connsiteY193" fmla="*/ 599883 h 1884082"/>
              <a:gd name="connsiteX194" fmla="*/ 1804523 w 1987009"/>
              <a:gd name="connsiteY194" fmla="*/ 451993 h 1884082"/>
              <a:gd name="connsiteX195" fmla="*/ 1738549 w 1987009"/>
              <a:gd name="connsiteY195" fmla="*/ 405184 h 1884082"/>
              <a:gd name="connsiteX196" fmla="*/ 1743637 w 1987009"/>
              <a:gd name="connsiteY196" fmla="*/ 353287 h 1884082"/>
              <a:gd name="connsiteX197" fmla="*/ 1841834 w 1987009"/>
              <a:gd name="connsiteY197" fmla="*/ 430963 h 1884082"/>
              <a:gd name="connsiteX198" fmla="*/ 1767889 w 1987009"/>
              <a:gd name="connsiteY198" fmla="*/ 652119 h 1884082"/>
              <a:gd name="connsiteX199" fmla="*/ 1540628 w 1987009"/>
              <a:gd name="connsiteY199" fmla="*/ 599883 h 1884082"/>
              <a:gd name="connsiteX200" fmla="*/ 1613894 w 1987009"/>
              <a:gd name="connsiteY200" fmla="*/ 379405 h 1884082"/>
              <a:gd name="connsiteX201" fmla="*/ 1743637 w 1987009"/>
              <a:gd name="connsiteY201" fmla="*/ 353287 h 1884082"/>
              <a:gd name="connsiteX202" fmla="*/ 244220 w 1987009"/>
              <a:gd name="connsiteY202" fmla="*/ 274933 h 1884082"/>
              <a:gd name="connsiteX203" fmla="*/ 411783 w 1987009"/>
              <a:gd name="connsiteY203" fmla="*/ 410611 h 1884082"/>
              <a:gd name="connsiteX204" fmla="*/ 587487 w 1987009"/>
              <a:gd name="connsiteY204" fmla="*/ 546290 h 1884082"/>
              <a:gd name="connsiteX205" fmla="*/ 588165 w 1987009"/>
              <a:gd name="connsiteY205" fmla="*/ 554430 h 1884082"/>
              <a:gd name="connsiteX206" fmla="*/ 559673 w 1987009"/>
              <a:gd name="connsiteY206" fmla="*/ 591064 h 1884082"/>
              <a:gd name="connsiteX207" fmla="*/ 551532 w 1987009"/>
              <a:gd name="connsiteY207" fmla="*/ 591742 h 1884082"/>
              <a:gd name="connsiteX208" fmla="*/ 379220 w 1987009"/>
              <a:gd name="connsiteY208" fmla="*/ 452671 h 1884082"/>
              <a:gd name="connsiteX209" fmla="*/ 207587 w 1987009"/>
              <a:gd name="connsiteY209" fmla="*/ 321063 h 1884082"/>
              <a:gd name="connsiteX210" fmla="*/ 206909 w 1987009"/>
              <a:gd name="connsiteY210" fmla="*/ 312923 h 1884082"/>
              <a:gd name="connsiteX211" fmla="*/ 236080 w 1987009"/>
              <a:gd name="connsiteY211" fmla="*/ 275611 h 1884082"/>
              <a:gd name="connsiteX212" fmla="*/ 244220 w 1987009"/>
              <a:gd name="connsiteY212" fmla="*/ 274933 h 1884082"/>
              <a:gd name="connsiteX213" fmla="*/ 445703 w 1987009"/>
              <a:gd name="connsiteY213" fmla="*/ 230158 h 1884082"/>
              <a:gd name="connsiteX214" fmla="*/ 453844 w 1987009"/>
              <a:gd name="connsiteY214" fmla="*/ 230837 h 1884082"/>
              <a:gd name="connsiteX215" fmla="*/ 556959 w 1987009"/>
              <a:gd name="connsiteY215" fmla="*/ 344807 h 1884082"/>
              <a:gd name="connsiteX216" fmla="*/ 669572 w 1987009"/>
              <a:gd name="connsiteY216" fmla="*/ 465560 h 1884082"/>
              <a:gd name="connsiteX217" fmla="*/ 668894 w 1987009"/>
              <a:gd name="connsiteY217" fmla="*/ 473701 h 1884082"/>
              <a:gd name="connsiteX218" fmla="*/ 633618 w 1987009"/>
              <a:gd name="connsiteY218" fmla="*/ 505585 h 1884082"/>
              <a:gd name="connsiteX219" fmla="*/ 625477 w 1987009"/>
              <a:gd name="connsiteY219" fmla="*/ 504907 h 1884082"/>
              <a:gd name="connsiteX220" fmla="*/ 515577 w 1987009"/>
              <a:gd name="connsiteY220" fmla="*/ 383475 h 1884082"/>
              <a:gd name="connsiteX221" fmla="*/ 409748 w 1987009"/>
              <a:gd name="connsiteY221" fmla="*/ 270862 h 1884082"/>
              <a:gd name="connsiteX222" fmla="*/ 410427 w 1987009"/>
              <a:gd name="connsiteY222" fmla="*/ 262721 h 1884082"/>
              <a:gd name="connsiteX223" fmla="*/ 377185 w 1987009"/>
              <a:gd name="connsiteY223" fmla="*/ 154857 h 1884082"/>
              <a:gd name="connsiteX224" fmla="*/ 385326 w 1987009"/>
              <a:gd name="connsiteY224" fmla="*/ 155535 h 1884082"/>
              <a:gd name="connsiteX225" fmla="*/ 420603 w 1987009"/>
              <a:gd name="connsiteY225" fmla="*/ 194203 h 1884082"/>
              <a:gd name="connsiteX226" fmla="*/ 419924 w 1987009"/>
              <a:gd name="connsiteY226" fmla="*/ 202344 h 1884082"/>
              <a:gd name="connsiteX227" fmla="*/ 384648 w 1987009"/>
              <a:gd name="connsiteY227" fmla="*/ 234907 h 1884082"/>
              <a:gd name="connsiteX228" fmla="*/ 376507 w 1987009"/>
              <a:gd name="connsiteY228" fmla="*/ 234229 h 1884082"/>
              <a:gd name="connsiteX229" fmla="*/ 341231 w 1987009"/>
              <a:gd name="connsiteY229" fmla="*/ 195560 h 1884082"/>
              <a:gd name="connsiteX230" fmla="*/ 341909 w 1987009"/>
              <a:gd name="connsiteY230" fmla="*/ 187420 h 1884082"/>
              <a:gd name="connsiteX231" fmla="*/ 1431406 w 1987009"/>
              <a:gd name="connsiteY231" fmla="*/ 74806 h 1884082"/>
              <a:gd name="connsiteX232" fmla="*/ 1477537 w 1987009"/>
              <a:gd name="connsiteY232" fmla="*/ 103977 h 1884082"/>
              <a:gd name="connsiteX233" fmla="*/ 1481607 w 1987009"/>
              <a:gd name="connsiteY233" fmla="*/ 112118 h 1884082"/>
              <a:gd name="connsiteX234" fmla="*/ 1427336 w 1987009"/>
              <a:gd name="connsiteY234" fmla="*/ 373299 h 1884082"/>
              <a:gd name="connsiteX235" fmla="*/ 1626784 w 1987009"/>
              <a:gd name="connsiteY235" fmla="*/ 205058 h 1884082"/>
              <a:gd name="connsiteX236" fmla="*/ 1636281 w 1987009"/>
              <a:gd name="connsiteY236" fmla="*/ 204379 h 1884082"/>
              <a:gd name="connsiteX237" fmla="*/ 1677663 w 1987009"/>
              <a:gd name="connsiteY237" fmla="*/ 230158 h 1884082"/>
              <a:gd name="connsiteX238" fmla="*/ 1677663 w 1987009"/>
              <a:gd name="connsiteY238" fmla="*/ 236942 h 1884082"/>
              <a:gd name="connsiteX239" fmla="*/ 1322864 w 1987009"/>
              <a:gd name="connsiteY239" fmla="*/ 519153 h 1884082"/>
              <a:gd name="connsiteX240" fmla="*/ 1313366 w 1987009"/>
              <a:gd name="connsiteY240" fmla="*/ 519832 h 1884082"/>
              <a:gd name="connsiteX241" fmla="*/ 1276055 w 1987009"/>
              <a:gd name="connsiteY241" fmla="*/ 496088 h 1884082"/>
              <a:gd name="connsiteX242" fmla="*/ 1276055 w 1987009"/>
              <a:gd name="connsiteY242" fmla="*/ 489304 h 1884082"/>
              <a:gd name="connsiteX243" fmla="*/ 1360854 w 1987009"/>
              <a:gd name="connsiteY243" fmla="*/ 421465 h 1884082"/>
              <a:gd name="connsiteX244" fmla="*/ 1425301 w 1987009"/>
              <a:gd name="connsiteY244" fmla="*/ 76842 h 1884082"/>
              <a:gd name="connsiteX245" fmla="*/ 1431406 w 1987009"/>
              <a:gd name="connsiteY245" fmla="*/ 74806 h 1884082"/>
              <a:gd name="connsiteX246" fmla="*/ 1007411 w 1987009"/>
              <a:gd name="connsiteY246" fmla="*/ 42922 h 1884082"/>
              <a:gd name="connsiteX247" fmla="*/ 917185 w 1987009"/>
              <a:gd name="connsiteY247" fmla="*/ 144003 h 1884082"/>
              <a:gd name="connsiteX248" fmla="*/ 1101708 w 1987009"/>
              <a:gd name="connsiteY248" fmla="*/ 136541 h 1884082"/>
              <a:gd name="connsiteX249" fmla="*/ 1007411 w 1987009"/>
              <a:gd name="connsiteY249" fmla="*/ 42922 h 1884082"/>
              <a:gd name="connsiteX250" fmla="*/ 772688 w 1987009"/>
              <a:gd name="connsiteY250" fmla="*/ 36138 h 1884082"/>
              <a:gd name="connsiteX251" fmla="*/ 778115 w 1987009"/>
              <a:gd name="connsiteY251" fmla="*/ 38852 h 1884082"/>
              <a:gd name="connsiteX252" fmla="*/ 815427 w 1987009"/>
              <a:gd name="connsiteY252" fmla="*/ 378726 h 1884082"/>
              <a:gd name="connsiteX253" fmla="*/ 810678 w 1987009"/>
              <a:gd name="connsiteY253" fmla="*/ 386867 h 1884082"/>
              <a:gd name="connsiteX254" fmla="*/ 757764 w 1987009"/>
              <a:gd name="connsiteY254" fmla="*/ 412646 h 1884082"/>
              <a:gd name="connsiteX255" fmla="*/ 748266 w 1987009"/>
              <a:gd name="connsiteY255" fmla="*/ 411289 h 1884082"/>
              <a:gd name="connsiteX256" fmla="*/ 501331 w 1987009"/>
              <a:gd name="connsiteY256" fmla="*/ 175209 h 1884082"/>
              <a:gd name="connsiteX257" fmla="*/ 502688 w 1987009"/>
              <a:gd name="connsiteY257" fmla="*/ 169103 h 1884082"/>
              <a:gd name="connsiteX258" fmla="*/ 550176 w 1987009"/>
              <a:gd name="connsiteY258" fmla="*/ 146038 h 1884082"/>
              <a:gd name="connsiteX259" fmla="*/ 559673 w 1987009"/>
              <a:gd name="connsiteY259" fmla="*/ 148073 h 1884082"/>
              <a:gd name="connsiteX260" fmla="*/ 764547 w 1987009"/>
              <a:gd name="connsiteY260" fmla="*/ 354983 h 1884082"/>
              <a:gd name="connsiteX261" fmla="*/ 728593 w 1987009"/>
              <a:gd name="connsiteY261" fmla="*/ 64631 h 1884082"/>
              <a:gd name="connsiteX262" fmla="*/ 732663 w 1987009"/>
              <a:gd name="connsiteY262" fmla="*/ 55812 h 1884082"/>
              <a:gd name="connsiteX263" fmla="*/ 1005376 w 1987009"/>
              <a:gd name="connsiteY263" fmla="*/ 184 h 1884082"/>
              <a:gd name="connsiteX264" fmla="*/ 1166155 w 1987009"/>
              <a:gd name="connsiteY264" fmla="*/ 169103 h 1884082"/>
              <a:gd name="connsiteX265" fmla="*/ 1160728 w 1987009"/>
              <a:gd name="connsiteY265" fmla="*/ 175209 h 1884082"/>
              <a:gd name="connsiteX266" fmla="*/ 916507 w 1987009"/>
              <a:gd name="connsiteY266" fmla="*/ 184706 h 1884082"/>
              <a:gd name="connsiteX267" fmla="*/ 1020301 w 1987009"/>
              <a:gd name="connsiteY267" fmla="*/ 302747 h 1884082"/>
              <a:gd name="connsiteX268" fmla="*/ 1105100 w 1987009"/>
              <a:gd name="connsiteY268" fmla="*/ 225410 h 1884082"/>
              <a:gd name="connsiteX269" fmla="*/ 1111884 w 1987009"/>
              <a:gd name="connsiteY269" fmla="*/ 219304 h 1884082"/>
              <a:gd name="connsiteX270" fmla="*/ 1156657 w 1987009"/>
              <a:gd name="connsiteY270" fmla="*/ 217948 h 1884082"/>
              <a:gd name="connsiteX271" fmla="*/ 1162085 w 1987009"/>
              <a:gd name="connsiteY271" fmla="*/ 223375 h 1884082"/>
              <a:gd name="connsiteX272" fmla="*/ 1021657 w 1987009"/>
              <a:gd name="connsiteY272" fmla="*/ 345485 h 1884082"/>
              <a:gd name="connsiteX273" fmla="*/ 857487 w 1987009"/>
              <a:gd name="connsiteY273" fmla="*/ 179958 h 1884082"/>
              <a:gd name="connsiteX274" fmla="*/ 1005376 w 1987009"/>
              <a:gd name="connsiteY274" fmla="*/ 184 h 188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987009" h="1884082">
                <a:moveTo>
                  <a:pt x="1381206" y="1687344"/>
                </a:moveTo>
                <a:lnTo>
                  <a:pt x="1204824" y="1742294"/>
                </a:lnTo>
                <a:cubicBezTo>
                  <a:pt x="1222462" y="1792495"/>
                  <a:pt x="1264523" y="1826415"/>
                  <a:pt x="1320151" y="1808777"/>
                </a:cubicBezTo>
                <a:cubicBezTo>
                  <a:pt x="1372387" y="1792495"/>
                  <a:pt x="1391382" y="1749756"/>
                  <a:pt x="1381206" y="1687344"/>
                </a:cubicBezTo>
                <a:close/>
                <a:moveTo>
                  <a:pt x="904614" y="1538915"/>
                </a:moveTo>
                <a:cubicBezTo>
                  <a:pt x="921765" y="1536869"/>
                  <a:pt x="940420" y="1537251"/>
                  <a:pt x="959924" y="1540134"/>
                </a:cubicBezTo>
                <a:cubicBezTo>
                  <a:pt x="1046758" y="1553023"/>
                  <a:pt x="1097638" y="1599154"/>
                  <a:pt x="1089497" y="1675812"/>
                </a:cubicBezTo>
                <a:cubicBezTo>
                  <a:pt x="1088819" y="1679204"/>
                  <a:pt x="1086105" y="1681239"/>
                  <a:pt x="1082713" y="1680561"/>
                </a:cubicBezTo>
                <a:lnTo>
                  <a:pt x="1038618" y="1673777"/>
                </a:lnTo>
                <a:cubicBezTo>
                  <a:pt x="1035226" y="1673099"/>
                  <a:pt x="1033190" y="1670385"/>
                  <a:pt x="1033869" y="1666993"/>
                </a:cubicBezTo>
                <a:cubicBezTo>
                  <a:pt x="1038618" y="1615435"/>
                  <a:pt x="1010803" y="1587621"/>
                  <a:pt x="952462" y="1579480"/>
                </a:cubicBezTo>
                <a:cubicBezTo>
                  <a:pt x="904296" y="1572696"/>
                  <a:pt x="869698" y="1588300"/>
                  <a:pt x="864271" y="1624254"/>
                </a:cubicBezTo>
                <a:cubicBezTo>
                  <a:pt x="852060" y="1709732"/>
                  <a:pt x="1082035" y="1673099"/>
                  <a:pt x="1063040" y="1804707"/>
                </a:cubicBezTo>
                <a:cubicBezTo>
                  <a:pt x="1053542" y="1867797"/>
                  <a:pt x="997914" y="1892898"/>
                  <a:pt x="919899" y="1881365"/>
                </a:cubicBezTo>
                <a:cubicBezTo>
                  <a:pt x="843919" y="1870511"/>
                  <a:pt x="793040" y="1830485"/>
                  <a:pt x="797788" y="1761968"/>
                </a:cubicBezTo>
                <a:cubicBezTo>
                  <a:pt x="798467" y="1758576"/>
                  <a:pt x="801180" y="1756541"/>
                  <a:pt x="804572" y="1757219"/>
                </a:cubicBezTo>
                <a:lnTo>
                  <a:pt x="847311" y="1763325"/>
                </a:lnTo>
                <a:cubicBezTo>
                  <a:pt x="850703" y="1764003"/>
                  <a:pt x="852738" y="1766717"/>
                  <a:pt x="852738" y="1770109"/>
                </a:cubicBezTo>
                <a:cubicBezTo>
                  <a:pt x="850703" y="1812169"/>
                  <a:pt x="879195" y="1835913"/>
                  <a:pt x="926683" y="1842697"/>
                </a:cubicBezTo>
                <a:cubicBezTo>
                  <a:pt x="970778" y="1849481"/>
                  <a:pt x="1001984" y="1836591"/>
                  <a:pt x="1007412" y="1800636"/>
                </a:cubicBezTo>
                <a:cubicBezTo>
                  <a:pt x="1019623" y="1719229"/>
                  <a:pt x="788969" y="1757898"/>
                  <a:pt x="808643" y="1620862"/>
                </a:cubicBezTo>
                <a:cubicBezTo>
                  <a:pt x="815257" y="1573035"/>
                  <a:pt x="853162" y="1545052"/>
                  <a:pt x="904614" y="1538915"/>
                </a:cubicBezTo>
                <a:close/>
                <a:moveTo>
                  <a:pt x="1295718" y="1511683"/>
                </a:moveTo>
                <a:cubicBezTo>
                  <a:pt x="1359158" y="1517789"/>
                  <a:pt x="1406476" y="1564725"/>
                  <a:pt x="1429372" y="1636465"/>
                </a:cubicBezTo>
                <a:cubicBezTo>
                  <a:pt x="1459899" y="1734832"/>
                  <a:pt x="1424623" y="1819631"/>
                  <a:pt x="1333718" y="1848802"/>
                </a:cubicBezTo>
                <a:cubicBezTo>
                  <a:pt x="1242814" y="1877294"/>
                  <a:pt x="1168869" y="1831842"/>
                  <a:pt x="1134271" y="1727370"/>
                </a:cubicBezTo>
                <a:cubicBezTo>
                  <a:pt x="1133593" y="1723978"/>
                  <a:pt x="1134950" y="1721264"/>
                  <a:pt x="1138342" y="1719907"/>
                </a:cubicBezTo>
                <a:lnTo>
                  <a:pt x="1371030" y="1647319"/>
                </a:lnTo>
                <a:cubicBezTo>
                  <a:pt x="1345251" y="1572018"/>
                  <a:pt x="1301834" y="1541490"/>
                  <a:pt x="1240100" y="1560485"/>
                </a:cubicBezTo>
                <a:cubicBezTo>
                  <a:pt x="1193291" y="1574731"/>
                  <a:pt x="1172940" y="1608651"/>
                  <a:pt x="1178367" y="1656817"/>
                </a:cubicBezTo>
                <a:cubicBezTo>
                  <a:pt x="1179045" y="1660209"/>
                  <a:pt x="1176332" y="1663601"/>
                  <a:pt x="1173618" y="1664279"/>
                </a:cubicBezTo>
                <a:lnTo>
                  <a:pt x="1130201" y="1678525"/>
                </a:lnTo>
                <a:cubicBezTo>
                  <a:pt x="1126809" y="1679204"/>
                  <a:pt x="1124774" y="1677847"/>
                  <a:pt x="1123417" y="1674455"/>
                </a:cubicBezTo>
                <a:cubicBezTo>
                  <a:pt x="1113241" y="1607294"/>
                  <a:pt x="1145804" y="1544882"/>
                  <a:pt x="1227211" y="1519781"/>
                </a:cubicBezTo>
                <a:cubicBezTo>
                  <a:pt x="1251633" y="1512149"/>
                  <a:pt x="1274571" y="1509648"/>
                  <a:pt x="1295718" y="1511683"/>
                </a:cubicBezTo>
                <a:close/>
                <a:moveTo>
                  <a:pt x="688568" y="1443801"/>
                </a:moveTo>
                <a:cubicBezTo>
                  <a:pt x="701457" y="1446515"/>
                  <a:pt x="718417" y="1450585"/>
                  <a:pt x="731985" y="1458048"/>
                </a:cubicBezTo>
                <a:cubicBezTo>
                  <a:pt x="774723" y="1480435"/>
                  <a:pt x="798467" y="1521817"/>
                  <a:pt x="764548" y="1584907"/>
                </a:cubicBezTo>
                <a:lnTo>
                  <a:pt x="672965" y="1755862"/>
                </a:lnTo>
                <a:lnTo>
                  <a:pt x="705527" y="1772822"/>
                </a:lnTo>
                <a:cubicBezTo>
                  <a:pt x="708241" y="1774179"/>
                  <a:pt x="709598" y="1777570"/>
                  <a:pt x="707563" y="1780962"/>
                </a:cubicBezTo>
                <a:lnTo>
                  <a:pt x="691281" y="1810812"/>
                </a:lnTo>
                <a:cubicBezTo>
                  <a:pt x="689924" y="1813525"/>
                  <a:pt x="686532" y="1814882"/>
                  <a:pt x="683141" y="1813525"/>
                </a:cubicBezTo>
                <a:lnTo>
                  <a:pt x="650578" y="1796565"/>
                </a:lnTo>
                <a:lnTo>
                  <a:pt x="614623" y="1865083"/>
                </a:lnTo>
                <a:cubicBezTo>
                  <a:pt x="613266" y="1867797"/>
                  <a:pt x="609874" y="1869153"/>
                  <a:pt x="606482" y="1867118"/>
                </a:cubicBezTo>
                <a:lnTo>
                  <a:pt x="564422" y="1844731"/>
                </a:lnTo>
                <a:cubicBezTo>
                  <a:pt x="561708" y="1843375"/>
                  <a:pt x="560352" y="1839983"/>
                  <a:pt x="561708" y="1836591"/>
                </a:cubicBezTo>
                <a:lnTo>
                  <a:pt x="598342" y="1768751"/>
                </a:lnTo>
                <a:lnTo>
                  <a:pt x="531859" y="1732797"/>
                </a:lnTo>
                <a:cubicBezTo>
                  <a:pt x="529146" y="1731440"/>
                  <a:pt x="527789" y="1728048"/>
                  <a:pt x="529824" y="1724656"/>
                </a:cubicBezTo>
                <a:lnTo>
                  <a:pt x="546105" y="1694807"/>
                </a:lnTo>
                <a:cubicBezTo>
                  <a:pt x="547462" y="1692093"/>
                  <a:pt x="550854" y="1690736"/>
                  <a:pt x="554246" y="1692771"/>
                </a:cubicBezTo>
                <a:lnTo>
                  <a:pt x="620728" y="1728726"/>
                </a:lnTo>
                <a:lnTo>
                  <a:pt x="711633" y="1559128"/>
                </a:lnTo>
                <a:cubicBezTo>
                  <a:pt x="730628" y="1523852"/>
                  <a:pt x="724522" y="1506892"/>
                  <a:pt x="699422" y="1493324"/>
                </a:cubicBezTo>
                <a:cubicBezTo>
                  <a:pt x="687889" y="1487219"/>
                  <a:pt x="676357" y="1483148"/>
                  <a:pt x="667538" y="1480435"/>
                </a:cubicBezTo>
                <a:cubicBezTo>
                  <a:pt x="664146" y="1479756"/>
                  <a:pt x="662789" y="1476364"/>
                  <a:pt x="664146" y="1474329"/>
                </a:cubicBezTo>
                <a:lnTo>
                  <a:pt x="679749" y="1447872"/>
                </a:lnTo>
                <a:cubicBezTo>
                  <a:pt x="681105" y="1445158"/>
                  <a:pt x="685176" y="1443123"/>
                  <a:pt x="688568" y="1443801"/>
                </a:cubicBezTo>
                <a:close/>
                <a:moveTo>
                  <a:pt x="1553602" y="1402336"/>
                </a:moveTo>
                <a:cubicBezTo>
                  <a:pt x="1526212" y="1401063"/>
                  <a:pt x="1502638" y="1411918"/>
                  <a:pt x="1485000" y="1434983"/>
                </a:cubicBezTo>
                <a:cubicBezTo>
                  <a:pt x="1445653" y="1485184"/>
                  <a:pt x="1468718" y="1540812"/>
                  <a:pt x="1527738" y="1585586"/>
                </a:cubicBezTo>
                <a:cubicBezTo>
                  <a:pt x="1590150" y="1633074"/>
                  <a:pt x="1649849" y="1641893"/>
                  <a:pt x="1687839" y="1591692"/>
                </a:cubicBezTo>
                <a:cubicBezTo>
                  <a:pt x="1721759" y="1547596"/>
                  <a:pt x="1710226" y="1493325"/>
                  <a:pt x="1645100" y="1442445"/>
                </a:cubicBezTo>
                <a:cubicBezTo>
                  <a:pt x="1612198" y="1417006"/>
                  <a:pt x="1580992" y="1403607"/>
                  <a:pt x="1553602" y="1402336"/>
                </a:cubicBezTo>
                <a:close/>
                <a:moveTo>
                  <a:pt x="160100" y="1361038"/>
                </a:moveTo>
                <a:cubicBezTo>
                  <a:pt x="162813" y="1359681"/>
                  <a:pt x="166205" y="1361038"/>
                  <a:pt x="167562" y="1363751"/>
                </a:cubicBezTo>
                <a:lnTo>
                  <a:pt x="189271" y="1406490"/>
                </a:lnTo>
                <a:cubicBezTo>
                  <a:pt x="190628" y="1409204"/>
                  <a:pt x="189271" y="1412596"/>
                  <a:pt x="186557" y="1413952"/>
                </a:cubicBezTo>
                <a:lnTo>
                  <a:pt x="139748" y="1437696"/>
                </a:lnTo>
                <a:cubicBezTo>
                  <a:pt x="137035" y="1439053"/>
                  <a:pt x="133643" y="1437696"/>
                  <a:pt x="132286" y="1434982"/>
                </a:cubicBezTo>
                <a:lnTo>
                  <a:pt x="110577" y="1392244"/>
                </a:lnTo>
                <a:cubicBezTo>
                  <a:pt x="109220" y="1389530"/>
                  <a:pt x="110577" y="1386138"/>
                  <a:pt x="113291" y="1384782"/>
                </a:cubicBezTo>
                <a:close/>
                <a:moveTo>
                  <a:pt x="1548769" y="1298626"/>
                </a:moveTo>
                <a:lnTo>
                  <a:pt x="1738718" y="1445837"/>
                </a:lnTo>
                <a:lnTo>
                  <a:pt x="1896105" y="1563878"/>
                </a:lnTo>
                <a:cubicBezTo>
                  <a:pt x="1898819" y="1565913"/>
                  <a:pt x="1898819" y="1569305"/>
                  <a:pt x="1897462" y="1572018"/>
                </a:cubicBezTo>
                <a:lnTo>
                  <a:pt x="1868291" y="1610008"/>
                </a:lnTo>
                <a:cubicBezTo>
                  <a:pt x="1866256" y="1612722"/>
                  <a:pt x="1862864" y="1612722"/>
                  <a:pt x="1860151" y="1611365"/>
                </a:cubicBezTo>
                <a:lnTo>
                  <a:pt x="1730578" y="1510963"/>
                </a:lnTo>
                <a:cubicBezTo>
                  <a:pt x="1745502" y="1550310"/>
                  <a:pt x="1741432" y="1591692"/>
                  <a:pt x="1712939" y="1629003"/>
                </a:cubicBezTo>
                <a:cubicBezTo>
                  <a:pt x="1658668" y="1699556"/>
                  <a:pt x="1571155" y="1692094"/>
                  <a:pt x="1494497" y="1633752"/>
                </a:cubicBezTo>
                <a:cubicBezTo>
                  <a:pt x="1419196" y="1576767"/>
                  <a:pt x="1387990" y="1489933"/>
                  <a:pt x="1440904" y="1420737"/>
                </a:cubicBezTo>
                <a:cubicBezTo>
                  <a:pt x="1469397" y="1382747"/>
                  <a:pt x="1506708" y="1367144"/>
                  <a:pt x="1550125" y="1372571"/>
                </a:cubicBezTo>
                <a:lnTo>
                  <a:pt x="1513492" y="1346114"/>
                </a:lnTo>
                <a:cubicBezTo>
                  <a:pt x="1510779" y="1344079"/>
                  <a:pt x="1510779" y="1340687"/>
                  <a:pt x="1512135" y="1337973"/>
                </a:cubicBezTo>
                <a:lnTo>
                  <a:pt x="1540628" y="1299983"/>
                </a:lnTo>
                <a:cubicBezTo>
                  <a:pt x="1542663" y="1297269"/>
                  <a:pt x="1546055" y="1297269"/>
                  <a:pt x="1548769" y="1298626"/>
                </a:cubicBezTo>
                <a:close/>
                <a:moveTo>
                  <a:pt x="546105" y="1297947"/>
                </a:moveTo>
                <a:cubicBezTo>
                  <a:pt x="548819" y="1295912"/>
                  <a:pt x="552211" y="1296591"/>
                  <a:pt x="554246" y="1299304"/>
                </a:cubicBezTo>
                <a:lnTo>
                  <a:pt x="582738" y="1337294"/>
                </a:lnTo>
                <a:cubicBezTo>
                  <a:pt x="584773" y="1340008"/>
                  <a:pt x="584095" y="1343400"/>
                  <a:pt x="581381" y="1345435"/>
                </a:cubicBezTo>
                <a:lnTo>
                  <a:pt x="402964" y="1476365"/>
                </a:lnTo>
                <a:lnTo>
                  <a:pt x="232009" y="1608651"/>
                </a:lnTo>
                <a:cubicBezTo>
                  <a:pt x="229296" y="1610686"/>
                  <a:pt x="225904" y="1610008"/>
                  <a:pt x="223869" y="1607294"/>
                </a:cubicBezTo>
                <a:lnTo>
                  <a:pt x="195376" y="1569304"/>
                </a:lnTo>
                <a:cubicBezTo>
                  <a:pt x="193341" y="1566591"/>
                  <a:pt x="194020" y="1563199"/>
                  <a:pt x="196733" y="1561164"/>
                </a:cubicBezTo>
                <a:lnTo>
                  <a:pt x="370401" y="1433626"/>
                </a:lnTo>
                <a:close/>
                <a:moveTo>
                  <a:pt x="487763" y="1194153"/>
                </a:moveTo>
                <a:cubicBezTo>
                  <a:pt x="490477" y="1192797"/>
                  <a:pt x="493869" y="1194153"/>
                  <a:pt x="495226" y="1196867"/>
                </a:cubicBezTo>
                <a:lnTo>
                  <a:pt x="516934" y="1239606"/>
                </a:lnTo>
                <a:cubicBezTo>
                  <a:pt x="518291" y="1242319"/>
                  <a:pt x="516934" y="1245711"/>
                  <a:pt x="514220" y="1247068"/>
                </a:cubicBezTo>
                <a:lnTo>
                  <a:pt x="367009" y="1320334"/>
                </a:lnTo>
                <a:lnTo>
                  <a:pt x="229974" y="1391565"/>
                </a:lnTo>
                <a:cubicBezTo>
                  <a:pt x="227261" y="1392922"/>
                  <a:pt x="223869" y="1391565"/>
                  <a:pt x="222512" y="1388852"/>
                </a:cubicBezTo>
                <a:lnTo>
                  <a:pt x="200803" y="1346113"/>
                </a:lnTo>
                <a:cubicBezTo>
                  <a:pt x="199447" y="1343400"/>
                  <a:pt x="200803" y="1340008"/>
                  <a:pt x="203517" y="1338651"/>
                </a:cubicBezTo>
                <a:lnTo>
                  <a:pt x="341231" y="1270133"/>
                </a:lnTo>
                <a:close/>
                <a:moveTo>
                  <a:pt x="155352" y="1066615"/>
                </a:moveTo>
                <a:cubicBezTo>
                  <a:pt x="158744" y="1065937"/>
                  <a:pt x="161457" y="1067972"/>
                  <a:pt x="162136" y="1070686"/>
                </a:cubicBezTo>
                <a:lnTo>
                  <a:pt x="179095" y="1140560"/>
                </a:lnTo>
                <a:lnTo>
                  <a:pt x="312060" y="1107997"/>
                </a:lnTo>
                <a:lnTo>
                  <a:pt x="450452" y="1072721"/>
                </a:lnTo>
                <a:cubicBezTo>
                  <a:pt x="453844" y="1072043"/>
                  <a:pt x="456558" y="1074078"/>
                  <a:pt x="457236" y="1076791"/>
                </a:cubicBezTo>
                <a:lnTo>
                  <a:pt x="468769" y="1124957"/>
                </a:lnTo>
                <a:cubicBezTo>
                  <a:pt x="469447" y="1128349"/>
                  <a:pt x="467412" y="1131063"/>
                  <a:pt x="464699" y="1131741"/>
                </a:cubicBezTo>
                <a:lnTo>
                  <a:pt x="324950" y="1162947"/>
                </a:lnTo>
                <a:lnTo>
                  <a:pt x="191985" y="1194832"/>
                </a:lnTo>
                <a:lnTo>
                  <a:pt x="202839" y="1239605"/>
                </a:lnTo>
                <a:cubicBezTo>
                  <a:pt x="203518" y="1242997"/>
                  <a:pt x="201482" y="1245711"/>
                  <a:pt x="198769" y="1246389"/>
                </a:cubicBezTo>
                <a:lnTo>
                  <a:pt x="166206" y="1253852"/>
                </a:lnTo>
                <a:cubicBezTo>
                  <a:pt x="162814" y="1254530"/>
                  <a:pt x="160100" y="1252495"/>
                  <a:pt x="159422" y="1249781"/>
                </a:cubicBezTo>
                <a:lnTo>
                  <a:pt x="148568" y="1205008"/>
                </a:lnTo>
                <a:lnTo>
                  <a:pt x="120754" y="1211791"/>
                </a:lnTo>
                <a:cubicBezTo>
                  <a:pt x="50201" y="1228751"/>
                  <a:pt x="14925" y="1191440"/>
                  <a:pt x="5427" y="1150736"/>
                </a:cubicBezTo>
                <a:cubicBezTo>
                  <a:pt x="2035" y="1136490"/>
                  <a:pt x="0" y="1119530"/>
                  <a:pt x="0" y="1107997"/>
                </a:cubicBezTo>
                <a:cubicBezTo>
                  <a:pt x="0" y="1104605"/>
                  <a:pt x="2714" y="1101214"/>
                  <a:pt x="5427" y="1100535"/>
                </a:cubicBezTo>
                <a:lnTo>
                  <a:pt x="37312" y="1093073"/>
                </a:lnTo>
                <a:cubicBezTo>
                  <a:pt x="40025" y="1092394"/>
                  <a:pt x="42739" y="1094430"/>
                  <a:pt x="42739" y="1097822"/>
                </a:cubicBezTo>
                <a:cubicBezTo>
                  <a:pt x="42060" y="1107319"/>
                  <a:pt x="43417" y="1117495"/>
                  <a:pt x="46131" y="1128349"/>
                </a:cubicBezTo>
                <a:cubicBezTo>
                  <a:pt x="52236" y="1154128"/>
                  <a:pt x="71910" y="1165661"/>
                  <a:pt x="111935" y="1156163"/>
                </a:cubicBezTo>
                <a:lnTo>
                  <a:pt x="135678" y="1150736"/>
                </a:lnTo>
                <a:lnTo>
                  <a:pt x="118719" y="1080862"/>
                </a:lnTo>
                <a:cubicBezTo>
                  <a:pt x="118040" y="1077470"/>
                  <a:pt x="120075" y="1074756"/>
                  <a:pt x="122789" y="1074078"/>
                </a:cubicBezTo>
                <a:close/>
                <a:moveTo>
                  <a:pt x="1659346" y="1048978"/>
                </a:moveTo>
                <a:lnTo>
                  <a:pt x="1818768" y="1080862"/>
                </a:lnTo>
                <a:lnTo>
                  <a:pt x="1972085" y="1107998"/>
                </a:lnTo>
                <a:cubicBezTo>
                  <a:pt x="1975477" y="1108676"/>
                  <a:pt x="1977512" y="1111390"/>
                  <a:pt x="1976834" y="1114782"/>
                </a:cubicBezTo>
                <a:lnTo>
                  <a:pt x="1968015" y="1161591"/>
                </a:lnTo>
                <a:cubicBezTo>
                  <a:pt x="1967336" y="1164983"/>
                  <a:pt x="1964623" y="1167018"/>
                  <a:pt x="1961231" y="1166340"/>
                </a:cubicBezTo>
                <a:lnTo>
                  <a:pt x="1906959" y="1153450"/>
                </a:lnTo>
                <a:cubicBezTo>
                  <a:pt x="1944271" y="1184656"/>
                  <a:pt x="1958517" y="1230109"/>
                  <a:pt x="1949698" y="1275561"/>
                </a:cubicBezTo>
                <a:cubicBezTo>
                  <a:pt x="1948341" y="1282345"/>
                  <a:pt x="1946306" y="1288450"/>
                  <a:pt x="1944271" y="1293878"/>
                </a:cubicBezTo>
                <a:cubicBezTo>
                  <a:pt x="1942914" y="1296591"/>
                  <a:pt x="1939522" y="1298626"/>
                  <a:pt x="1936130" y="1297948"/>
                </a:cubicBezTo>
                <a:lnTo>
                  <a:pt x="1900854" y="1291164"/>
                </a:lnTo>
                <a:cubicBezTo>
                  <a:pt x="1898140" y="1290486"/>
                  <a:pt x="1896105" y="1287772"/>
                  <a:pt x="1897462" y="1284380"/>
                </a:cubicBezTo>
                <a:cubicBezTo>
                  <a:pt x="1898819" y="1279631"/>
                  <a:pt x="1900854" y="1273526"/>
                  <a:pt x="1902211" y="1266064"/>
                </a:cubicBezTo>
                <a:cubicBezTo>
                  <a:pt x="1912386" y="1211114"/>
                  <a:pt x="1887965" y="1157521"/>
                  <a:pt x="1818090" y="1137169"/>
                </a:cubicBezTo>
                <a:lnTo>
                  <a:pt x="1647814" y="1105963"/>
                </a:lnTo>
                <a:cubicBezTo>
                  <a:pt x="1644422" y="1105284"/>
                  <a:pt x="1642387" y="1102571"/>
                  <a:pt x="1643065" y="1099179"/>
                </a:cubicBezTo>
                <a:lnTo>
                  <a:pt x="1652562" y="1053727"/>
                </a:lnTo>
                <a:cubicBezTo>
                  <a:pt x="1653241" y="1050335"/>
                  <a:pt x="1655954" y="1048300"/>
                  <a:pt x="1659346" y="1048978"/>
                </a:cubicBezTo>
                <a:close/>
                <a:moveTo>
                  <a:pt x="260502" y="767445"/>
                </a:moveTo>
                <a:cubicBezTo>
                  <a:pt x="208266" y="763375"/>
                  <a:pt x="160100" y="788476"/>
                  <a:pt x="153995" y="846817"/>
                </a:cubicBezTo>
                <a:cubicBezTo>
                  <a:pt x="147889" y="901089"/>
                  <a:pt x="179774" y="936365"/>
                  <a:pt x="240829" y="951290"/>
                </a:cubicBezTo>
                <a:close/>
                <a:moveTo>
                  <a:pt x="301884" y="708425"/>
                </a:moveTo>
                <a:cubicBezTo>
                  <a:pt x="305276" y="709104"/>
                  <a:pt x="307311" y="711817"/>
                  <a:pt x="307311" y="714531"/>
                </a:cubicBezTo>
                <a:lnTo>
                  <a:pt x="280854" y="956717"/>
                </a:lnTo>
                <a:cubicBezTo>
                  <a:pt x="360226" y="963501"/>
                  <a:pt x="405678" y="935687"/>
                  <a:pt x="412462" y="871239"/>
                </a:cubicBezTo>
                <a:cubicBezTo>
                  <a:pt x="417889" y="823074"/>
                  <a:pt x="395502" y="790511"/>
                  <a:pt x="348693" y="775586"/>
                </a:cubicBezTo>
                <a:cubicBezTo>
                  <a:pt x="345301" y="774908"/>
                  <a:pt x="343266" y="770837"/>
                  <a:pt x="343944" y="768124"/>
                </a:cubicBezTo>
                <a:lnTo>
                  <a:pt x="348693" y="724707"/>
                </a:lnTo>
                <a:cubicBezTo>
                  <a:pt x="349372" y="721315"/>
                  <a:pt x="352085" y="719958"/>
                  <a:pt x="354799" y="719958"/>
                </a:cubicBezTo>
                <a:cubicBezTo>
                  <a:pt x="420603" y="737596"/>
                  <a:pt x="464020" y="792546"/>
                  <a:pt x="455201" y="876667"/>
                </a:cubicBezTo>
                <a:cubicBezTo>
                  <a:pt x="444347" y="978425"/>
                  <a:pt x="367688" y="1025913"/>
                  <a:pt x="267286" y="1015059"/>
                </a:cubicBezTo>
                <a:cubicBezTo>
                  <a:pt x="164849" y="1004204"/>
                  <a:pt x="101080" y="937722"/>
                  <a:pt x="111256" y="842747"/>
                </a:cubicBezTo>
                <a:cubicBezTo>
                  <a:pt x="121432" y="747772"/>
                  <a:pt x="192663" y="698928"/>
                  <a:pt x="301884" y="708425"/>
                </a:cubicBezTo>
                <a:close/>
                <a:moveTo>
                  <a:pt x="1965979" y="702998"/>
                </a:moveTo>
                <a:cubicBezTo>
                  <a:pt x="1969371" y="702998"/>
                  <a:pt x="1972085" y="705033"/>
                  <a:pt x="1972085" y="708425"/>
                </a:cubicBezTo>
                <a:lnTo>
                  <a:pt x="1974798" y="756591"/>
                </a:lnTo>
                <a:cubicBezTo>
                  <a:pt x="1974798" y="759983"/>
                  <a:pt x="1972763" y="762696"/>
                  <a:pt x="1969371" y="762696"/>
                </a:cubicBezTo>
                <a:lnTo>
                  <a:pt x="1834371" y="768802"/>
                </a:lnTo>
                <a:lnTo>
                  <a:pt x="1771281" y="772194"/>
                </a:lnTo>
                <a:cubicBezTo>
                  <a:pt x="1711582" y="775586"/>
                  <a:pt x="1686482" y="804757"/>
                  <a:pt x="1688517" y="846817"/>
                </a:cubicBezTo>
                <a:cubicBezTo>
                  <a:pt x="1690552" y="889556"/>
                  <a:pt x="1727185" y="923475"/>
                  <a:pt x="1792989" y="932294"/>
                </a:cubicBezTo>
                <a:lnTo>
                  <a:pt x="1843190" y="929581"/>
                </a:lnTo>
                <a:lnTo>
                  <a:pt x="1978190" y="921440"/>
                </a:lnTo>
                <a:cubicBezTo>
                  <a:pt x="1981582" y="921440"/>
                  <a:pt x="1984296" y="923475"/>
                  <a:pt x="1984296" y="926867"/>
                </a:cubicBezTo>
                <a:lnTo>
                  <a:pt x="1987009" y="975712"/>
                </a:lnTo>
                <a:cubicBezTo>
                  <a:pt x="1987009" y="979104"/>
                  <a:pt x="1984974" y="981817"/>
                  <a:pt x="1981582" y="981817"/>
                </a:cubicBezTo>
                <a:lnTo>
                  <a:pt x="1836406" y="987244"/>
                </a:lnTo>
                <a:lnTo>
                  <a:pt x="1662738" y="997420"/>
                </a:lnTo>
                <a:cubicBezTo>
                  <a:pt x="1659346" y="997420"/>
                  <a:pt x="1656633" y="995385"/>
                  <a:pt x="1656633" y="991993"/>
                </a:cubicBezTo>
                <a:lnTo>
                  <a:pt x="1653919" y="946541"/>
                </a:lnTo>
                <a:cubicBezTo>
                  <a:pt x="1653919" y="943149"/>
                  <a:pt x="1655954" y="940435"/>
                  <a:pt x="1659346" y="940435"/>
                </a:cubicBezTo>
                <a:lnTo>
                  <a:pt x="1710225" y="939078"/>
                </a:lnTo>
                <a:cubicBezTo>
                  <a:pt x="1675627" y="920084"/>
                  <a:pt x="1643065" y="884129"/>
                  <a:pt x="1640351" y="831893"/>
                </a:cubicBezTo>
                <a:cubicBezTo>
                  <a:pt x="1636959" y="764053"/>
                  <a:pt x="1679698" y="718601"/>
                  <a:pt x="1765854" y="714531"/>
                </a:cubicBezTo>
                <a:lnTo>
                  <a:pt x="1830979" y="711139"/>
                </a:lnTo>
                <a:close/>
                <a:moveTo>
                  <a:pt x="1738549" y="405184"/>
                </a:moveTo>
                <a:cubicBezTo>
                  <a:pt x="1711244" y="402131"/>
                  <a:pt x="1679020" y="411289"/>
                  <a:pt x="1643065" y="431641"/>
                </a:cubicBezTo>
                <a:cubicBezTo>
                  <a:pt x="1571156" y="472345"/>
                  <a:pt x="1546734" y="522546"/>
                  <a:pt x="1577940" y="578852"/>
                </a:cubicBezTo>
                <a:cubicBezTo>
                  <a:pt x="1609824" y="635159"/>
                  <a:pt x="1665452" y="639908"/>
                  <a:pt x="1737362" y="599883"/>
                </a:cubicBezTo>
                <a:cubicBezTo>
                  <a:pt x="1809271" y="559179"/>
                  <a:pt x="1835729" y="507621"/>
                  <a:pt x="1804523" y="451993"/>
                </a:cubicBezTo>
                <a:cubicBezTo>
                  <a:pt x="1788242" y="423500"/>
                  <a:pt x="1765855" y="408237"/>
                  <a:pt x="1738549" y="405184"/>
                </a:cubicBezTo>
                <a:close/>
                <a:moveTo>
                  <a:pt x="1743637" y="353287"/>
                </a:moveTo>
                <a:cubicBezTo>
                  <a:pt x="1783153" y="361597"/>
                  <a:pt x="1817412" y="387206"/>
                  <a:pt x="1841834" y="430963"/>
                </a:cubicBezTo>
                <a:cubicBezTo>
                  <a:pt x="1891357" y="518475"/>
                  <a:pt x="1858794" y="601239"/>
                  <a:pt x="1767889" y="652119"/>
                </a:cubicBezTo>
                <a:cubicBezTo>
                  <a:pt x="1677663" y="702998"/>
                  <a:pt x="1590151" y="688074"/>
                  <a:pt x="1540628" y="599883"/>
                </a:cubicBezTo>
                <a:cubicBezTo>
                  <a:pt x="1491784" y="512370"/>
                  <a:pt x="1523668" y="430285"/>
                  <a:pt x="1613894" y="379405"/>
                </a:cubicBezTo>
                <a:cubicBezTo>
                  <a:pt x="1659346" y="353965"/>
                  <a:pt x="1704120" y="344977"/>
                  <a:pt x="1743637" y="353287"/>
                </a:cubicBezTo>
                <a:close/>
                <a:moveTo>
                  <a:pt x="244220" y="274933"/>
                </a:moveTo>
                <a:lnTo>
                  <a:pt x="411783" y="410611"/>
                </a:lnTo>
                <a:lnTo>
                  <a:pt x="587487" y="546290"/>
                </a:lnTo>
                <a:cubicBezTo>
                  <a:pt x="590200" y="548325"/>
                  <a:pt x="590200" y="551717"/>
                  <a:pt x="588165" y="554430"/>
                </a:cubicBezTo>
                <a:lnTo>
                  <a:pt x="559673" y="591064"/>
                </a:lnTo>
                <a:cubicBezTo>
                  <a:pt x="557637" y="593777"/>
                  <a:pt x="554245" y="593777"/>
                  <a:pt x="551532" y="591742"/>
                </a:cubicBezTo>
                <a:lnTo>
                  <a:pt x="379220" y="452671"/>
                </a:lnTo>
                <a:lnTo>
                  <a:pt x="207587" y="321063"/>
                </a:lnTo>
                <a:cubicBezTo>
                  <a:pt x="204874" y="319028"/>
                  <a:pt x="204874" y="315636"/>
                  <a:pt x="206909" y="312923"/>
                </a:cubicBezTo>
                <a:lnTo>
                  <a:pt x="236080" y="275611"/>
                </a:lnTo>
                <a:cubicBezTo>
                  <a:pt x="238115" y="272898"/>
                  <a:pt x="241507" y="272898"/>
                  <a:pt x="244220" y="274933"/>
                </a:cubicBezTo>
                <a:close/>
                <a:moveTo>
                  <a:pt x="445703" y="230158"/>
                </a:moveTo>
                <a:cubicBezTo>
                  <a:pt x="447738" y="228123"/>
                  <a:pt x="451809" y="228123"/>
                  <a:pt x="453844" y="230837"/>
                </a:cubicBezTo>
                <a:lnTo>
                  <a:pt x="556959" y="344807"/>
                </a:lnTo>
                <a:lnTo>
                  <a:pt x="669572" y="465560"/>
                </a:lnTo>
                <a:cubicBezTo>
                  <a:pt x="671608" y="467596"/>
                  <a:pt x="671608" y="471666"/>
                  <a:pt x="668894" y="473701"/>
                </a:cubicBezTo>
                <a:lnTo>
                  <a:pt x="633618" y="505585"/>
                </a:lnTo>
                <a:cubicBezTo>
                  <a:pt x="631582" y="507621"/>
                  <a:pt x="627512" y="507621"/>
                  <a:pt x="625477" y="504907"/>
                </a:cubicBezTo>
                <a:lnTo>
                  <a:pt x="515577" y="383475"/>
                </a:lnTo>
                <a:lnTo>
                  <a:pt x="409748" y="270862"/>
                </a:lnTo>
                <a:cubicBezTo>
                  <a:pt x="407713" y="268827"/>
                  <a:pt x="407713" y="264756"/>
                  <a:pt x="410427" y="262721"/>
                </a:cubicBezTo>
                <a:close/>
                <a:moveTo>
                  <a:pt x="377185" y="154857"/>
                </a:moveTo>
                <a:cubicBezTo>
                  <a:pt x="379221" y="152822"/>
                  <a:pt x="383291" y="152822"/>
                  <a:pt x="385326" y="155535"/>
                </a:cubicBezTo>
                <a:lnTo>
                  <a:pt x="420603" y="194203"/>
                </a:lnTo>
                <a:cubicBezTo>
                  <a:pt x="422638" y="196239"/>
                  <a:pt x="422638" y="200309"/>
                  <a:pt x="419924" y="202344"/>
                </a:cubicBezTo>
                <a:lnTo>
                  <a:pt x="384648" y="234907"/>
                </a:lnTo>
                <a:cubicBezTo>
                  <a:pt x="382613" y="236942"/>
                  <a:pt x="378542" y="236942"/>
                  <a:pt x="376507" y="234229"/>
                </a:cubicBezTo>
                <a:lnTo>
                  <a:pt x="341231" y="195560"/>
                </a:lnTo>
                <a:cubicBezTo>
                  <a:pt x="339196" y="193525"/>
                  <a:pt x="339196" y="189455"/>
                  <a:pt x="341909" y="187420"/>
                </a:cubicBezTo>
                <a:close/>
                <a:moveTo>
                  <a:pt x="1431406" y="74806"/>
                </a:moveTo>
                <a:lnTo>
                  <a:pt x="1477537" y="103977"/>
                </a:lnTo>
                <a:cubicBezTo>
                  <a:pt x="1480251" y="106012"/>
                  <a:pt x="1481607" y="109404"/>
                  <a:pt x="1481607" y="112118"/>
                </a:cubicBezTo>
                <a:lnTo>
                  <a:pt x="1427336" y="373299"/>
                </a:lnTo>
                <a:lnTo>
                  <a:pt x="1626784" y="205058"/>
                </a:lnTo>
                <a:cubicBezTo>
                  <a:pt x="1629497" y="203023"/>
                  <a:pt x="1633567" y="202344"/>
                  <a:pt x="1636281" y="204379"/>
                </a:cubicBezTo>
                <a:lnTo>
                  <a:pt x="1677663" y="230158"/>
                </a:lnTo>
                <a:cubicBezTo>
                  <a:pt x="1680376" y="232193"/>
                  <a:pt x="1680376" y="234907"/>
                  <a:pt x="1677663" y="236942"/>
                </a:cubicBezTo>
                <a:lnTo>
                  <a:pt x="1322864" y="519153"/>
                </a:lnTo>
                <a:cubicBezTo>
                  <a:pt x="1320150" y="521188"/>
                  <a:pt x="1316080" y="521867"/>
                  <a:pt x="1313366" y="519832"/>
                </a:cubicBezTo>
                <a:lnTo>
                  <a:pt x="1276055" y="496088"/>
                </a:lnTo>
                <a:cubicBezTo>
                  <a:pt x="1274020" y="494731"/>
                  <a:pt x="1273341" y="491339"/>
                  <a:pt x="1276055" y="489304"/>
                </a:cubicBezTo>
                <a:lnTo>
                  <a:pt x="1360854" y="421465"/>
                </a:lnTo>
                <a:lnTo>
                  <a:pt x="1425301" y="76842"/>
                </a:lnTo>
                <a:cubicBezTo>
                  <a:pt x="1425979" y="74128"/>
                  <a:pt x="1429371" y="73450"/>
                  <a:pt x="1431406" y="74806"/>
                </a:cubicBezTo>
                <a:close/>
                <a:moveTo>
                  <a:pt x="1007411" y="42922"/>
                </a:moveTo>
                <a:cubicBezTo>
                  <a:pt x="953140" y="44958"/>
                  <a:pt x="922612" y="81591"/>
                  <a:pt x="917185" y="144003"/>
                </a:cubicBezTo>
                <a:lnTo>
                  <a:pt x="1101708" y="136541"/>
                </a:lnTo>
                <a:cubicBezTo>
                  <a:pt x="1097637" y="84304"/>
                  <a:pt x="1065753" y="40209"/>
                  <a:pt x="1007411" y="42922"/>
                </a:cubicBezTo>
                <a:close/>
                <a:moveTo>
                  <a:pt x="772688" y="36138"/>
                </a:moveTo>
                <a:cubicBezTo>
                  <a:pt x="775402" y="34782"/>
                  <a:pt x="778115" y="36817"/>
                  <a:pt x="778115" y="38852"/>
                </a:cubicBezTo>
                <a:lnTo>
                  <a:pt x="815427" y="378726"/>
                </a:lnTo>
                <a:cubicBezTo>
                  <a:pt x="815427" y="381440"/>
                  <a:pt x="813392" y="385510"/>
                  <a:pt x="810678" y="386867"/>
                </a:cubicBezTo>
                <a:lnTo>
                  <a:pt x="757764" y="412646"/>
                </a:lnTo>
                <a:cubicBezTo>
                  <a:pt x="755050" y="414003"/>
                  <a:pt x="750980" y="413324"/>
                  <a:pt x="748266" y="411289"/>
                </a:cubicBezTo>
                <a:lnTo>
                  <a:pt x="501331" y="175209"/>
                </a:lnTo>
                <a:cubicBezTo>
                  <a:pt x="499296" y="173174"/>
                  <a:pt x="499975" y="169782"/>
                  <a:pt x="502688" y="169103"/>
                </a:cubicBezTo>
                <a:lnTo>
                  <a:pt x="550176" y="146038"/>
                </a:lnTo>
                <a:cubicBezTo>
                  <a:pt x="552889" y="144681"/>
                  <a:pt x="556959" y="145359"/>
                  <a:pt x="559673" y="148073"/>
                </a:cubicBezTo>
                <a:lnTo>
                  <a:pt x="764547" y="354983"/>
                </a:lnTo>
                <a:lnTo>
                  <a:pt x="728593" y="64631"/>
                </a:lnTo>
                <a:cubicBezTo>
                  <a:pt x="728593" y="61239"/>
                  <a:pt x="729949" y="57168"/>
                  <a:pt x="732663" y="55812"/>
                </a:cubicBezTo>
                <a:close/>
                <a:moveTo>
                  <a:pt x="1005376" y="184"/>
                </a:moveTo>
                <a:cubicBezTo>
                  <a:pt x="1101029" y="-3887"/>
                  <a:pt x="1160049" y="59882"/>
                  <a:pt x="1166155" y="169103"/>
                </a:cubicBezTo>
                <a:cubicBezTo>
                  <a:pt x="1166155" y="172495"/>
                  <a:pt x="1164120" y="175209"/>
                  <a:pt x="1160728" y="175209"/>
                </a:cubicBezTo>
                <a:lnTo>
                  <a:pt x="916507" y="184706"/>
                </a:lnTo>
                <a:cubicBezTo>
                  <a:pt x="921255" y="264078"/>
                  <a:pt x="955853" y="305460"/>
                  <a:pt x="1020301" y="302747"/>
                </a:cubicBezTo>
                <a:cubicBezTo>
                  <a:pt x="1069145" y="300712"/>
                  <a:pt x="1097637" y="274254"/>
                  <a:pt x="1105100" y="225410"/>
                </a:cubicBezTo>
                <a:cubicBezTo>
                  <a:pt x="1105778" y="222018"/>
                  <a:pt x="1108492" y="219304"/>
                  <a:pt x="1111884" y="219304"/>
                </a:cubicBezTo>
                <a:lnTo>
                  <a:pt x="1156657" y="217948"/>
                </a:lnTo>
                <a:cubicBezTo>
                  <a:pt x="1160049" y="217948"/>
                  <a:pt x="1162085" y="219983"/>
                  <a:pt x="1162085" y="223375"/>
                </a:cubicBezTo>
                <a:cubicBezTo>
                  <a:pt x="1154622" y="291214"/>
                  <a:pt x="1106456" y="342093"/>
                  <a:pt x="1021657" y="345485"/>
                </a:cubicBezTo>
                <a:cubicBezTo>
                  <a:pt x="919220" y="349556"/>
                  <a:pt x="860879" y="280360"/>
                  <a:pt x="857487" y="179958"/>
                </a:cubicBezTo>
                <a:cubicBezTo>
                  <a:pt x="853416" y="76842"/>
                  <a:pt x="909723" y="4254"/>
                  <a:pt x="1005376" y="184"/>
                </a:cubicBezTo>
                <a:close/>
              </a:path>
            </a:pathLst>
          </a:custGeom>
          <a:solidFill>
            <a:schemeClr val="tx1"/>
          </a:solidFill>
        </p:spPr>
        <p:txBody>
          <a:bodyPr wrap="square">
            <a:noAutofit/>
          </a:bodyPr>
          <a:lstStyle/>
          <a:p>
            <a:pPr lvl="0"/>
            <a:r>
              <a:rPr lang="en-US"/>
              <a:t>  </a:t>
            </a:r>
          </a:p>
        </p:txBody>
      </p:sp>
      <p:sp>
        <p:nvSpPr>
          <p:cNvPr id="7" name="LYBL 2" descr="live your best life tagline graphic">
            <a:extLst>
              <a:ext uri="{FF2B5EF4-FFF2-40B4-BE49-F238E27FC236}">
                <a16:creationId xmlns:a16="http://schemas.microsoft.com/office/drawing/2014/main" id="{8F483CF5-2919-4013-76A5-FB811323EDA3}"/>
              </a:ext>
            </a:extLst>
          </p:cNvPr>
          <p:cNvSpPr>
            <a:spLocks noGrp="1"/>
          </p:cNvSpPr>
          <p:nvPr>
            <p:ph type="body" sz="quarter" idx="20" hasCustomPrompt="1"/>
          </p:nvPr>
        </p:nvSpPr>
        <p:spPr>
          <a:xfrm>
            <a:off x="13215362" y="3568413"/>
            <a:ext cx="1501783" cy="711174"/>
          </a:xfrm>
          <a:custGeom>
            <a:avLst/>
            <a:gdLst>
              <a:gd name="connsiteX0" fmla="*/ 100336 w 1501783"/>
              <a:gd name="connsiteY0" fmla="*/ 507251 h 711174"/>
              <a:gd name="connsiteX1" fmla="*/ 37626 w 1501783"/>
              <a:gd name="connsiteY1" fmla="*/ 591793 h 711174"/>
              <a:gd name="connsiteX2" fmla="*/ 99407 w 1501783"/>
              <a:gd name="connsiteY2" fmla="*/ 680980 h 711174"/>
              <a:gd name="connsiteX3" fmla="*/ 163046 w 1501783"/>
              <a:gd name="connsiteY3" fmla="*/ 595974 h 711174"/>
              <a:gd name="connsiteX4" fmla="*/ 100336 w 1501783"/>
              <a:gd name="connsiteY4" fmla="*/ 507251 h 711174"/>
              <a:gd name="connsiteX5" fmla="*/ 327484 w 1501783"/>
              <a:gd name="connsiteY5" fmla="*/ 505858 h 711174"/>
              <a:gd name="connsiteX6" fmla="*/ 263381 w 1501783"/>
              <a:gd name="connsiteY6" fmla="*/ 571819 h 711174"/>
              <a:gd name="connsiteX7" fmla="*/ 388801 w 1501783"/>
              <a:gd name="connsiteY7" fmla="*/ 571819 h 711174"/>
              <a:gd name="connsiteX8" fmla="*/ 327484 w 1501783"/>
              <a:gd name="connsiteY8" fmla="*/ 505858 h 711174"/>
              <a:gd name="connsiteX9" fmla="*/ 1302505 w 1501783"/>
              <a:gd name="connsiteY9" fmla="*/ 504929 h 711174"/>
              <a:gd name="connsiteX10" fmla="*/ 1238402 w 1501783"/>
              <a:gd name="connsiteY10" fmla="*/ 570890 h 711174"/>
              <a:gd name="connsiteX11" fmla="*/ 1363822 w 1501783"/>
              <a:gd name="connsiteY11" fmla="*/ 570890 h 711174"/>
              <a:gd name="connsiteX12" fmla="*/ 1302505 w 1501783"/>
              <a:gd name="connsiteY12" fmla="*/ 504929 h 711174"/>
              <a:gd name="connsiteX13" fmla="*/ 1005215 w 1501783"/>
              <a:gd name="connsiteY13" fmla="*/ 481703 h 711174"/>
              <a:gd name="connsiteX14" fmla="*/ 1037731 w 1501783"/>
              <a:gd name="connsiteY14" fmla="*/ 481703 h 711174"/>
              <a:gd name="connsiteX15" fmla="*/ 1041448 w 1501783"/>
              <a:gd name="connsiteY15" fmla="*/ 485419 h 711174"/>
              <a:gd name="connsiteX16" fmla="*/ 1040518 w 1501783"/>
              <a:gd name="connsiteY16" fmla="*/ 589935 h 711174"/>
              <a:gd name="connsiteX17" fmla="*/ 1041448 w 1501783"/>
              <a:gd name="connsiteY17" fmla="*/ 701884 h 711174"/>
              <a:gd name="connsiteX18" fmla="*/ 1037731 w 1501783"/>
              <a:gd name="connsiteY18" fmla="*/ 705600 h 711174"/>
              <a:gd name="connsiteX19" fmla="*/ 1005215 w 1501783"/>
              <a:gd name="connsiteY19" fmla="*/ 705600 h 711174"/>
              <a:gd name="connsiteX20" fmla="*/ 1001499 w 1501783"/>
              <a:gd name="connsiteY20" fmla="*/ 701884 h 711174"/>
              <a:gd name="connsiteX21" fmla="*/ 1002428 w 1501783"/>
              <a:gd name="connsiteY21" fmla="*/ 590400 h 711174"/>
              <a:gd name="connsiteX22" fmla="*/ 1001499 w 1501783"/>
              <a:gd name="connsiteY22" fmla="*/ 485419 h 711174"/>
              <a:gd name="connsiteX23" fmla="*/ 1005215 w 1501783"/>
              <a:gd name="connsiteY23" fmla="*/ 481703 h 711174"/>
              <a:gd name="connsiteX24" fmla="*/ 544878 w 1501783"/>
              <a:gd name="connsiteY24" fmla="*/ 477987 h 711174"/>
              <a:gd name="connsiteX25" fmla="*/ 638246 w 1501783"/>
              <a:gd name="connsiteY25" fmla="*/ 546271 h 711174"/>
              <a:gd name="connsiteX26" fmla="*/ 634530 w 1501783"/>
              <a:gd name="connsiteY26" fmla="*/ 549987 h 711174"/>
              <a:gd name="connsiteX27" fmla="*/ 605265 w 1501783"/>
              <a:gd name="connsiteY27" fmla="*/ 549987 h 711174"/>
              <a:gd name="connsiteX28" fmla="*/ 601085 w 1501783"/>
              <a:gd name="connsiteY28" fmla="*/ 546271 h 711174"/>
              <a:gd name="connsiteX29" fmla="*/ 544413 w 1501783"/>
              <a:gd name="connsiteY29" fmla="*/ 504929 h 711174"/>
              <a:gd name="connsiteX30" fmla="*/ 494246 w 1501783"/>
              <a:gd name="connsiteY30" fmla="*/ 541161 h 711174"/>
              <a:gd name="connsiteX31" fmla="*/ 645214 w 1501783"/>
              <a:gd name="connsiteY31" fmla="*/ 642426 h 711174"/>
              <a:gd name="connsiteX32" fmla="*/ 551381 w 1501783"/>
              <a:gd name="connsiteY32" fmla="*/ 710710 h 711174"/>
              <a:gd name="connsiteX33" fmla="*/ 451510 w 1501783"/>
              <a:gd name="connsiteY33" fmla="*/ 632671 h 711174"/>
              <a:gd name="connsiteX34" fmla="*/ 455226 w 1501783"/>
              <a:gd name="connsiteY34" fmla="*/ 628955 h 711174"/>
              <a:gd name="connsiteX35" fmla="*/ 485884 w 1501783"/>
              <a:gd name="connsiteY35" fmla="*/ 628955 h 711174"/>
              <a:gd name="connsiteX36" fmla="*/ 489600 w 1501783"/>
              <a:gd name="connsiteY36" fmla="*/ 632671 h 711174"/>
              <a:gd name="connsiteX37" fmla="*/ 552775 w 1501783"/>
              <a:gd name="connsiteY37" fmla="*/ 683768 h 711174"/>
              <a:gd name="connsiteX38" fmla="*/ 607588 w 1501783"/>
              <a:gd name="connsiteY38" fmla="*/ 645213 h 711174"/>
              <a:gd name="connsiteX39" fmla="*/ 456620 w 1501783"/>
              <a:gd name="connsiteY39" fmla="*/ 543484 h 711174"/>
              <a:gd name="connsiteX40" fmla="*/ 544878 w 1501783"/>
              <a:gd name="connsiteY40" fmla="*/ 477987 h 711174"/>
              <a:gd name="connsiteX41" fmla="*/ 327020 w 1501783"/>
              <a:gd name="connsiteY41" fmla="*/ 476593 h 711174"/>
              <a:gd name="connsiteX42" fmla="*/ 431536 w 1501783"/>
              <a:gd name="connsiteY42" fmla="*/ 595509 h 711174"/>
              <a:gd name="connsiteX43" fmla="*/ 427820 w 1501783"/>
              <a:gd name="connsiteY43" fmla="*/ 599225 h 711174"/>
              <a:gd name="connsiteX44" fmla="*/ 262452 w 1501783"/>
              <a:gd name="connsiteY44" fmla="*/ 599225 h 711174"/>
              <a:gd name="connsiteX45" fmla="*/ 329807 w 1501783"/>
              <a:gd name="connsiteY45" fmla="*/ 681909 h 711174"/>
              <a:gd name="connsiteX46" fmla="*/ 389265 w 1501783"/>
              <a:gd name="connsiteY46" fmla="*/ 631741 h 711174"/>
              <a:gd name="connsiteX47" fmla="*/ 393910 w 1501783"/>
              <a:gd name="connsiteY47" fmla="*/ 628025 h 711174"/>
              <a:gd name="connsiteX48" fmla="*/ 424104 w 1501783"/>
              <a:gd name="connsiteY48" fmla="*/ 628025 h 711174"/>
              <a:gd name="connsiteX49" fmla="*/ 424104 w 1501783"/>
              <a:gd name="connsiteY49" fmla="*/ 628490 h 711174"/>
              <a:gd name="connsiteX50" fmla="*/ 427356 w 1501783"/>
              <a:gd name="connsiteY50" fmla="*/ 632206 h 711174"/>
              <a:gd name="connsiteX51" fmla="*/ 328878 w 1501783"/>
              <a:gd name="connsiteY51" fmla="*/ 711174 h 711174"/>
              <a:gd name="connsiteX52" fmla="*/ 222039 w 1501783"/>
              <a:gd name="connsiteY52" fmla="*/ 594580 h 711174"/>
              <a:gd name="connsiteX53" fmla="*/ 327020 w 1501783"/>
              <a:gd name="connsiteY53" fmla="*/ 476593 h 711174"/>
              <a:gd name="connsiteX54" fmla="*/ 1302041 w 1501783"/>
              <a:gd name="connsiteY54" fmla="*/ 475664 h 711174"/>
              <a:gd name="connsiteX55" fmla="*/ 1406557 w 1501783"/>
              <a:gd name="connsiteY55" fmla="*/ 594580 h 711174"/>
              <a:gd name="connsiteX56" fmla="*/ 1402841 w 1501783"/>
              <a:gd name="connsiteY56" fmla="*/ 598296 h 711174"/>
              <a:gd name="connsiteX57" fmla="*/ 1237473 w 1501783"/>
              <a:gd name="connsiteY57" fmla="*/ 598296 h 711174"/>
              <a:gd name="connsiteX58" fmla="*/ 1304828 w 1501783"/>
              <a:gd name="connsiteY58" fmla="*/ 680980 h 711174"/>
              <a:gd name="connsiteX59" fmla="*/ 1364286 w 1501783"/>
              <a:gd name="connsiteY59" fmla="*/ 630812 h 711174"/>
              <a:gd name="connsiteX60" fmla="*/ 1368931 w 1501783"/>
              <a:gd name="connsiteY60" fmla="*/ 627096 h 711174"/>
              <a:gd name="connsiteX61" fmla="*/ 1399125 w 1501783"/>
              <a:gd name="connsiteY61" fmla="*/ 627096 h 711174"/>
              <a:gd name="connsiteX62" fmla="*/ 1399125 w 1501783"/>
              <a:gd name="connsiteY62" fmla="*/ 627561 h 711174"/>
              <a:gd name="connsiteX63" fmla="*/ 1402377 w 1501783"/>
              <a:gd name="connsiteY63" fmla="*/ 631277 h 711174"/>
              <a:gd name="connsiteX64" fmla="*/ 1303899 w 1501783"/>
              <a:gd name="connsiteY64" fmla="*/ 710245 h 711174"/>
              <a:gd name="connsiteX65" fmla="*/ 1197060 w 1501783"/>
              <a:gd name="connsiteY65" fmla="*/ 593651 h 711174"/>
              <a:gd name="connsiteX66" fmla="*/ 1302041 w 1501783"/>
              <a:gd name="connsiteY66" fmla="*/ 475664 h 711174"/>
              <a:gd name="connsiteX67" fmla="*/ 679124 w 1501783"/>
              <a:gd name="connsiteY67" fmla="*/ 426426 h 711174"/>
              <a:gd name="connsiteX68" fmla="*/ 711176 w 1501783"/>
              <a:gd name="connsiteY68" fmla="*/ 426426 h 711174"/>
              <a:gd name="connsiteX69" fmla="*/ 714892 w 1501783"/>
              <a:gd name="connsiteY69" fmla="*/ 430142 h 711174"/>
              <a:gd name="connsiteX70" fmla="*/ 714428 w 1501783"/>
              <a:gd name="connsiteY70" fmla="*/ 482168 h 711174"/>
              <a:gd name="connsiteX71" fmla="*/ 765524 w 1501783"/>
              <a:gd name="connsiteY71" fmla="*/ 482168 h 711174"/>
              <a:gd name="connsiteX72" fmla="*/ 769240 w 1501783"/>
              <a:gd name="connsiteY72" fmla="*/ 485884 h 711174"/>
              <a:gd name="connsiteX73" fmla="*/ 769240 w 1501783"/>
              <a:gd name="connsiteY73" fmla="*/ 509110 h 711174"/>
              <a:gd name="connsiteX74" fmla="*/ 765524 w 1501783"/>
              <a:gd name="connsiteY74" fmla="*/ 512826 h 711174"/>
              <a:gd name="connsiteX75" fmla="*/ 714428 w 1501783"/>
              <a:gd name="connsiteY75" fmla="*/ 512826 h 711174"/>
              <a:gd name="connsiteX76" fmla="*/ 714428 w 1501783"/>
              <a:gd name="connsiteY76" fmla="*/ 643355 h 711174"/>
              <a:gd name="connsiteX77" fmla="*/ 742763 w 1501783"/>
              <a:gd name="connsiteY77" fmla="*/ 678658 h 711174"/>
              <a:gd name="connsiteX78" fmla="*/ 765989 w 1501783"/>
              <a:gd name="connsiteY78" fmla="*/ 675871 h 711174"/>
              <a:gd name="connsiteX79" fmla="*/ 769705 w 1501783"/>
              <a:gd name="connsiteY79" fmla="*/ 678658 h 711174"/>
              <a:gd name="connsiteX80" fmla="*/ 769705 w 1501783"/>
              <a:gd name="connsiteY80" fmla="*/ 699561 h 711174"/>
              <a:gd name="connsiteX81" fmla="*/ 770170 w 1501783"/>
              <a:gd name="connsiteY81" fmla="*/ 699561 h 711174"/>
              <a:gd name="connsiteX82" fmla="*/ 766453 w 1501783"/>
              <a:gd name="connsiteY82" fmla="*/ 704671 h 711174"/>
              <a:gd name="connsiteX83" fmla="*/ 735795 w 1501783"/>
              <a:gd name="connsiteY83" fmla="*/ 709781 h 711174"/>
              <a:gd name="connsiteX84" fmla="*/ 675873 w 1501783"/>
              <a:gd name="connsiteY84" fmla="*/ 644284 h 711174"/>
              <a:gd name="connsiteX85" fmla="*/ 675873 w 1501783"/>
              <a:gd name="connsiteY85" fmla="*/ 512826 h 711174"/>
              <a:gd name="connsiteX86" fmla="*/ 651253 w 1501783"/>
              <a:gd name="connsiteY86" fmla="*/ 512826 h 711174"/>
              <a:gd name="connsiteX87" fmla="*/ 647537 w 1501783"/>
              <a:gd name="connsiteY87" fmla="*/ 509110 h 711174"/>
              <a:gd name="connsiteX88" fmla="*/ 647537 w 1501783"/>
              <a:gd name="connsiteY88" fmla="*/ 485884 h 711174"/>
              <a:gd name="connsiteX89" fmla="*/ 651253 w 1501783"/>
              <a:gd name="connsiteY89" fmla="*/ 482168 h 711174"/>
              <a:gd name="connsiteX90" fmla="*/ 675873 w 1501783"/>
              <a:gd name="connsiteY90" fmla="*/ 482168 h 711174"/>
              <a:gd name="connsiteX91" fmla="*/ 675408 w 1501783"/>
              <a:gd name="connsiteY91" fmla="*/ 430142 h 711174"/>
              <a:gd name="connsiteX92" fmla="*/ 679124 w 1501783"/>
              <a:gd name="connsiteY92" fmla="*/ 426426 h 711174"/>
              <a:gd name="connsiteX93" fmla="*/ 1005215 w 1501783"/>
              <a:gd name="connsiteY93" fmla="*/ 412490 h 711174"/>
              <a:gd name="connsiteX94" fmla="*/ 1037731 w 1501783"/>
              <a:gd name="connsiteY94" fmla="*/ 412490 h 711174"/>
              <a:gd name="connsiteX95" fmla="*/ 1041448 w 1501783"/>
              <a:gd name="connsiteY95" fmla="*/ 416206 h 711174"/>
              <a:gd name="connsiteX96" fmla="*/ 1041448 w 1501783"/>
              <a:gd name="connsiteY96" fmla="*/ 451974 h 711174"/>
              <a:gd name="connsiteX97" fmla="*/ 1037731 w 1501783"/>
              <a:gd name="connsiteY97" fmla="*/ 455690 h 711174"/>
              <a:gd name="connsiteX98" fmla="*/ 1005215 w 1501783"/>
              <a:gd name="connsiteY98" fmla="*/ 455690 h 711174"/>
              <a:gd name="connsiteX99" fmla="*/ 1001499 w 1501783"/>
              <a:gd name="connsiteY99" fmla="*/ 451974 h 711174"/>
              <a:gd name="connsiteX100" fmla="*/ 1001499 w 1501783"/>
              <a:gd name="connsiteY100" fmla="*/ 416206 h 711174"/>
              <a:gd name="connsiteX101" fmla="*/ 1005215 w 1501783"/>
              <a:gd name="connsiteY101" fmla="*/ 412490 h 711174"/>
              <a:gd name="connsiteX102" fmla="*/ 3716 w 1501783"/>
              <a:gd name="connsiteY102" fmla="*/ 409238 h 711174"/>
              <a:gd name="connsiteX103" fmla="*/ 36232 w 1501783"/>
              <a:gd name="connsiteY103" fmla="*/ 409238 h 711174"/>
              <a:gd name="connsiteX104" fmla="*/ 39948 w 1501783"/>
              <a:gd name="connsiteY104" fmla="*/ 412954 h 711174"/>
              <a:gd name="connsiteX105" fmla="*/ 39019 w 1501783"/>
              <a:gd name="connsiteY105" fmla="*/ 517006 h 711174"/>
              <a:gd name="connsiteX106" fmla="*/ 110091 w 1501783"/>
              <a:gd name="connsiteY106" fmla="*/ 477986 h 711174"/>
              <a:gd name="connsiteX107" fmla="*/ 202529 w 1501783"/>
              <a:gd name="connsiteY107" fmla="*/ 593651 h 711174"/>
              <a:gd name="connsiteX108" fmla="*/ 109626 w 1501783"/>
              <a:gd name="connsiteY108" fmla="*/ 710244 h 711174"/>
              <a:gd name="connsiteX109" fmla="*/ 38555 w 1501783"/>
              <a:gd name="connsiteY109" fmla="*/ 671225 h 711174"/>
              <a:gd name="connsiteX110" fmla="*/ 39484 w 1501783"/>
              <a:gd name="connsiteY110" fmla="*/ 701883 h 711174"/>
              <a:gd name="connsiteX111" fmla="*/ 35768 w 1501783"/>
              <a:gd name="connsiteY111" fmla="*/ 705599 h 711174"/>
              <a:gd name="connsiteX112" fmla="*/ 3716 w 1501783"/>
              <a:gd name="connsiteY112" fmla="*/ 705599 h 711174"/>
              <a:gd name="connsiteX113" fmla="*/ 0 w 1501783"/>
              <a:gd name="connsiteY113" fmla="*/ 701883 h 711174"/>
              <a:gd name="connsiteX114" fmla="*/ 1394 w 1501783"/>
              <a:gd name="connsiteY114" fmla="*/ 538838 h 711174"/>
              <a:gd name="connsiteX115" fmla="*/ 0 w 1501783"/>
              <a:gd name="connsiteY115" fmla="*/ 412954 h 711174"/>
              <a:gd name="connsiteX116" fmla="*/ 3716 w 1501783"/>
              <a:gd name="connsiteY116" fmla="*/ 409238 h 711174"/>
              <a:gd name="connsiteX117" fmla="*/ 919279 w 1501783"/>
              <a:gd name="connsiteY117" fmla="*/ 401806 h 711174"/>
              <a:gd name="connsiteX118" fmla="*/ 951331 w 1501783"/>
              <a:gd name="connsiteY118" fmla="*/ 401806 h 711174"/>
              <a:gd name="connsiteX119" fmla="*/ 955047 w 1501783"/>
              <a:gd name="connsiteY119" fmla="*/ 405522 h 711174"/>
              <a:gd name="connsiteX120" fmla="*/ 953189 w 1501783"/>
              <a:gd name="connsiteY120" fmla="*/ 551845 h 711174"/>
              <a:gd name="connsiteX121" fmla="*/ 955047 w 1501783"/>
              <a:gd name="connsiteY121" fmla="*/ 702348 h 711174"/>
              <a:gd name="connsiteX122" fmla="*/ 951331 w 1501783"/>
              <a:gd name="connsiteY122" fmla="*/ 706064 h 711174"/>
              <a:gd name="connsiteX123" fmla="*/ 919279 w 1501783"/>
              <a:gd name="connsiteY123" fmla="*/ 706064 h 711174"/>
              <a:gd name="connsiteX124" fmla="*/ 919279 w 1501783"/>
              <a:gd name="connsiteY124" fmla="*/ 705600 h 711174"/>
              <a:gd name="connsiteX125" fmla="*/ 915563 w 1501783"/>
              <a:gd name="connsiteY125" fmla="*/ 701883 h 711174"/>
              <a:gd name="connsiteX126" fmla="*/ 917421 w 1501783"/>
              <a:gd name="connsiteY126" fmla="*/ 551845 h 711174"/>
              <a:gd name="connsiteX127" fmla="*/ 915563 w 1501783"/>
              <a:gd name="connsiteY127" fmla="*/ 405522 h 711174"/>
              <a:gd name="connsiteX128" fmla="*/ 919279 w 1501783"/>
              <a:gd name="connsiteY128" fmla="*/ 401806 h 711174"/>
              <a:gd name="connsiteX129" fmla="*/ 1165473 w 1501783"/>
              <a:gd name="connsiteY129" fmla="*/ 396232 h 711174"/>
              <a:gd name="connsiteX130" fmla="*/ 1194738 w 1501783"/>
              <a:gd name="connsiteY130" fmla="*/ 399484 h 711174"/>
              <a:gd name="connsiteX131" fmla="*/ 1198454 w 1501783"/>
              <a:gd name="connsiteY131" fmla="*/ 404129 h 711174"/>
              <a:gd name="connsiteX132" fmla="*/ 1198454 w 1501783"/>
              <a:gd name="connsiteY132" fmla="*/ 426426 h 711174"/>
              <a:gd name="connsiteX133" fmla="*/ 1194738 w 1501783"/>
              <a:gd name="connsiteY133" fmla="*/ 429677 h 711174"/>
              <a:gd name="connsiteX134" fmla="*/ 1174299 w 1501783"/>
              <a:gd name="connsiteY134" fmla="*/ 426890 h 711174"/>
              <a:gd name="connsiteX135" fmla="*/ 1145499 w 1501783"/>
              <a:gd name="connsiteY135" fmla="*/ 465909 h 711174"/>
              <a:gd name="connsiteX136" fmla="*/ 1145499 w 1501783"/>
              <a:gd name="connsiteY136" fmla="*/ 482632 h 711174"/>
              <a:gd name="connsiteX137" fmla="*/ 1194273 w 1501783"/>
              <a:gd name="connsiteY137" fmla="*/ 482632 h 711174"/>
              <a:gd name="connsiteX138" fmla="*/ 1197989 w 1501783"/>
              <a:gd name="connsiteY138" fmla="*/ 486348 h 711174"/>
              <a:gd name="connsiteX139" fmla="*/ 1197989 w 1501783"/>
              <a:gd name="connsiteY139" fmla="*/ 509109 h 711174"/>
              <a:gd name="connsiteX140" fmla="*/ 1194273 w 1501783"/>
              <a:gd name="connsiteY140" fmla="*/ 512826 h 711174"/>
              <a:gd name="connsiteX141" fmla="*/ 1145499 w 1501783"/>
              <a:gd name="connsiteY141" fmla="*/ 512826 h 711174"/>
              <a:gd name="connsiteX142" fmla="*/ 1145499 w 1501783"/>
              <a:gd name="connsiteY142" fmla="*/ 604800 h 711174"/>
              <a:gd name="connsiteX143" fmla="*/ 1145034 w 1501783"/>
              <a:gd name="connsiteY143" fmla="*/ 604800 h 711174"/>
              <a:gd name="connsiteX144" fmla="*/ 1146428 w 1501783"/>
              <a:gd name="connsiteY144" fmla="*/ 701884 h 711174"/>
              <a:gd name="connsiteX145" fmla="*/ 1142712 w 1501783"/>
              <a:gd name="connsiteY145" fmla="*/ 705600 h 711174"/>
              <a:gd name="connsiteX146" fmla="*/ 1109266 w 1501783"/>
              <a:gd name="connsiteY146" fmla="*/ 705600 h 711174"/>
              <a:gd name="connsiteX147" fmla="*/ 1105550 w 1501783"/>
              <a:gd name="connsiteY147" fmla="*/ 701884 h 711174"/>
              <a:gd name="connsiteX148" fmla="*/ 1106944 w 1501783"/>
              <a:gd name="connsiteY148" fmla="*/ 604800 h 711174"/>
              <a:gd name="connsiteX149" fmla="*/ 1106944 w 1501783"/>
              <a:gd name="connsiteY149" fmla="*/ 512361 h 711174"/>
              <a:gd name="connsiteX150" fmla="*/ 1075821 w 1501783"/>
              <a:gd name="connsiteY150" fmla="*/ 512361 h 711174"/>
              <a:gd name="connsiteX151" fmla="*/ 1072105 w 1501783"/>
              <a:gd name="connsiteY151" fmla="*/ 508645 h 711174"/>
              <a:gd name="connsiteX152" fmla="*/ 1072105 w 1501783"/>
              <a:gd name="connsiteY152" fmla="*/ 485884 h 711174"/>
              <a:gd name="connsiteX153" fmla="*/ 1075821 w 1501783"/>
              <a:gd name="connsiteY153" fmla="*/ 482167 h 711174"/>
              <a:gd name="connsiteX154" fmla="*/ 1106944 w 1501783"/>
              <a:gd name="connsiteY154" fmla="*/ 482167 h 711174"/>
              <a:gd name="connsiteX155" fmla="*/ 1106944 w 1501783"/>
              <a:gd name="connsiteY155" fmla="*/ 462658 h 711174"/>
              <a:gd name="connsiteX156" fmla="*/ 1165473 w 1501783"/>
              <a:gd name="connsiteY156" fmla="*/ 396232 h 711174"/>
              <a:gd name="connsiteX157" fmla="*/ 1006608 w 1501783"/>
              <a:gd name="connsiteY157" fmla="*/ 104516 h 711174"/>
              <a:gd name="connsiteX158" fmla="*/ 941111 w 1501783"/>
              <a:gd name="connsiteY158" fmla="*/ 193238 h 711174"/>
              <a:gd name="connsiteX159" fmla="*/ 1006608 w 1501783"/>
              <a:gd name="connsiteY159" fmla="*/ 280567 h 711174"/>
              <a:gd name="connsiteX160" fmla="*/ 1071640 w 1501783"/>
              <a:gd name="connsiteY160" fmla="*/ 193238 h 711174"/>
              <a:gd name="connsiteX161" fmla="*/ 1006608 w 1501783"/>
              <a:gd name="connsiteY161" fmla="*/ 104516 h 711174"/>
              <a:gd name="connsiteX162" fmla="*/ 475200 w 1501783"/>
              <a:gd name="connsiteY162" fmla="*/ 103586 h 711174"/>
              <a:gd name="connsiteX163" fmla="*/ 411097 w 1501783"/>
              <a:gd name="connsiteY163" fmla="*/ 169548 h 711174"/>
              <a:gd name="connsiteX164" fmla="*/ 536517 w 1501783"/>
              <a:gd name="connsiteY164" fmla="*/ 169548 h 711174"/>
              <a:gd name="connsiteX165" fmla="*/ 475200 w 1501783"/>
              <a:gd name="connsiteY165" fmla="*/ 103586 h 711174"/>
              <a:gd name="connsiteX166" fmla="*/ 1141318 w 1501783"/>
              <a:gd name="connsiteY166" fmla="*/ 81290 h 711174"/>
              <a:gd name="connsiteX167" fmla="*/ 1173834 w 1501783"/>
              <a:gd name="connsiteY167" fmla="*/ 81290 h 711174"/>
              <a:gd name="connsiteX168" fmla="*/ 1177550 w 1501783"/>
              <a:gd name="connsiteY168" fmla="*/ 85006 h 711174"/>
              <a:gd name="connsiteX169" fmla="*/ 1176621 w 1501783"/>
              <a:gd name="connsiteY169" fmla="*/ 176516 h 711174"/>
              <a:gd name="connsiteX170" fmla="*/ 1176621 w 1501783"/>
              <a:gd name="connsiteY170" fmla="*/ 219716 h 711174"/>
              <a:gd name="connsiteX171" fmla="*/ 1224002 w 1501783"/>
              <a:gd name="connsiteY171" fmla="*/ 278245 h 711174"/>
              <a:gd name="connsiteX172" fmla="*/ 1285783 w 1501783"/>
              <a:gd name="connsiteY172" fmla="*/ 210425 h 711174"/>
              <a:gd name="connsiteX173" fmla="*/ 1285783 w 1501783"/>
              <a:gd name="connsiteY173" fmla="*/ 176516 h 711174"/>
              <a:gd name="connsiteX174" fmla="*/ 1284854 w 1501783"/>
              <a:gd name="connsiteY174" fmla="*/ 85006 h 711174"/>
              <a:gd name="connsiteX175" fmla="*/ 1288570 w 1501783"/>
              <a:gd name="connsiteY175" fmla="*/ 81290 h 711174"/>
              <a:gd name="connsiteX176" fmla="*/ 1321551 w 1501783"/>
              <a:gd name="connsiteY176" fmla="*/ 81290 h 711174"/>
              <a:gd name="connsiteX177" fmla="*/ 1325267 w 1501783"/>
              <a:gd name="connsiteY177" fmla="*/ 85006 h 711174"/>
              <a:gd name="connsiteX178" fmla="*/ 1324802 w 1501783"/>
              <a:gd name="connsiteY178" fmla="*/ 183019 h 711174"/>
              <a:gd name="connsiteX179" fmla="*/ 1325731 w 1501783"/>
              <a:gd name="connsiteY179" fmla="*/ 301006 h 711174"/>
              <a:gd name="connsiteX180" fmla="*/ 1322015 w 1501783"/>
              <a:gd name="connsiteY180" fmla="*/ 304722 h 711174"/>
              <a:gd name="connsiteX181" fmla="*/ 1291357 w 1501783"/>
              <a:gd name="connsiteY181" fmla="*/ 304722 h 711174"/>
              <a:gd name="connsiteX182" fmla="*/ 1287641 w 1501783"/>
              <a:gd name="connsiteY182" fmla="*/ 301006 h 711174"/>
              <a:gd name="connsiteX183" fmla="*/ 1288570 w 1501783"/>
              <a:gd name="connsiteY183" fmla="*/ 266632 h 711174"/>
              <a:gd name="connsiteX184" fmla="*/ 1213783 w 1501783"/>
              <a:gd name="connsiteY184" fmla="*/ 309832 h 711174"/>
              <a:gd name="connsiteX185" fmla="*/ 1138531 w 1501783"/>
              <a:gd name="connsiteY185" fmla="*/ 220645 h 711174"/>
              <a:gd name="connsiteX186" fmla="*/ 1138531 w 1501783"/>
              <a:gd name="connsiteY186" fmla="*/ 176516 h 711174"/>
              <a:gd name="connsiteX187" fmla="*/ 1137602 w 1501783"/>
              <a:gd name="connsiteY187" fmla="*/ 85006 h 711174"/>
              <a:gd name="connsiteX188" fmla="*/ 1141318 w 1501783"/>
              <a:gd name="connsiteY188" fmla="*/ 81290 h 711174"/>
              <a:gd name="connsiteX189" fmla="*/ 697240 w 1501783"/>
              <a:gd name="connsiteY189" fmla="*/ 81290 h 711174"/>
              <a:gd name="connsiteX190" fmla="*/ 734401 w 1501783"/>
              <a:gd name="connsiteY190" fmla="*/ 81290 h 711174"/>
              <a:gd name="connsiteX191" fmla="*/ 739511 w 1501783"/>
              <a:gd name="connsiteY191" fmla="*/ 84542 h 711174"/>
              <a:gd name="connsiteX192" fmla="*/ 803150 w 1501783"/>
              <a:gd name="connsiteY192" fmla="*/ 253625 h 711174"/>
              <a:gd name="connsiteX193" fmla="*/ 856570 w 1501783"/>
              <a:gd name="connsiteY193" fmla="*/ 85006 h 711174"/>
              <a:gd name="connsiteX194" fmla="*/ 861679 w 1501783"/>
              <a:gd name="connsiteY194" fmla="*/ 81290 h 711174"/>
              <a:gd name="connsiteX195" fmla="*/ 894660 w 1501783"/>
              <a:gd name="connsiteY195" fmla="*/ 81290 h 711174"/>
              <a:gd name="connsiteX196" fmla="*/ 897447 w 1501783"/>
              <a:gd name="connsiteY196" fmla="*/ 85006 h 711174"/>
              <a:gd name="connsiteX197" fmla="*/ 796647 w 1501783"/>
              <a:gd name="connsiteY197" fmla="*/ 371148 h 711174"/>
              <a:gd name="connsiteX198" fmla="*/ 791537 w 1501783"/>
              <a:gd name="connsiteY198" fmla="*/ 374864 h 711174"/>
              <a:gd name="connsiteX199" fmla="*/ 761343 w 1501783"/>
              <a:gd name="connsiteY199" fmla="*/ 374864 h 711174"/>
              <a:gd name="connsiteX200" fmla="*/ 758556 w 1501783"/>
              <a:gd name="connsiteY200" fmla="*/ 371148 h 711174"/>
              <a:gd name="connsiteX201" fmla="*/ 782247 w 1501783"/>
              <a:gd name="connsiteY201" fmla="*/ 305187 h 711174"/>
              <a:gd name="connsiteX202" fmla="*/ 694453 w 1501783"/>
              <a:gd name="connsiteY202" fmla="*/ 84542 h 711174"/>
              <a:gd name="connsiteX203" fmla="*/ 697240 w 1501783"/>
              <a:gd name="connsiteY203" fmla="*/ 81290 h 711174"/>
              <a:gd name="connsiteX204" fmla="*/ 161187 w 1501783"/>
              <a:gd name="connsiteY204" fmla="*/ 80361 h 711174"/>
              <a:gd name="connsiteX205" fmla="*/ 196026 w 1501783"/>
              <a:gd name="connsiteY205" fmla="*/ 80361 h 711174"/>
              <a:gd name="connsiteX206" fmla="*/ 201136 w 1501783"/>
              <a:gd name="connsiteY206" fmla="*/ 84077 h 711174"/>
              <a:gd name="connsiteX207" fmla="*/ 264310 w 1501783"/>
              <a:gd name="connsiteY207" fmla="*/ 270813 h 711174"/>
              <a:gd name="connsiteX208" fmla="*/ 328878 w 1501783"/>
              <a:gd name="connsiteY208" fmla="*/ 84077 h 711174"/>
              <a:gd name="connsiteX209" fmla="*/ 333987 w 1501783"/>
              <a:gd name="connsiteY209" fmla="*/ 80361 h 711174"/>
              <a:gd name="connsiteX210" fmla="*/ 364646 w 1501783"/>
              <a:gd name="connsiteY210" fmla="*/ 80361 h 711174"/>
              <a:gd name="connsiteX211" fmla="*/ 367433 w 1501783"/>
              <a:gd name="connsiteY211" fmla="*/ 83613 h 711174"/>
              <a:gd name="connsiteX212" fmla="*/ 288929 w 1501783"/>
              <a:gd name="connsiteY212" fmla="*/ 301006 h 711174"/>
              <a:gd name="connsiteX213" fmla="*/ 283820 w 1501783"/>
              <a:gd name="connsiteY213" fmla="*/ 304258 h 711174"/>
              <a:gd name="connsiteX214" fmla="*/ 243871 w 1501783"/>
              <a:gd name="connsiteY214" fmla="*/ 304258 h 711174"/>
              <a:gd name="connsiteX215" fmla="*/ 238761 w 1501783"/>
              <a:gd name="connsiteY215" fmla="*/ 301006 h 711174"/>
              <a:gd name="connsiteX216" fmla="*/ 158400 w 1501783"/>
              <a:gd name="connsiteY216" fmla="*/ 83613 h 711174"/>
              <a:gd name="connsiteX217" fmla="*/ 161187 w 1501783"/>
              <a:gd name="connsiteY217" fmla="*/ 80361 h 711174"/>
              <a:gd name="connsiteX218" fmla="*/ 95226 w 1501783"/>
              <a:gd name="connsiteY218" fmla="*/ 79896 h 711174"/>
              <a:gd name="connsiteX219" fmla="*/ 127742 w 1501783"/>
              <a:gd name="connsiteY219" fmla="*/ 79896 h 711174"/>
              <a:gd name="connsiteX220" fmla="*/ 131458 w 1501783"/>
              <a:gd name="connsiteY220" fmla="*/ 83613 h 711174"/>
              <a:gd name="connsiteX221" fmla="*/ 130994 w 1501783"/>
              <a:gd name="connsiteY221" fmla="*/ 188129 h 711174"/>
              <a:gd name="connsiteX222" fmla="*/ 131923 w 1501783"/>
              <a:gd name="connsiteY222" fmla="*/ 300077 h 711174"/>
              <a:gd name="connsiteX223" fmla="*/ 128207 w 1501783"/>
              <a:gd name="connsiteY223" fmla="*/ 303793 h 711174"/>
              <a:gd name="connsiteX224" fmla="*/ 95226 w 1501783"/>
              <a:gd name="connsiteY224" fmla="*/ 303793 h 711174"/>
              <a:gd name="connsiteX225" fmla="*/ 91510 w 1501783"/>
              <a:gd name="connsiteY225" fmla="*/ 300077 h 711174"/>
              <a:gd name="connsiteX226" fmla="*/ 92439 w 1501783"/>
              <a:gd name="connsiteY226" fmla="*/ 188593 h 711174"/>
              <a:gd name="connsiteX227" fmla="*/ 91510 w 1501783"/>
              <a:gd name="connsiteY227" fmla="*/ 83613 h 711174"/>
              <a:gd name="connsiteX228" fmla="*/ 95226 w 1501783"/>
              <a:gd name="connsiteY228" fmla="*/ 79896 h 711174"/>
              <a:gd name="connsiteX229" fmla="*/ 1006608 w 1501783"/>
              <a:gd name="connsiteY229" fmla="*/ 75251 h 711174"/>
              <a:gd name="connsiteX230" fmla="*/ 1112518 w 1501783"/>
              <a:gd name="connsiteY230" fmla="*/ 192309 h 711174"/>
              <a:gd name="connsiteX231" fmla="*/ 1006608 w 1501783"/>
              <a:gd name="connsiteY231" fmla="*/ 309832 h 711174"/>
              <a:gd name="connsiteX232" fmla="*/ 900698 w 1501783"/>
              <a:gd name="connsiteY232" fmla="*/ 193238 h 711174"/>
              <a:gd name="connsiteX233" fmla="*/ 1006608 w 1501783"/>
              <a:gd name="connsiteY233" fmla="*/ 75251 h 711174"/>
              <a:gd name="connsiteX234" fmla="*/ 1485061 w 1501783"/>
              <a:gd name="connsiteY234" fmla="*/ 74322 h 711174"/>
              <a:gd name="connsiteX235" fmla="*/ 1498067 w 1501783"/>
              <a:gd name="connsiteY235" fmla="*/ 75716 h 711174"/>
              <a:gd name="connsiteX236" fmla="*/ 1501783 w 1501783"/>
              <a:gd name="connsiteY236" fmla="*/ 80361 h 711174"/>
              <a:gd name="connsiteX237" fmla="*/ 1501783 w 1501783"/>
              <a:gd name="connsiteY237" fmla="*/ 105445 h 711174"/>
              <a:gd name="connsiteX238" fmla="*/ 1498067 w 1501783"/>
              <a:gd name="connsiteY238" fmla="*/ 108696 h 711174"/>
              <a:gd name="connsiteX239" fmla="*/ 1485525 w 1501783"/>
              <a:gd name="connsiteY239" fmla="*/ 107767 h 711174"/>
              <a:gd name="connsiteX240" fmla="*/ 1410273 w 1501783"/>
              <a:gd name="connsiteY240" fmla="*/ 179767 h 711174"/>
              <a:gd name="connsiteX241" fmla="*/ 1410738 w 1501783"/>
              <a:gd name="connsiteY241" fmla="*/ 297290 h 711174"/>
              <a:gd name="connsiteX242" fmla="*/ 1407022 w 1501783"/>
              <a:gd name="connsiteY242" fmla="*/ 301006 h 711174"/>
              <a:gd name="connsiteX243" fmla="*/ 1374970 w 1501783"/>
              <a:gd name="connsiteY243" fmla="*/ 301006 h 711174"/>
              <a:gd name="connsiteX244" fmla="*/ 1371254 w 1501783"/>
              <a:gd name="connsiteY244" fmla="*/ 297290 h 711174"/>
              <a:gd name="connsiteX245" fmla="*/ 1372647 w 1501783"/>
              <a:gd name="connsiteY245" fmla="*/ 186735 h 711174"/>
              <a:gd name="connsiteX246" fmla="*/ 1371254 w 1501783"/>
              <a:gd name="connsiteY246" fmla="*/ 80825 h 711174"/>
              <a:gd name="connsiteX247" fmla="*/ 1374970 w 1501783"/>
              <a:gd name="connsiteY247" fmla="*/ 77109 h 711174"/>
              <a:gd name="connsiteX248" fmla="*/ 1407022 w 1501783"/>
              <a:gd name="connsiteY248" fmla="*/ 77109 h 711174"/>
              <a:gd name="connsiteX249" fmla="*/ 1410738 w 1501783"/>
              <a:gd name="connsiteY249" fmla="*/ 80825 h 711174"/>
              <a:gd name="connsiteX250" fmla="*/ 1408880 w 1501783"/>
              <a:gd name="connsiteY250" fmla="*/ 118451 h 711174"/>
              <a:gd name="connsiteX251" fmla="*/ 1485061 w 1501783"/>
              <a:gd name="connsiteY251" fmla="*/ 74322 h 711174"/>
              <a:gd name="connsiteX252" fmla="*/ 474736 w 1501783"/>
              <a:gd name="connsiteY252" fmla="*/ 74322 h 711174"/>
              <a:gd name="connsiteX253" fmla="*/ 579252 w 1501783"/>
              <a:gd name="connsiteY253" fmla="*/ 193238 h 711174"/>
              <a:gd name="connsiteX254" fmla="*/ 575536 w 1501783"/>
              <a:gd name="connsiteY254" fmla="*/ 196954 h 711174"/>
              <a:gd name="connsiteX255" fmla="*/ 409703 w 1501783"/>
              <a:gd name="connsiteY255" fmla="*/ 196954 h 711174"/>
              <a:gd name="connsiteX256" fmla="*/ 477058 w 1501783"/>
              <a:gd name="connsiteY256" fmla="*/ 279638 h 711174"/>
              <a:gd name="connsiteX257" fmla="*/ 536517 w 1501783"/>
              <a:gd name="connsiteY257" fmla="*/ 229470 h 711174"/>
              <a:gd name="connsiteX258" fmla="*/ 541162 w 1501783"/>
              <a:gd name="connsiteY258" fmla="*/ 225754 h 711174"/>
              <a:gd name="connsiteX259" fmla="*/ 571820 w 1501783"/>
              <a:gd name="connsiteY259" fmla="*/ 225754 h 711174"/>
              <a:gd name="connsiteX260" fmla="*/ 571820 w 1501783"/>
              <a:gd name="connsiteY260" fmla="*/ 226219 h 711174"/>
              <a:gd name="connsiteX261" fmla="*/ 575072 w 1501783"/>
              <a:gd name="connsiteY261" fmla="*/ 229935 h 711174"/>
              <a:gd name="connsiteX262" fmla="*/ 476594 w 1501783"/>
              <a:gd name="connsiteY262" fmla="*/ 308903 h 711174"/>
              <a:gd name="connsiteX263" fmla="*/ 369755 w 1501783"/>
              <a:gd name="connsiteY263" fmla="*/ 192309 h 711174"/>
              <a:gd name="connsiteX264" fmla="*/ 474736 w 1501783"/>
              <a:gd name="connsiteY264" fmla="*/ 74322 h 711174"/>
              <a:gd name="connsiteX265" fmla="*/ 95226 w 1501783"/>
              <a:gd name="connsiteY265" fmla="*/ 11148 h 711174"/>
              <a:gd name="connsiteX266" fmla="*/ 127742 w 1501783"/>
              <a:gd name="connsiteY266" fmla="*/ 11148 h 711174"/>
              <a:gd name="connsiteX267" fmla="*/ 131458 w 1501783"/>
              <a:gd name="connsiteY267" fmla="*/ 14864 h 711174"/>
              <a:gd name="connsiteX268" fmla="*/ 131458 w 1501783"/>
              <a:gd name="connsiteY268" fmla="*/ 50632 h 711174"/>
              <a:gd name="connsiteX269" fmla="*/ 127742 w 1501783"/>
              <a:gd name="connsiteY269" fmla="*/ 54348 h 711174"/>
              <a:gd name="connsiteX270" fmla="*/ 95226 w 1501783"/>
              <a:gd name="connsiteY270" fmla="*/ 54348 h 711174"/>
              <a:gd name="connsiteX271" fmla="*/ 91510 w 1501783"/>
              <a:gd name="connsiteY271" fmla="*/ 50632 h 711174"/>
              <a:gd name="connsiteX272" fmla="*/ 91510 w 1501783"/>
              <a:gd name="connsiteY272" fmla="*/ 14864 h 711174"/>
              <a:gd name="connsiteX273" fmla="*/ 95226 w 1501783"/>
              <a:gd name="connsiteY273" fmla="*/ 11148 h 711174"/>
              <a:gd name="connsiteX274" fmla="*/ 6038 w 1501783"/>
              <a:gd name="connsiteY274" fmla="*/ 0 h 711174"/>
              <a:gd name="connsiteX275" fmla="*/ 38090 w 1501783"/>
              <a:gd name="connsiteY275" fmla="*/ 0 h 711174"/>
              <a:gd name="connsiteX276" fmla="*/ 41806 w 1501783"/>
              <a:gd name="connsiteY276" fmla="*/ 3716 h 711174"/>
              <a:gd name="connsiteX277" fmla="*/ 39948 w 1501783"/>
              <a:gd name="connsiteY277" fmla="*/ 150039 h 711174"/>
              <a:gd name="connsiteX278" fmla="*/ 41806 w 1501783"/>
              <a:gd name="connsiteY278" fmla="*/ 300542 h 711174"/>
              <a:gd name="connsiteX279" fmla="*/ 38090 w 1501783"/>
              <a:gd name="connsiteY279" fmla="*/ 304258 h 711174"/>
              <a:gd name="connsiteX280" fmla="*/ 6038 w 1501783"/>
              <a:gd name="connsiteY280" fmla="*/ 304258 h 711174"/>
              <a:gd name="connsiteX281" fmla="*/ 6038 w 1501783"/>
              <a:gd name="connsiteY281" fmla="*/ 303794 h 711174"/>
              <a:gd name="connsiteX282" fmla="*/ 2322 w 1501783"/>
              <a:gd name="connsiteY282" fmla="*/ 300077 h 711174"/>
              <a:gd name="connsiteX283" fmla="*/ 4180 w 1501783"/>
              <a:gd name="connsiteY283" fmla="*/ 150039 h 711174"/>
              <a:gd name="connsiteX284" fmla="*/ 2322 w 1501783"/>
              <a:gd name="connsiteY284" fmla="*/ 3716 h 711174"/>
              <a:gd name="connsiteX285" fmla="*/ 6038 w 1501783"/>
              <a:gd name="connsiteY285" fmla="*/ 0 h 711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501783" h="711174">
                <a:moveTo>
                  <a:pt x="100336" y="507251"/>
                </a:moveTo>
                <a:cubicBezTo>
                  <a:pt x="62710" y="507251"/>
                  <a:pt x="38090" y="535586"/>
                  <a:pt x="37626" y="591793"/>
                </a:cubicBezTo>
                <a:cubicBezTo>
                  <a:pt x="37161" y="648464"/>
                  <a:pt x="59923" y="680980"/>
                  <a:pt x="99407" y="680980"/>
                </a:cubicBezTo>
                <a:cubicBezTo>
                  <a:pt x="142607" y="681444"/>
                  <a:pt x="163046" y="646141"/>
                  <a:pt x="163046" y="595974"/>
                </a:cubicBezTo>
                <a:cubicBezTo>
                  <a:pt x="163046" y="543019"/>
                  <a:pt x="143071" y="506786"/>
                  <a:pt x="100336" y="507251"/>
                </a:cubicBezTo>
                <a:close/>
                <a:moveTo>
                  <a:pt x="327484" y="505858"/>
                </a:moveTo>
                <a:cubicBezTo>
                  <a:pt x="290323" y="505858"/>
                  <a:pt x="269420" y="529548"/>
                  <a:pt x="263381" y="571819"/>
                </a:cubicBezTo>
                <a:lnTo>
                  <a:pt x="388801" y="571819"/>
                </a:lnTo>
                <a:cubicBezTo>
                  <a:pt x="387407" y="536051"/>
                  <a:pt x="366968" y="505858"/>
                  <a:pt x="327484" y="505858"/>
                </a:cubicBezTo>
                <a:close/>
                <a:moveTo>
                  <a:pt x="1302505" y="504929"/>
                </a:moveTo>
                <a:cubicBezTo>
                  <a:pt x="1265344" y="504929"/>
                  <a:pt x="1244441" y="528619"/>
                  <a:pt x="1238402" y="570890"/>
                </a:cubicBezTo>
                <a:lnTo>
                  <a:pt x="1363822" y="570890"/>
                </a:lnTo>
                <a:cubicBezTo>
                  <a:pt x="1362428" y="535587"/>
                  <a:pt x="1341989" y="504929"/>
                  <a:pt x="1302505" y="504929"/>
                </a:cubicBezTo>
                <a:close/>
                <a:moveTo>
                  <a:pt x="1005215" y="481703"/>
                </a:moveTo>
                <a:lnTo>
                  <a:pt x="1037731" y="481703"/>
                </a:lnTo>
                <a:cubicBezTo>
                  <a:pt x="1040054" y="481703"/>
                  <a:pt x="1041448" y="483561"/>
                  <a:pt x="1041448" y="485419"/>
                </a:cubicBezTo>
                <a:lnTo>
                  <a:pt x="1040518" y="589935"/>
                </a:lnTo>
                <a:lnTo>
                  <a:pt x="1041448" y="701884"/>
                </a:lnTo>
                <a:cubicBezTo>
                  <a:pt x="1041448" y="704206"/>
                  <a:pt x="1039589" y="705600"/>
                  <a:pt x="1037731" y="705600"/>
                </a:cubicBezTo>
                <a:lnTo>
                  <a:pt x="1005215" y="705600"/>
                </a:lnTo>
                <a:cubicBezTo>
                  <a:pt x="1002893" y="705600"/>
                  <a:pt x="1001499" y="703742"/>
                  <a:pt x="1001499" y="701884"/>
                </a:cubicBezTo>
                <a:lnTo>
                  <a:pt x="1002428" y="590400"/>
                </a:lnTo>
                <a:lnTo>
                  <a:pt x="1001499" y="485419"/>
                </a:lnTo>
                <a:cubicBezTo>
                  <a:pt x="1001499" y="483096"/>
                  <a:pt x="1003357" y="481703"/>
                  <a:pt x="1005215" y="481703"/>
                </a:cubicBezTo>
                <a:close/>
                <a:moveTo>
                  <a:pt x="544878" y="477987"/>
                </a:moveTo>
                <a:cubicBezTo>
                  <a:pt x="596904" y="477987"/>
                  <a:pt x="634994" y="499819"/>
                  <a:pt x="638246" y="546271"/>
                </a:cubicBezTo>
                <a:cubicBezTo>
                  <a:pt x="638246" y="548593"/>
                  <a:pt x="636388" y="549987"/>
                  <a:pt x="634530" y="549987"/>
                </a:cubicBezTo>
                <a:lnTo>
                  <a:pt x="605265" y="549987"/>
                </a:lnTo>
                <a:cubicBezTo>
                  <a:pt x="602943" y="549987"/>
                  <a:pt x="601549" y="548129"/>
                  <a:pt x="601085" y="546271"/>
                </a:cubicBezTo>
                <a:cubicBezTo>
                  <a:pt x="598297" y="517935"/>
                  <a:pt x="576930" y="504929"/>
                  <a:pt x="544413" y="504929"/>
                </a:cubicBezTo>
                <a:cubicBezTo>
                  <a:pt x="513755" y="504929"/>
                  <a:pt x="494246" y="516077"/>
                  <a:pt x="494246" y="541161"/>
                </a:cubicBezTo>
                <a:cubicBezTo>
                  <a:pt x="494246" y="596903"/>
                  <a:pt x="645214" y="548593"/>
                  <a:pt x="645214" y="642426"/>
                </a:cubicBezTo>
                <a:cubicBezTo>
                  <a:pt x="645214" y="685626"/>
                  <a:pt x="604801" y="710710"/>
                  <a:pt x="551381" y="710710"/>
                </a:cubicBezTo>
                <a:cubicBezTo>
                  <a:pt x="491923" y="710710"/>
                  <a:pt x="452904" y="684697"/>
                  <a:pt x="451510" y="632671"/>
                </a:cubicBezTo>
                <a:cubicBezTo>
                  <a:pt x="451510" y="630348"/>
                  <a:pt x="453368" y="628955"/>
                  <a:pt x="455226" y="628955"/>
                </a:cubicBezTo>
                <a:lnTo>
                  <a:pt x="485884" y="628955"/>
                </a:lnTo>
                <a:cubicBezTo>
                  <a:pt x="488207" y="628955"/>
                  <a:pt x="489600" y="630813"/>
                  <a:pt x="489600" y="632671"/>
                </a:cubicBezTo>
                <a:cubicBezTo>
                  <a:pt x="491459" y="667974"/>
                  <a:pt x="512826" y="683768"/>
                  <a:pt x="552775" y="683768"/>
                </a:cubicBezTo>
                <a:cubicBezTo>
                  <a:pt x="585755" y="683768"/>
                  <a:pt x="607588" y="669832"/>
                  <a:pt x="607588" y="645213"/>
                </a:cubicBezTo>
                <a:cubicBezTo>
                  <a:pt x="607588" y="586684"/>
                  <a:pt x="456620" y="634064"/>
                  <a:pt x="456620" y="543484"/>
                </a:cubicBezTo>
                <a:cubicBezTo>
                  <a:pt x="456620" y="500284"/>
                  <a:pt x="491923" y="477987"/>
                  <a:pt x="544878" y="477987"/>
                </a:cubicBezTo>
                <a:close/>
                <a:moveTo>
                  <a:pt x="327020" y="476593"/>
                </a:moveTo>
                <a:cubicBezTo>
                  <a:pt x="391588" y="476593"/>
                  <a:pt x="430143" y="520722"/>
                  <a:pt x="431536" y="595509"/>
                </a:cubicBezTo>
                <a:cubicBezTo>
                  <a:pt x="431536" y="597832"/>
                  <a:pt x="429678" y="599225"/>
                  <a:pt x="427820" y="599225"/>
                </a:cubicBezTo>
                <a:lnTo>
                  <a:pt x="262452" y="599225"/>
                </a:lnTo>
                <a:cubicBezTo>
                  <a:pt x="263846" y="653109"/>
                  <a:pt x="286142" y="681909"/>
                  <a:pt x="329807" y="681909"/>
                </a:cubicBezTo>
                <a:cubicBezTo>
                  <a:pt x="362788" y="681909"/>
                  <a:pt x="382762" y="664722"/>
                  <a:pt x="389265" y="631741"/>
                </a:cubicBezTo>
                <a:cubicBezTo>
                  <a:pt x="389730" y="629419"/>
                  <a:pt x="392052" y="628025"/>
                  <a:pt x="393910" y="628025"/>
                </a:cubicBezTo>
                <a:lnTo>
                  <a:pt x="424104" y="628025"/>
                </a:lnTo>
                <a:lnTo>
                  <a:pt x="424104" y="628490"/>
                </a:lnTo>
                <a:cubicBezTo>
                  <a:pt x="426427" y="628490"/>
                  <a:pt x="427356" y="630348"/>
                  <a:pt x="427356" y="632206"/>
                </a:cubicBezTo>
                <a:cubicBezTo>
                  <a:pt x="420388" y="677729"/>
                  <a:pt x="386478" y="711174"/>
                  <a:pt x="328878" y="711174"/>
                </a:cubicBezTo>
                <a:cubicBezTo>
                  <a:pt x="259200" y="711174"/>
                  <a:pt x="222039" y="662864"/>
                  <a:pt x="222039" y="594580"/>
                </a:cubicBezTo>
                <a:cubicBezTo>
                  <a:pt x="222039" y="524438"/>
                  <a:pt x="261987" y="476593"/>
                  <a:pt x="327020" y="476593"/>
                </a:cubicBezTo>
                <a:close/>
                <a:moveTo>
                  <a:pt x="1302041" y="475664"/>
                </a:moveTo>
                <a:cubicBezTo>
                  <a:pt x="1366609" y="475664"/>
                  <a:pt x="1405164" y="519793"/>
                  <a:pt x="1406557" y="594580"/>
                </a:cubicBezTo>
                <a:cubicBezTo>
                  <a:pt x="1406557" y="596903"/>
                  <a:pt x="1404699" y="598296"/>
                  <a:pt x="1402841" y="598296"/>
                </a:cubicBezTo>
                <a:lnTo>
                  <a:pt x="1237473" y="598296"/>
                </a:lnTo>
                <a:cubicBezTo>
                  <a:pt x="1238867" y="652180"/>
                  <a:pt x="1261163" y="680980"/>
                  <a:pt x="1304828" y="680980"/>
                </a:cubicBezTo>
                <a:cubicBezTo>
                  <a:pt x="1337809" y="680980"/>
                  <a:pt x="1357783" y="663793"/>
                  <a:pt x="1364286" y="630812"/>
                </a:cubicBezTo>
                <a:cubicBezTo>
                  <a:pt x="1364751" y="628490"/>
                  <a:pt x="1367073" y="627096"/>
                  <a:pt x="1368931" y="627096"/>
                </a:cubicBezTo>
                <a:lnTo>
                  <a:pt x="1399125" y="627096"/>
                </a:lnTo>
                <a:lnTo>
                  <a:pt x="1399125" y="627561"/>
                </a:lnTo>
                <a:cubicBezTo>
                  <a:pt x="1401448" y="627561"/>
                  <a:pt x="1402377" y="629419"/>
                  <a:pt x="1402377" y="631277"/>
                </a:cubicBezTo>
                <a:cubicBezTo>
                  <a:pt x="1395409" y="676800"/>
                  <a:pt x="1361499" y="710245"/>
                  <a:pt x="1303899" y="710245"/>
                </a:cubicBezTo>
                <a:cubicBezTo>
                  <a:pt x="1234221" y="710245"/>
                  <a:pt x="1197060" y="661935"/>
                  <a:pt x="1197060" y="593651"/>
                </a:cubicBezTo>
                <a:cubicBezTo>
                  <a:pt x="1197060" y="523509"/>
                  <a:pt x="1237009" y="475664"/>
                  <a:pt x="1302041" y="475664"/>
                </a:cubicBezTo>
                <a:close/>
                <a:moveTo>
                  <a:pt x="679124" y="426426"/>
                </a:moveTo>
                <a:lnTo>
                  <a:pt x="711176" y="426426"/>
                </a:lnTo>
                <a:cubicBezTo>
                  <a:pt x="713498" y="426426"/>
                  <a:pt x="714892" y="428284"/>
                  <a:pt x="714892" y="430142"/>
                </a:cubicBezTo>
                <a:lnTo>
                  <a:pt x="714428" y="482168"/>
                </a:lnTo>
                <a:lnTo>
                  <a:pt x="765524" y="482168"/>
                </a:lnTo>
                <a:cubicBezTo>
                  <a:pt x="767847" y="482168"/>
                  <a:pt x="769240" y="484026"/>
                  <a:pt x="769240" y="485884"/>
                </a:cubicBezTo>
                <a:lnTo>
                  <a:pt x="769240" y="509110"/>
                </a:lnTo>
                <a:cubicBezTo>
                  <a:pt x="769240" y="511432"/>
                  <a:pt x="767382" y="512826"/>
                  <a:pt x="765524" y="512826"/>
                </a:cubicBezTo>
                <a:lnTo>
                  <a:pt x="714428" y="512826"/>
                </a:lnTo>
                <a:lnTo>
                  <a:pt x="714428" y="643355"/>
                </a:lnTo>
                <a:cubicBezTo>
                  <a:pt x="714428" y="670297"/>
                  <a:pt x="723718" y="678658"/>
                  <a:pt x="742763" y="678658"/>
                </a:cubicBezTo>
                <a:cubicBezTo>
                  <a:pt x="751589" y="678658"/>
                  <a:pt x="759486" y="677265"/>
                  <a:pt x="765989" y="675871"/>
                </a:cubicBezTo>
                <a:cubicBezTo>
                  <a:pt x="768311" y="674942"/>
                  <a:pt x="769705" y="676800"/>
                  <a:pt x="769705" y="678658"/>
                </a:cubicBezTo>
                <a:lnTo>
                  <a:pt x="769705" y="699561"/>
                </a:lnTo>
                <a:lnTo>
                  <a:pt x="770170" y="699561"/>
                </a:lnTo>
                <a:cubicBezTo>
                  <a:pt x="770170" y="701884"/>
                  <a:pt x="768311" y="703742"/>
                  <a:pt x="766453" y="704671"/>
                </a:cubicBezTo>
                <a:cubicBezTo>
                  <a:pt x="757628" y="707458"/>
                  <a:pt x="746479" y="709781"/>
                  <a:pt x="735795" y="709781"/>
                </a:cubicBezTo>
                <a:cubicBezTo>
                  <a:pt x="703279" y="709781"/>
                  <a:pt x="675873" y="693058"/>
                  <a:pt x="675873" y="644284"/>
                </a:cubicBezTo>
                <a:lnTo>
                  <a:pt x="675873" y="512826"/>
                </a:lnTo>
                <a:lnTo>
                  <a:pt x="651253" y="512826"/>
                </a:lnTo>
                <a:cubicBezTo>
                  <a:pt x="648931" y="512826"/>
                  <a:pt x="647537" y="510968"/>
                  <a:pt x="647537" y="509110"/>
                </a:cubicBezTo>
                <a:lnTo>
                  <a:pt x="647537" y="485884"/>
                </a:lnTo>
                <a:cubicBezTo>
                  <a:pt x="647537" y="483561"/>
                  <a:pt x="649395" y="482168"/>
                  <a:pt x="651253" y="482168"/>
                </a:cubicBezTo>
                <a:lnTo>
                  <a:pt x="675873" y="482168"/>
                </a:lnTo>
                <a:lnTo>
                  <a:pt x="675408" y="430142"/>
                </a:lnTo>
                <a:cubicBezTo>
                  <a:pt x="675408" y="427819"/>
                  <a:pt x="677266" y="426426"/>
                  <a:pt x="679124" y="426426"/>
                </a:cubicBezTo>
                <a:close/>
                <a:moveTo>
                  <a:pt x="1005215" y="412490"/>
                </a:moveTo>
                <a:lnTo>
                  <a:pt x="1037731" y="412490"/>
                </a:lnTo>
                <a:cubicBezTo>
                  <a:pt x="1040054" y="412490"/>
                  <a:pt x="1041448" y="414348"/>
                  <a:pt x="1041448" y="416206"/>
                </a:cubicBezTo>
                <a:lnTo>
                  <a:pt x="1041448" y="451974"/>
                </a:lnTo>
                <a:cubicBezTo>
                  <a:pt x="1041448" y="454296"/>
                  <a:pt x="1039589" y="455690"/>
                  <a:pt x="1037731" y="455690"/>
                </a:cubicBezTo>
                <a:lnTo>
                  <a:pt x="1005215" y="455690"/>
                </a:lnTo>
                <a:cubicBezTo>
                  <a:pt x="1002893" y="455690"/>
                  <a:pt x="1001499" y="453832"/>
                  <a:pt x="1001499" y="451974"/>
                </a:cubicBezTo>
                <a:lnTo>
                  <a:pt x="1001499" y="416206"/>
                </a:lnTo>
                <a:cubicBezTo>
                  <a:pt x="1001499" y="413883"/>
                  <a:pt x="1003357" y="412490"/>
                  <a:pt x="1005215" y="412490"/>
                </a:cubicBezTo>
                <a:close/>
                <a:moveTo>
                  <a:pt x="3716" y="409238"/>
                </a:moveTo>
                <a:lnTo>
                  <a:pt x="36232" y="409238"/>
                </a:lnTo>
                <a:cubicBezTo>
                  <a:pt x="38555" y="409238"/>
                  <a:pt x="39948" y="411096"/>
                  <a:pt x="39948" y="412954"/>
                </a:cubicBezTo>
                <a:lnTo>
                  <a:pt x="39019" y="517006"/>
                </a:lnTo>
                <a:cubicBezTo>
                  <a:pt x="54349" y="492851"/>
                  <a:pt x="78039" y="477986"/>
                  <a:pt x="110091" y="477986"/>
                </a:cubicBezTo>
                <a:cubicBezTo>
                  <a:pt x="170478" y="477986"/>
                  <a:pt x="202529" y="528619"/>
                  <a:pt x="202529" y="593651"/>
                </a:cubicBezTo>
                <a:cubicBezTo>
                  <a:pt x="202994" y="658219"/>
                  <a:pt x="169084" y="710244"/>
                  <a:pt x="109626" y="710244"/>
                </a:cubicBezTo>
                <a:cubicBezTo>
                  <a:pt x="77574" y="710244"/>
                  <a:pt x="53419" y="696774"/>
                  <a:pt x="38555" y="671225"/>
                </a:cubicBezTo>
                <a:lnTo>
                  <a:pt x="39484" y="701883"/>
                </a:lnTo>
                <a:cubicBezTo>
                  <a:pt x="39484" y="704206"/>
                  <a:pt x="37626" y="705599"/>
                  <a:pt x="35768" y="705599"/>
                </a:cubicBezTo>
                <a:lnTo>
                  <a:pt x="3716" y="705599"/>
                </a:lnTo>
                <a:cubicBezTo>
                  <a:pt x="1394" y="705599"/>
                  <a:pt x="0" y="703741"/>
                  <a:pt x="0" y="701883"/>
                </a:cubicBezTo>
                <a:lnTo>
                  <a:pt x="1394" y="538838"/>
                </a:lnTo>
                <a:lnTo>
                  <a:pt x="0" y="412954"/>
                </a:lnTo>
                <a:cubicBezTo>
                  <a:pt x="0" y="410632"/>
                  <a:pt x="1858" y="409238"/>
                  <a:pt x="3716" y="409238"/>
                </a:cubicBezTo>
                <a:close/>
                <a:moveTo>
                  <a:pt x="919279" y="401806"/>
                </a:moveTo>
                <a:lnTo>
                  <a:pt x="951331" y="401806"/>
                </a:lnTo>
                <a:cubicBezTo>
                  <a:pt x="953653" y="401806"/>
                  <a:pt x="955047" y="403664"/>
                  <a:pt x="955047" y="405522"/>
                </a:cubicBezTo>
                <a:lnTo>
                  <a:pt x="953189" y="551845"/>
                </a:lnTo>
                <a:lnTo>
                  <a:pt x="955047" y="702348"/>
                </a:lnTo>
                <a:cubicBezTo>
                  <a:pt x="955047" y="704671"/>
                  <a:pt x="953189" y="706064"/>
                  <a:pt x="951331" y="706064"/>
                </a:cubicBezTo>
                <a:lnTo>
                  <a:pt x="919279" y="706064"/>
                </a:lnTo>
                <a:lnTo>
                  <a:pt x="919279" y="705600"/>
                </a:lnTo>
                <a:cubicBezTo>
                  <a:pt x="916957" y="705600"/>
                  <a:pt x="915563" y="703741"/>
                  <a:pt x="915563" y="701883"/>
                </a:cubicBezTo>
                <a:lnTo>
                  <a:pt x="917421" y="551845"/>
                </a:lnTo>
                <a:lnTo>
                  <a:pt x="915563" y="405522"/>
                </a:lnTo>
                <a:cubicBezTo>
                  <a:pt x="915563" y="403200"/>
                  <a:pt x="917421" y="401806"/>
                  <a:pt x="919279" y="401806"/>
                </a:cubicBezTo>
                <a:close/>
                <a:moveTo>
                  <a:pt x="1165473" y="396232"/>
                </a:moveTo>
                <a:cubicBezTo>
                  <a:pt x="1175692" y="396232"/>
                  <a:pt x="1186841" y="397625"/>
                  <a:pt x="1194738" y="399484"/>
                </a:cubicBezTo>
                <a:cubicBezTo>
                  <a:pt x="1197060" y="399948"/>
                  <a:pt x="1198454" y="402271"/>
                  <a:pt x="1198454" y="404129"/>
                </a:cubicBezTo>
                <a:lnTo>
                  <a:pt x="1198454" y="426426"/>
                </a:lnTo>
                <a:cubicBezTo>
                  <a:pt x="1198454" y="428284"/>
                  <a:pt x="1196596" y="429677"/>
                  <a:pt x="1194738" y="429677"/>
                </a:cubicBezTo>
                <a:cubicBezTo>
                  <a:pt x="1188699" y="427819"/>
                  <a:pt x="1181731" y="426890"/>
                  <a:pt x="1174299" y="426890"/>
                </a:cubicBezTo>
                <a:cubicBezTo>
                  <a:pt x="1156647" y="426890"/>
                  <a:pt x="1145499" y="437574"/>
                  <a:pt x="1145499" y="465909"/>
                </a:cubicBezTo>
                <a:lnTo>
                  <a:pt x="1145499" y="482632"/>
                </a:lnTo>
                <a:lnTo>
                  <a:pt x="1194273" y="482632"/>
                </a:lnTo>
                <a:cubicBezTo>
                  <a:pt x="1196596" y="482632"/>
                  <a:pt x="1197989" y="484490"/>
                  <a:pt x="1197989" y="486348"/>
                </a:cubicBezTo>
                <a:lnTo>
                  <a:pt x="1197989" y="509109"/>
                </a:lnTo>
                <a:cubicBezTo>
                  <a:pt x="1197989" y="511432"/>
                  <a:pt x="1196131" y="512826"/>
                  <a:pt x="1194273" y="512826"/>
                </a:cubicBezTo>
                <a:lnTo>
                  <a:pt x="1145499" y="512826"/>
                </a:lnTo>
                <a:lnTo>
                  <a:pt x="1145499" y="604800"/>
                </a:lnTo>
                <a:lnTo>
                  <a:pt x="1145034" y="604800"/>
                </a:lnTo>
                <a:lnTo>
                  <a:pt x="1146428" y="701884"/>
                </a:lnTo>
                <a:cubicBezTo>
                  <a:pt x="1146428" y="704206"/>
                  <a:pt x="1144570" y="705600"/>
                  <a:pt x="1142712" y="705600"/>
                </a:cubicBezTo>
                <a:lnTo>
                  <a:pt x="1109266" y="705600"/>
                </a:lnTo>
                <a:cubicBezTo>
                  <a:pt x="1106944" y="705600"/>
                  <a:pt x="1105550" y="703742"/>
                  <a:pt x="1105550" y="701884"/>
                </a:cubicBezTo>
                <a:lnTo>
                  <a:pt x="1106944" y="604800"/>
                </a:lnTo>
                <a:lnTo>
                  <a:pt x="1106944" y="512361"/>
                </a:lnTo>
                <a:lnTo>
                  <a:pt x="1075821" y="512361"/>
                </a:lnTo>
                <a:cubicBezTo>
                  <a:pt x="1073498" y="512361"/>
                  <a:pt x="1072105" y="510503"/>
                  <a:pt x="1072105" y="508645"/>
                </a:cubicBezTo>
                <a:lnTo>
                  <a:pt x="1072105" y="485884"/>
                </a:lnTo>
                <a:cubicBezTo>
                  <a:pt x="1072105" y="483561"/>
                  <a:pt x="1073963" y="482167"/>
                  <a:pt x="1075821" y="482167"/>
                </a:cubicBezTo>
                <a:lnTo>
                  <a:pt x="1106944" y="482167"/>
                </a:lnTo>
                <a:lnTo>
                  <a:pt x="1106944" y="462658"/>
                </a:lnTo>
                <a:cubicBezTo>
                  <a:pt x="1106944" y="413419"/>
                  <a:pt x="1137137" y="396232"/>
                  <a:pt x="1165473" y="396232"/>
                </a:cubicBezTo>
                <a:close/>
                <a:moveTo>
                  <a:pt x="1006608" y="104516"/>
                </a:moveTo>
                <a:cubicBezTo>
                  <a:pt x="962479" y="104980"/>
                  <a:pt x="941111" y="137032"/>
                  <a:pt x="941111" y="193238"/>
                </a:cubicBezTo>
                <a:cubicBezTo>
                  <a:pt x="941111" y="249445"/>
                  <a:pt x="962943" y="280567"/>
                  <a:pt x="1006608" y="280567"/>
                </a:cubicBezTo>
                <a:cubicBezTo>
                  <a:pt x="1050737" y="280567"/>
                  <a:pt x="1071640" y="249445"/>
                  <a:pt x="1071640" y="193238"/>
                </a:cubicBezTo>
                <a:cubicBezTo>
                  <a:pt x="1071640" y="137032"/>
                  <a:pt x="1049808" y="104516"/>
                  <a:pt x="1006608" y="104516"/>
                </a:cubicBezTo>
                <a:close/>
                <a:moveTo>
                  <a:pt x="475200" y="103586"/>
                </a:moveTo>
                <a:cubicBezTo>
                  <a:pt x="438039" y="103586"/>
                  <a:pt x="417136" y="127277"/>
                  <a:pt x="411097" y="169548"/>
                </a:cubicBezTo>
                <a:lnTo>
                  <a:pt x="536517" y="169548"/>
                </a:lnTo>
                <a:cubicBezTo>
                  <a:pt x="535123" y="133780"/>
                  <a:pt x="514684" y="103586"/>
                  <a:pt x="475200" y="103586"/>
                </a:cubicBezTo>
                <a:close/>
                <a:moveTo>
                  <a:pt x="1141318" y="81290"/>
                </a:moveTo>
                <a:lnTo>
                  <a:pt x="1173834" y="81290"/>
                </a:lnTo>
                <a:cubicBezTo>
                  <a:pt x="1176157" y="81290"/>
                  <a:pt x="1177550" y="83148"/>
                  <a:pt x="1177550" y="85006"/>
                </a:cubicBezTo>
                <a:lnTo>
                  <a:pt x="1176621" y="176516"/>
                </a:lnTo>
                <a:lnTo>
                  <a:pt x="1176621" y="219716"/>
                </a:lnTo>
                <a:cubicBezTo>
                  <a:pt x="1176621" y="260129"/>
                  <a:pt x="1195667" y="278245"/>
                  <a:pt x="1224002" y="278245"/>
                </a:cubicBezTo>
                <a:cubicBezTo>
                  <a:pt x="1253267" y="278245"/>
                  <a:pt x="1276957" y="254555"/>
                  <a:pt x="1285783" y="210425"/>
                </a:cubicBezTo>
                <a:lnTo>
                  <a:pt x="1285783" y="176516"/>
                </a:lnTo>
                <a:lnTo>
                  <a:pt x="1284854" y="85006"/>
                </a:lnTo>
                <a:cubicBezTo>
                  <a:pt x="1284854" y="82684"/>
                  <a:pt x="1286712" y="81290"/>
                  <a:pt x="1288570" y="81290"/>
                </a:cubicBezTo>
                <a:lnTo>
                  <a:pt x="1321551" y="81290"/>
                </a:lnTo>
                <a:cubicBezTo>
                  <a:pt x="1323873" y="81290"/>
                  <a:pt x="1325267" y="83148"/>
                  <a:pt x="1325267" y="85006"/>
                </a:cubicBezTo>
                <a:lnTo>
                  <a:pt x="1324802" y="183019"/>
                </a:lnTo>
                <a:lnTo>
                  <a:pt x="1325731" y="301006"/>
                </a:lnTo>
                <a:cubicBezTo>
                  <a:pt x="1325731" y="303329"/>
                  <a:pt x="1323873" y="304722"/>
                  <a:pt x="1322015" y="304722"/>
                </a:cubicBezTo>
                <a:lnTo>
                  <a:pt x="1291357" y="304722"/>
                </a:lnTo>
                <a:cubicBezTo>
                  <a:pt x="1289034" y="304722"/>
                  <a:pt x="1287641" y="302864"/>
                  <a:pt x="1287641" y="301006"/>
                </a:cubicBezTo>
                <a:lnTo>
                  <a:pt x="1288570" y="266632"/>
                </a:lnTo>
                <a:cubicBezTo>
                  <a:pt x="1274635" y="289393"/>
                  <a:pt x="1249086" y="309832"/>
                  <a:pt x="1213783" y="309832"/>
                </a:cubicBezTo>
                <a:cubicBezTo>
                  <a:pt x="1167796" y="309832"/>
                  <a:pt x="1138531" y="279174"/>
                  <a:pt x="1138531" y="220645"/>
                </a:cubicBezTo>
                <a:lnTo>
                  <a:pt x="1138531" y="176516"/>
                </a:lnTo>
                <a:lnTo>
                  <a:pt x="1137602" y="85006"/>
                </a:lnTo>
                <a:cubicBezTo>
                  <a:pt x="1137602" y="82684"/>
                  <a:pt x="1139460" y="81290"/>
                  <a:pt x="1141318" y="81290"/>
                </a:cubicBezTo>
                <a:close/>
                <a:moveTo>
                  <a:pt x="697240" y="81290"/>
                </a:moveTo>
                <a:lnTo>
                  <a:pt x="734401" y="81290"/>
                </a:lnTo>
                <a:cubicBezTo>
                  <a:pt x="736724" y="81290"/>
                  <a:pt x="738582" y="83148"/>
                  <a:pt x="739511" y="84542"/>
                </a:cubicBezTo>
                <a:lnTo>
                  <a:pt x="803150" y="253625"/>
                </a:lnTo>
                <a:lnTo>
                  <a:pt x="856570" y="85006"/>
                </a:lnTo>
                <a:cubicBezTo>
                  <a:pt x="857499" y="82684"/>
                  <a:pt x="859821" y="81290"/>
                  <a:pt x="861679" y="81290"/>
                </a:cubicBezTo>
                <a:lnTo>
                  <a:pt x="894660" y="81290"/>
                </a:lnTo>
                <a:cubicBezTo>
                  <a:pt x="896982" y="81290"/>
                  <a:pt x="897912" y="83148"/>
                  <a:pt x="897447" y="85006"/>
                </a:cubicBezTo>
                <a:lnTo>
                  <a:pt x="796647" y="371148"/>
                </a:lnTo>
                <a:cubicBezTo>
                  <a:pt x="795718" y="373471"/>
                  <a:pt x="793395" y="374864"/>
                  <a:pt x="791537" y="374864"/>
                </a:cubicBezTo>
                <a:lnTo>
                  <a:pt x="761343" y="374864"/>
                </a:lnTo>
                <a:cubicBezTo>
                  <a:pt x="759485" y="374864"/>
                  <a:pt x="758092" y="373006"/>
                  <a:pt x="758556" y="371148"/>
                </a:cubicBezTo>
                <a:lnTo>
                  <a:pt x="782247" y="305187"/>
                </a:lnTo>
                <a:lnTo>
                  <a:pt x="694453" y="84542"/>
                </a:lnTo>
                <a:cubicBezTo>
                  <a:pt x="693988" y="82684"/>
                  <a:pt x="695382" y="81290"/>
                  <a:pt x="697240" y="81290"/>
                </a:cubicBezTo>
                <a:close/>
                <a:moveTo>
                  <a:pt x="161187" y="80361"/>
                </a:moveTo>
                <a:lnTo>
                  <a:pt x="196026" y="80361"/>
                </a:lnTo>
                <a:cubicBezTo>
                  <a:pt x="198348" y="80361"/>
                  <a:pt x="200207" y="82219"/>
                  <a:pt x="201136" y="84077"/>
                </a:cubicBezTo>
                <a:lnTo>
                  <a:pt x="264310" y="270813"/>
                </a:lnTo>
                <a:lnTo>
                  <a:pt x="328878" y="84077"/>
                </a:lnTo>
                <a:cubicBezTo>
                  <a:pt x="329807" y="81755"/>
                  <a:pt x="332129" y="80361"/>
                  <a:pt x="333987" y="80361"/>
                </a:cubicBezTo>
                <a:lnTo>
                  <a:pt x="364646" y="80361"/>
                </a:lnTo>
                <a:cubicBezTo>
                  <a:pt x="366968" y="80361"/>
                  <a:pt x="367897" y="82219"/>
                  <a:pt x="367433" y="83613"/>
                </a:cubicBezTo>
                <a:lnTo>
                  <a:pt x="288929" y="301006"/>
                </a:lnTo>
                <a:cubicBezTo>
                  <a:pt x="288000" y="302864"/>
                  <a:pt x="285678" y="304258"/>
                  <a:pt x="283820" y="304258"/>
                </a:cubicBezTo>
                <a:lnTo>
                  <a:pt x="243871" y="304258"/>
                </a:lnTo>
                <a:cubicBezTo>
                  <a:pt x="241549" y="304258"/>
                  <a:pt x="239691" y="302400"/>
                  <a:pt x="238761" y="301006"/>
                </a:cubicBezTo>
                <a:lnTo>
                  <a:pt x="158400" y="83613"/>
                </a:lnTo>
                <a:cubicBezTo>
                  <a:pt x="157936" y="81755"/>
                  <a:pt x="159329" y="80361"/>
                  <a:pt x="161187" y="80361"/>
                </a:cubicBezTo>
                <a:close/>
                <a:moveTo>
                  <a:pt x="95226" y="79896"/>
                </a:moveTo>
                <a:lnTo>
                  <a:pt x="127742" y="79896"/>
                </a:lnTo>
                <a:cubicBezTo>
                  <a:pt x="130065" y="79896"/>
                  <a:pt x="131458" y="81754"/>
                  <a:pt x="131458" y="83613"/>
                </a:cubicBezTo>
                <a:lnTo>
                  <a:pt x="130994" y="188129"/>
                </a:lnTo>
                <a:lnTo>
                  <a:pt x="131923" y="300077"/>
                </a:lnTo>
                <a:cubicBezTo>
                  <a:pt x="131923" y="302400"/>
                  <a:pt x="130065" y="303793"/>
                  <a:pt x="128207" y="303793"/>
                </a:cubicBezTo>
                <a:lnTo>
                  <a:pt x="95226" y="303793"/>
                </a:lnTo>
                <a:cubicBezTo>
                  <a:pt x="92904" y="303793"/>
                  <a:pt x="91510" y="301935"/>
                  <a:pt x="91510" y="300077"/>
                </a:cubicBezTo>
                <a:lnTo>
                  <a:pt x="92439" y="188593"/>
                </a:lnTo>
                <a:lnTo>
                  <a:pt x="91510" y="83613"/>
                </a:lnTo>
                <a:cubicBezTo>
                  <a:pt x="91510" y="81290"/>
                  <a:pt x="93368" y="79896"/>
                  <a:pt x="95226" y="79896"/>
                </a:cubicBezTo>
                <a:close/>
                <a:moveTo>
                  <a:pt x="1006608" y="75251"/>
                </a:moveTo>
                <a:cubicBezTo>
                  <a:pt x="1074892" y="75251"/>
                  <a:pt x="1112518" y="121703"/>
                  <a:pt x="1112518" y="192309"/>
                </a:cubicBezTo>
                <a:cubicBezTo>
                  <a:pt x="1112518" y="262916"/>
                  <a:pt x="1074892" y="309832"/>
                  <a:pt x="1006608" y="309832"/>
                </a:cubicBezTo>
                <a:cubicBezTo>
                  <a:pt x="938788" y="309832"/>
                  <a:pt x="900698" y="263845"/>
                  <a:pt x="900698" y="193238"/>
                </a:cubicBezTo>
                <a:cubicBezTo>
                  <a:pt x="900698" y="122167"/>
                  <a:pt x="938788" y="75251"/>
                  <a:pt x="1006608" y="75251"/>
                </a:cubicBezTo>
                <a:close/>
                <a:moveTo>
                  <a:pt x="1485061" y="74322"/>
                </a:moveTo>
                <a:cubicBezTo>
                  <a:pt x="1489706" y="74322"/>
                  <a:pt x="1494351" y="74787"/>
                  <a:pt x="1498067" y="75716"/>
                </a:cubicBezTo>
                <a:cubicBezTo>
                  <a:pt x="1500390" y="76180"/>
                  <a:pt x="1501783" y="78503"/>
                  <a:pt x="1501783" y="80361"/>
                </a:cubicBezTo>
                <a:lnTo>
                  <a:pt x="1501783" y="105445"/>
                </a:lnTo>
                <a:cubicBezTo>
                  <a:pt x="1501783" y="107303"/>
                  <a:pt x="1499925" y="108696"/>
                  <a:pt x="1498067" y="108696"/>
                </a:cubicBezTo>
                <a:cubicBezTo>
                  <a:pt x="1494816" y="108232"/>
                  <a:pt x="1490170" y="107767"/>
                  <a:pt x="1485525" y="107767"/>
                </a:cubicBezTo>
                <a:cubicBezTo>
                  <a:pt x="1447899" y="107767"/>
                  <a:pt x="1414919" y="130993"/>
                  <a:pt x="1410273" y="179767"/>
                </a:cubicBezTo>
                <a:lnTo>
                  <a:pt x="1410738" y="297290"/>
                </a:lnTo>
                <a:cubicBezTo>
                  <a:pt x="1410738" y="299612"/>
                  <a:pt x="1408880" y="301006"/>
                  <a:pt x="1407022" y="301006"/>
                </a:cubicBezTo>
                <a:lnTo>
                  <a:pt x="1374970" y="301006"/>
                </a:lnTo>
                <a:cubicBezTo>
                  <a:pt x="1372647" y="301006"/>
                  <a:pt x="1371254" y="299148"/>
                  <a:pt x="1371254" y="297290"/>
                </a:cubicBezTo>
                <a:lnTo>
                  <a:pt x="1372647" y="186735"/>
                </a:lnTo>
                <a:lnTo>
                  <a:pt x="1371254" y="80825"/>
                </a:lnTo>
                <a:cubicBezTo>
                  <a:pt x="1371254" y="78503"/>
                  <a:pt x="1373112" y="77109"/>
                  <a:pt x="1374970" y="77109"/>
                </a:cubicBezTo>
                <a:lnTo>
                  <a:pt x="1407022" y="77109"/>
                </a:lnTo>
                <a:cubicBezTo>
                  <a:pt x="1409344" y="77109"/>
                  <a:pt x="1410738" y="78967"/>
                  <a:pt x="1410738" y="80825"/>
                </a:cubicBezTo>
                <a:lnTo>
                  <a:pt x="1408880" y="118451"/>
                </a:lnTo>
                <a:cubicBezTo>
                  <a:pt x="1425138" y="89651"/>
                  <a:pt x="1453474" y="74322"/>
                  <a:pt x="1485061" y="74322"/>
                </a:cubicBezTo>
                <a:close/>
                <a:moveTo>
                  <a:pt x="474736" y="74322"/>
                </a:moveTo>
                <a:cubicBezTo>
                  <a:pt x="539304" y="74322"/>
                  <a:pt x="577859" y="118451"/>
                  <a:pt x="579252" y="193238"/>
                </a:cubicBezTo>
                <a:cubicBezTo>
                  <a:pt x="579252" y="195561"/>
                  <a:pt x="577394" y="196954"/>
                  <a:pt x="575536" y="196954"/>
                </a:cubicBezTo>
                <a:lnTo>
                  <a:pt x="409703" y="196954"/>
                </a:lnTo>
                <a:cubicBezTo>
                  <a:pt x="411097" y="250838"/>
                  <a:pt x="433394" y="279638"/>
                  <a:pt x="477058" y="279638"/>
                </a:cubicBezTo>
                <a:cubicBezTo>
                  <a:pt x="510039" y="279638"/>
                  <a:pt x="530013" y="262451"/>
                  <a:pt x="536517" y="229470"/>
                </a:cubicBezTo>
                <a:cubicBezTo>
                  <a:pt x="536981" y="227148"/>
                  <a:pt x="539304" y="225754"/>
                  <a:pt x="541162" y="225754"/>
                </a:cubicBezTo>
                <a:lnTo>
                  <a:pt x="571820" y="225754"/>
                </a:lnTo>
                <a:lnTo>
                  <a:pt x="571820" y="226219"/>
                </a:lnTo>
                <a:cubicBezTo>
                  <a:pt x="574143" y="226219"/>
                  <a:pt x="575072" y="228077"/>
                  <a:pt x="575072" y="229935"/>
                </a:cubicBezTo>
                <a:cubicBezTo>
                  <a:pt x="568104" y="275457"/>
                  <a:pt x="534194" y="308903"/>
                  <a:pt x="476594" y="308903"/>
                </a:cubicBezTo>
                <a:cubicBezTo>
                  <a:pt x="406916" y="308903"/>
                  <a:pt x="369755" y="260593"/>
                  <a:pt x="369755" y="192309"/>
                </a:cubicBezTo>
                <a:cubicBezTo>
                  <a:pt x="369755" y="122167"/>
                  <a:pt x="409703" y="74322"/>
                  <a:pt x="474736" y="74322"/>
                </a:cubicBezTo>
                <a:close/>
                <a:moveTo>
                  <a:pt x="95226" y="11148"/>
                </a:moveTo>
                <a:lnTo>
                  <a:pt x="127742" y="11148"/>
                </a:lnTo>
                <a:cubicBezTo>
                  <a:pt x="130065" y="11148"/>
                  <a:pt x="131458" y="13006"/>
                  <a:pt x="131458" y="14864"/>
                </a:cubicBezTo>
                <a:lnTo>
                  <a:pt x="131458" y="50632"/>
                </a:lnTo>
                <a:cubicBezTo>
                  <a:pt x="131458" y="52954"/>
                  <a:pt x="129600" y="54348"/>
                  <a:pt x="127742" y="54348"/>
                </a:cubicBezTo>
                <a:lnTo>
                  <a:pt x="95226" y="54348"/>
                </a:lnTo>
                <a:cubicBezTo>
                  <a:pt x="92904" y="54348"/>
                  <a:pt x="91510" y="52490"/>
                  <a:pt x="91510" y="50632"/>
                </a:cubicBezTo>
                <a:lnTo>
                  <a:pt x="91510" y="14864"/>
                </a:lnTo>
                <a:cubicBezTo>
                  <a:pt x="91510" y="12542"/>
                  <a:pt x="93368" y="11148"/>
                  <a:pt x="95226" y="11148"/>
                </a:cubicBezTo>
                <a:close/>
                <a:moveTo>
                  <a:pt x="6038" y="0"/>
                </a:moveTo>
                <a:lnTo>
                  <a:pt x="38090" y="0"/>
                </a:lnTo>
                <a:cubicBezTo>
                  <a:pt x="40412" y="0"/>
                  <a:pt x="41806" y="1858"/>
                  <a:pt x="41806" y="3716"/>
                </a:cubicBezTo>
                <a:lnTo>
                  <a:pt x="39948" y="150039"/>
                </a:lnTo>
                <a:lnTo>
                  <a:pt x="41806" y="300542"/>
                </a:lnTo>
                <a:cubicBezTo>
                  <a:pt x="41806" y="302865"/>
                  <a:pt x="39948" y="304258"/>
                  <a:pt x="38090" y="304258"/>
                </a:cubicBezTo>
                <a:lnTo>
                  <a:pt x="6038" y="304258"/>
                </a:lnTo>
                <a:lnTo>
                  <a:pt x="6038" y="303794"/>
                </a:lnTo>
                <a:cubicBezTo>
                  <a:pt x="3716" y="303794"/>
                  <a:pt x="2322" y="301936"/>
                  <a:pt x="2322" y="300077"/>
                </a:cubicBezTo>
                <a:lnTo>
                  <a:pt x="4180" y="150039"/>
                </a:lnTo>
                <a:lnTo>
                  <a:pt x="2322" y="3716"/>
                </a:lnTo>
                <a:cubicBezTo>
                  <a:pt x="2322" y="1394"/>
                  <a:pt x="4180" y="0"/>
                  <a:pt x="6038" y="0"/>
                </a:cubicBezTo>
                <a:close/>
              </a:path>
            </a:pathLst>
          </a:custGeom>
          <a:solidFill>
            <a:schemeClr val="tx1"/>
          </a:solidFill>
        </p:spPr>
        <p:txBody>
          <a:bodyPr wrap="square">
            <a:noAutofit/>
          </a:bodyPr>
          <a:lstStyle/>
          <a:p>
            <a:pPr lvl="0"/>
            <a:r>
              <a:rPr lang="en-US"/>
              <a:t> </a:t>
            </a:r>
          </a:p>
        </p:txBody>
      </p:sp>
      <p:sp>
        <p:nvSpPr>
          <p:cNvPr id="11" name="LYBL 1" descr="live your best life tagline graphic">
            <a:extLst>
              <a:ext uri="{FF2B5EF4-FFF2-40B4-BE49-F238E27FC236}">
                <a16:creationId xmlns:a16="http://schemas.microsoft.com/office/drawing/2014/main" id="{8B848369-B4E0-1C37-12AC-4CCED5B63508}"/>
              </a:ext>
            </a:extLst>
          </p:cNvPr>
          <p:cNvSpPr>
            <a:spLocks noGrp="1"/>
          </p:cNvSpPr>
          <p:nvPr>
            <p:ph type="body" sz="quarter" idx="22" hasCustomPrompt="1"/>
          </p:nvPr>
        </p:nvSpPr>
        <p:spPr>
          <a:xfrm>
            <a:off x="13940543" y="1088687"/>
            <a:ext cx="783622" cy="1440313"/>
          </a:xfrm>
          <a:custGeom>
            <a:avLst/>
            <a:gdLst>
              <a:gd name="connsiteX0" fmla="*/ 402004 w 783622"/>
              <a:gd name="connsiteY0" fmla="*/ 1240933 h 1440313"/>
              <a:gd name="connsiteX1" fmla="*/ 339754 w 783622"/>
              <a:gd name="connsiteY1" fmla="*/ 1304987 h 1440313"/>
              <a:gd name="connsiteX2" fmla="*/ 461547 w 783622"/>
              <a:gd name="connsiteY2" fmla="*/ 1304987 h 1440313"/>
              <a:gd name="connsiteX3" fmla="*/ 402004 w 783622"/>
              <a:gd name="connsiteY3" fmla="*/ 1240933 h 1440313"/>
              <a:gd name="connsiteX4" fmla="*/ 112860 w 783622"/>
              <a:gd name="connsiteY4" fmla="*/ 1218379 h 1440313"/>
              <a:gd name="connsiteX5" fmla="*/ 144436 w 783622"/>
              <a:gd name="connsiteY5" fmla="*/ 1218379 h 1440313"/>
              <a:gd name="connsiteX6" fmla="*/ 148044 w 783622"/>
              <a:gd name="connsiteY6" fmla="*/ 1221987 h 1440313"/>
              <a:gd name="connsiteX7" fmla="*/ 147142 w 783622"/>
              <a:gd name="connsiteY7" fmla="*/ 1323481 h 1440313"/>
              <a:gd name="connsiteX8" fmla="*/ 148044 w 783622"/>
              <a:gd name="connsiteY8" fmla="*/ 1432193 h 1440313"/>
              <a:gd name="connsiteX9" fmla="*/ 144436 w 783622"/>
              <a:gd name="connsiteY9" fmla="*/ 1435801 h 1440313"/>
              <a:gd name="connsiteX10" fmla="*/ 112860 w 783622"/>
              <a:gd name="connsiteY10" fmla="*/ 1435801 h 1440313"/>
              <a:gd name="connsiteX11" fmla="*/ 109251 w 783622"/>
              <a:gd name="connsiteY11" fmla="*/ 1432193 h 1440313"/>
              <a:gd name="connsiteX12" fmla="*/ 110153 w 783622"/>
              <a:gd name="connsiteY12" fmla="*/ 1323932 h 1440313"/>
              <a:gd name="connsiteX13" fmla="*/ 109251 w 783622"/>
              <a:gd name="connsiteY13" fmla="*/ 1221987 h 1440313"/>
              <a:gd name="connsiteX14" fmla="*/ 112860 w 783622"/>
              <a:gd name="connsiteY14" fmla="*/ 1218379 h 1440313"/>
              <a:gd name="connsiteX15" fmla="*/ 401553 w 783622"/>
              <a:gd name="connsiteY15" fmla="*/ 1212515 h 1440313"/>
              <a:gd name="connsiteX16" fmla="*/ 503047 w 783622"/>
              <a:gd name="connsiteY16" fmla="*/ 1327993 h 1440313"/>
              <a:gd name="connsiteX17" fmla="*/ 499438 w 783622"/>
              <a:gd name="connsiteY17" fmla="*/ 1331601 h 1440313"/>
              <a:gd name="connsiteX18" fmla="*/ 338852 w 783622"/>
              <a:gd name="connsiteY18" fmla="*/ 1331601 h 1440313"/>
              <a:gd name="connsiteX19" fmla="*/ 404260 w 783622"/>
              <a:gd name="connsiteY19" fmla="*/ 1411894 h 1440313"/>
              <a:gd name="connsiteX20" fmla="*/ 461998 w 783622"/>
              <a:gd name="connsiteY20" fmla="*/ 1363177 h 1440313"/>
              <a:gd name="connsiteX21" fmla="*/ 466509 w 783622"/>
              <a:gd name="connsiteY21" fmla="*/ 1359569 h 1440313"/>
              <a:gd name="connsiteX22" fmla="*/ 495830 w 783622"/>
              <a:gd name="connsiteY22" fmla="*/ 1359569 h 1440313"/>
              <a:gd name="connsiteX23" fmla="*/ 495830 w 783622"/>
              <a:gd name="connsiteY23" fmla="*/ 1360020 h 1440313"/>
              <a:gd name="connsiteX24" fmla="*/ 498987 w 783622"/>
              <a:gd name="connsiteY24" fmla="*/ 1363628 h 1440313"/>
              <a:gd name="connsiteX25" fmla="*/ 403357 w 783622"/>
              <a:gd name="connsiteY25" fmla="*/ 1440313 h 1440313"/>
              <a:gd name="connsiteX26" fmla="*/ 299608 w 783622"/>
              <a:gd name="connsiteY26" fmla="*/ 1327090 h 1440313"/>
              <a:gd name="connsiteX27" fmla="*/ 401553 w 783622"/>
              <a:gd name="connsiteY27" fmla="*/ 1212515 h 1440313"/>
              <a:gd name="connsiteX28" fmla="*/ 112860 w 783622"/>
              <a:gd name="connsiteY28" fmla="*/ 1151167 h 1440313"/>
              <a:gd name="connsiteX29" fmla="*/ 144436 w 783622"/>
              <a:gd name="connsiteY29" fmla="*/ 1151167 h 1440313"/>
              <a:gd name="connsiteX30" fmla="*/ 148044 w 783622"/>
              <a:gd name="connsiteY30" fmla="*/ 1154776 h 1440313"/>
              <a:gd name="connsiteX31" fmla="*/ 148044 w 783622"/>
              <a:gd name="connsiteY31" fmla="*/ 1189509 h 1440313"/>
              <a:gd name="connsiteX32" fmla="*/ 144436 w 783622"/>
              <a:gd name="connsiteY32" fmla="*/ 1193118 h 1440313"/>
              <a:gd name="connsiteX33" fmla="*/ 112860 w 783622"/>
              <a:gd name="connsiteY33" fmla="*/ 1193118 h 1440313"/>
              <a:gd name="connsiteX34" fmla="*/ 109251 w 783622"/>
              <a:gd name="connsiteY34" fmla="*/ 1189509 h 1440313"/>
              <a:gd name="connsiteX35" fmla="*/ 109251 w 783622"/>
              <a:gd name="connsiteY35" fmla="*/ 1154776 h 1440313"/>
              <a:gd name="connsiteX36" fmla="*/ 112860 w 783622"/>
              <a:gd name="connsiteY36" fmla="*/ 1151167 h 1440313"/>
              <a:gd name="connsiteX37" fmla="*/ 29860 w 783622"/>
              <a:gd name="connsiteY37" fmla="*/ 1140793 h 1440313"/>
              <a:gd name="connsiteX38" fmla="*/ 60984 w 783622"/>
              <a:gd name="connsiteY38" fmla="*/ 1140793 h 1440313"/>
              <a:gd name="connsiteX39" fmla="*/ 64593 w 783622"/>
              <a:gd name="connsiteY39" fmla="*/ 1144402 h 1440313"/>
              <a:gd name="connsiteX40" fmla="*/ 62789 w 783622"/>
              <a:gd name="connsiteY40" fmla="*/ 1286493 h 1440313"/>
              <a:gd name="connsiteX41" fmla="*/ 64593 w 783622"/>
              <a:gd name="connsiteY41" fmla="*/ 1432644 h 1440313"/>
              <a:gd name="connsiteX42" fmla="*/ 60984 w 783622"/>
              <a:gd name="connsiteY42" fmla="*/ 1436253 h 1440313"/>
              <a:gd name="connsiteX43" fmla="*/ 29860 w 783622"/>
              <a:gd name="connsiteY43" fmla="*/ 1436253 h 1440313"/>
              <a:gd name="connsiteX44" fmla="*/ 29860 w 783622"/>
              <a:gd name="connsiteY44" fmla="*/ 1435802 h 1440313"/>
              <a:gd name="connsiteX45" fmla="*/ 26251 w 783622"/>
              <a:gd name="connsiteY45" fmla="*/ 1432193 h 1440313"/>
              <a:gd name="connsiteX46" fmla="*/ 28055 w 783622"/>
              <a:gd name="connsiteY46" fmla="*/ 1286493 h 1440313"/>
              <a:gd name="connsiteX47" fmla="*/ 26251 w 783622"/>
              <a:gd name="connsiteY47" fmla="*/ 1144402 h 1440313"/>
              <a:gd name="connsiteX48" fmla="*/ 29860 w 783622"/>
              <a:gd name="connsiteY48" fmla="*/ 1140793 h 1440313"/>
              <a:gd name="connsiteX49" fmla="*/ 268483 w 783622"/>
              <a:gd name="connsiteY49" fmla="*/ 1134928 h 1440313"/>
              <a:gd name="connsiteX50" fmla="*/ 296901 w 783622"/>
              <a:gd name="connsiteY50" fmla="*/ 1138086 h 1440313"/>
              <a:gd name="connsiteX51" fmla="*/ 300510 w 783622"/>
              <a:gd name="connsiteY51" fmla="*/ 1142596 h 1440313"/>
              <a:gd name="connsiteX52" fmla="*/ 300510 w 783622"/>
              <a:gd name="connsiteY52" fmla="*/ 1164248 h 1440313"/>
              <a:gd name="connsiteX53" fmla="*/ 296901 w 783622"/>
              <a:gd name="connsiteY53" fmla="*/ 1167406 h 1440313"/>
              <a:gd name="connsiteX54" fmla="*/ 277054 w 783622"/>
              <a:gd name="connsiteY54" fmla="*/ 1164700 h 1440313"/>
              <a:gd name="connsiteX55" fmla="*/ 249086 w 783622"/>
              <a:gd name="connsiteY55" fmla="*/ 1202591 h 1440313"/>
              <a:gd name="connsiteX56" fmla="*/ 249086 w 783622"/>
              <a:gd name="connsiteY56" fmla="*/ 1218830 h 1440313"/>
              <a:gd name="connsiteX57" fmla="*/ 296450 w 783622"/>
              <a:gd name="connsiteY57" fmla="*/ 1218830 h 1440313"/>
              <a:gd name="connsiteX58" fmla="*/ 300059 w 783622"/>
              <a:gd name="connsiteY58" fmla="*/ 1222438 h 1440313"/>
              <a:gd name="connsiteX59" fmla="*/ 300059 w 783622"/>
              <a:gd name="connsiteY59" fmla="*/ 1244542 h 1440313"/>
              <a:gd name="connsiteX60" fmla="*/ 296450 w 783622"/>
              <a:gd name="connsiteY60" fmla="*/ 1248150 h 1440313"/>
              <a:gd name="connsiteX61" fmla="*/ 248635 w 783622"/>
              <a:gd name="connsiteY61" fmla="*/ 1248150 h 1440313"/>
              <a:gd name="connsiteX62" fmla="*/ 248635 w 783622"/>
              <a:gd name="connsiteY62" fmla="*/ 1337465 h 1440313"/>
              <a:gd name="connsiteX63" fmla="*/ 249988 w 783622"/>
              <a:gd name="connsiteY63" fmla="*/ 1431742 h 1440313"/>
              <a:gd name="connsiteX64" fmla="*/ 246380 w 783622"/>
              <a:gd name="connsiteY64" fmla="*/ 1435350 h 1440313"/>
              <a:gd name="connsiteX65" fmla="*/ 213902 w 783622"/>
              <a:gd name="connsiteY65" fmla="*/ 1435350 h 1440313"/>
              <a:gd name="connsiteX66" fmla="*/ 210293 w 783622"/>
              <a:gd name="connsiteY66" fmla="*/ 1431742 h 1440313"/>
              <a:gd name="connsiteX67" fmla="*/ 211646 w 783622"/>
              <a:gd name="connsiteY67" fmla="*/ 1337465 h 1440313"/>
              <a:gd name="connsiteX68" fmla="*/ 211646 w 783622"/>
              <a:gd name="connsiteY68" fmla="*/ 1247699 h 1440313"/>
              <a:gd name="connsiteX69" fmla="*/ 181424 w 783622"/>
              <a:gd name="connsiteY69" fmla="*/ 1247699 h 1440313"/>
              <a:gd name="connsiteX70" fmla="*/ 177815 w 783622"/>
              <a:gd name="connsiteY70" fmla="*/ 1244090 h 1440313"/>
              <a:gd name="connsiteX71" fmla="*/ 177815 w 783622"/>
              <a:gd name="connsiteY71" fmla="*/ 1221987 h 1440313"/>
              <a:gd name="connsiteX72" fmla="*/ 181424 w 783622"/>
              <a:gd name="connsiteY72" fmla="*/ 1218379 h 1440313"/>
              <a:gd name="connsiteX73" fmla="*/ 211646 w 783622"/>
              <a:gd name="connsiteY73" fmla="*/ 1218379 h 1440313"/>
              <a:gd name="connsiteX74" fmla="*/ 211646 w 783622"/>
              <a:gd name="connsiteY74" fmla="*/ 1199433 h 1440313"/>
              <a:gd name="connsiteX75" fmla="*/ 268483 w 783622"/>
              <a:gd name="connsiteY75" fmla="*/ 1134928 h 1440313"/>
              <a:gd name="connsiteX76" fmla="*/ 121430 w 783622"/>
              <a:gd name="connsiteY76" fmla="*/ 828191 h 1440313"/>
              <a:gd name="connsiteX77" fmla="*/ 60534 w 783622"/>
              <a:gd name="connsiteY77" fmla="*/ 910288 h 1440313"/>
              <a:gd name="connsiteX78" fmla="*/ 120528 w 783622"/>
              <a:gd name="connsiteY78" fmla="*/ 996897 h 1440313"/>
              <a:gd name="connsiteX79" fmla="*/ 182327 w 783622"/>
              <a:gd name="connsiteY79" fmla="*/ 914348 h 1440313"/>
              <a:gd name="connsiteX80" fmla="*/ 121430 w 783622"/>
              <a:gd name="connsiteY80" fmla="*/ 828191 h 1440313"/>
              <a:gd name="connsiteX81" fmla="*/ 345619 w 783622"/>
              <a:gd name="connsiteY81" fmla="*/ 826838 h 1440313"/>
              <a:gd name="connsiteX82" fmla="*/ 283369 w 783622"/>
              <a:gd name="connsiteY82" fmla="*/ 890892 h 1440313"/>
              <a:gd name="connsiteX83" fmla="*/ 405162 w 783622"/>
              <a:gd name="connsiteY83" fmla="*/ 890892 h 1440313"/>
              <a:gd name="connsiteX84" fmla="*/ 345619 w 783622"/>
              <a:gd name="connsiteY84" fmla="*/ 826838 h 1440313"/>
              <a:gd name="connsiteX85" fmla="*/ 556726 w 783622"/>
              <a:gd name="connsiteY85" fmla="*/ 800224 h 1440313"/>
              <a:gd name="connsiteX86" fmla="*/ 647394 w 783622"/>
              <a:gd name="connsiteY86" fmla="*/ 866533 h 1440313"/>
              <a:gd name="connsiteX87" fmla="*/ 643785 w 783622"/>
              <a:gd name="connsiteY87" fmla="*/ 870142 h 1440313"/>
              <a:gd name="connsiteX88" fmla="*/ 615367 w 783622"/>
              <a:gd name="connsiteY88" fmla="*/ 870142 h 1440313"/>
              <a:gd name="connsiteX89" fmla="*/ 611307 w 783622"/>
              <a:gd name="connsiteY89" fmla="*/ 866533 h 1440313"/>
              <a:gd name="connsiteX90" fmla="*/ 556275 w 783622"/>
              <a:gd name="connsiteY90" fmla="*/ 826387 h 1440313"/>
              <a:gd name="connsiteX91" fmla="*/ 507558 w 783622"/>
              <a:gd name="connsiteY91" fmla="*/ 861571 h 1440313"/>
              <a:gd name="connsiteX92" fmla="*/ 654160 w 783622"/>
              <a:gd name="connsiteY92" fmla="*/ 959908 h 1440313"/>
              <a:gd name="connsiteX93" fmla="*/ 563041 w 783622"/>
              <a:gd name="connsiteY93" fmla="*/ 1026217 h 1440313"/>
              <a:gd name="connsiteX94" fmla="*/ 466058 w 783622"/>
              <a:gd name="connsiteY94" fmla="*/ 950435 h 1440313"/>
              <a:gd name="connsiteX95" fmla="*/ 469667 w 783622"/>
              <a:gd name="connsiteY95" fmla="*/ 946826 h 1440313"/>
              <a:gd name="connsiteX96" fmla="*/ 499438 w 783622"/>
              <a:gd name="connsiteY96" fmla="*/ 946826 h 1440313"/>
              <a:gd name="connsiteX97" fmla="*/ 503047 w 783622"/>
              <a:gd name="connsiteY97" fmla="*/ 950435 h 1440313"/>
              <a:gd name="connsiteX98" fmla="*/ 564394 w 783622"/>
              <a:gd name="connsiteY98" fmla="*/ 1000054 h 1440313"/>
              <a:gd name="connsiteX99" fmla="*/ 617622 w 783622"/>
              <a:gd name="connsiteY99" fmla="*/ 962614 h 1440313"/>
              <a:gd name="connsiteX100" fmla="*/ 471020 w 783622"/>
              <a:gd name="connsiteY100" fmla="*/ 863827 h 1440313"/>
              <a:gd name="connsiteX101" fmla="*/ 556726 w 783622"/>
              <a:gd name="connsiteY101" fmla="*/ 800224 h 1440313"/>
              <a:gd name="connsiteX102" fmla="*/ 345168 w 783622"/>
              <a:gd name="connsiteY102" fmla="*/ 798420 h 1440313"/>
              <a:gd name="connsiteX103" fmla="*/ 446662 w 783622"/>
              <a:gd name="connsiteY103" fmla="*/ 913898 h 1440313"/>
              <a:gd name="connsiteX104" fmla="*/ 443053 w 783622"/>
              <a:gd name="connsiteY104" fmla="*/ 917506 h 1440313"/>
              <a:gd name="connsiteX105" fmla="*/ 282467 w 783622"/>
              <a:gd name="connsiteY105" fmla="*/ 917506 h 1440313"/>
              <a:gd name="connsiteX106" fmla="*/ 347875 w 783622"/>
              <a:gd name="connsiteY106" fmla="*/ 997799 h 1440313"/>
              <a:gd name="connsiteX107" fmla="*/ 405613 w 783622"/>
              <a:gd name="connsiteY107" fmla="*/ 949082 h 1440313"/>
              <a:gd name="connsiteX108" fmla="*/ 410124 w 783622"/>
              <a:gd name="connsiteY108" fmla="*/ 945473 h 1440313"/>
              <a:gd name="connsiteX109" fmla="*/ 439445 w 783622"/>
              <a:gd name="connsiteY109" fmla="*/ 945473 h 1440313"/>
              <a:gd name="connsiteX110" fmla="*/ 439445 w 783622"/>
              <a:gd name="connsiteY110" fmla="*/ 945925 h 1440313"/>
              <a:gd name="connsiteX111" fmla="*/ 442602 w 783622"/>
              <a:gd name="connsiteY111" fmla="*/ 949533 h 1440313"/>
              <a:gd name="connsiteX112" fmla="*/ 346972 w 783622"/>
              <a:gd name="connsiteY112" fmla="*/ 1026218 h 1440313"/>
              <a:gd name="connsiteX113" fmla="*/ 243223 w 783622"/>
              <a:gd name="connsiteY113" fmla="*/ 912995 h 1440313"/>
              <a:gd name="connsiteX114" fmla="*/ 345168 w 783622"/>
              <a:gd name="connsiteY114" fmla="*/ 798420 h 1440313"/>
              <a:gd name="connsiteX115" fmla="*/ 691149 w 783622"/>
              <a:gd name="connsiteY115" fmla="*/ 749702 h 1440313"/>
              <a:gd name="connsiteX116" fmla="*/ 722274 w 783622"/>
              <a:gd name="connsiteY116" fmla="*/ 749702 h 1440313"/>
              <a:gd name="connsiteX117" fmla="*/ 725882 w 783622"/>
              <a:gd name="connsiteY117" fmla="*/ 753311 h 1440313"/>
              <a:gd name="connsiteX118" fmla="*/ 725431 w 783622"/>
              <a:gd name="connsiteY118" fmla="*/ 803832 h 1440313"/>
              <a:gd name="connsiteX119" fmla="*/ 775050 w 783622"/>
              <a:gd name="connsiteY119" fmla="*/ 803832 h 1440313"/>
              <a:gd name="connsiteX120" fmla="*/ 778659 w 783622"/>
              <a:gd name="connsiteY120" fmla="*/ 807441 h 1440313"/>
              <a:gd name="connsiteX121" fmla="*/ 778659 w 783622"/>
              <a:gd name="connsiteY121" fmla="*/ 829995 h 1440313"/>
              <a:gd name="connsiteX122" fmla="*/ 775050 w 783622"/>
              <a:gd name="connsiteY122" fmla="*/ 833604 h 1440313"/>
              <a:gd name="connsiteX123" fmla="*/ 725431 w 783622"/>
              <a:gd name="connsiteY123" fmla="*/ 833604 h 1440313"/>
              <a:gd name="connsiteX124" fmla="*/ 725431 w 783622"/>
              <a:gd name="connsiteY124" fmla="*/ 960358 h 1440313"/>
              <a:gd name="connsiteX125" fmla="*/ 752947 w 783622"/>
              <a:gd name="connsiteY125" fmla="*/ 994641 h 1440313"/>
              <a:gd name="connsiteX126" fmla="*/ 775501 w 783622"/>
              <a:gd name="connsiteY126" fmla="*/ 991934 h 1440313"/>
              <a:gd name="connsiteX127" fmla="*/ 779110 w 783622"/>
              <a:gd name="connsiteY127" fmla="*/ 994641 h 1440313"/>
              <a:gd name="connsiteX128" fmla="*/ 779110 w 783622"/>
              <a:gd name="connsiteY128" fmla="*/ 1014940 h 1440313"/>
              <a:gd name="connsiteX129" fmla="*/ 779561 w 783622"/>
              <a:gd name="connsiteY129" fmla="*/ 1014940 h 1440313"/>
              <a:gd name="connsiteX130" fmla="*/ 775953 w 783622"/>
              <a:gd name="connsiteY130" fmla="*/ 1019902 h 1440313"/>
              <a:gd name="connsiteX131" fmla="*/ 746181 w 783622"/>
              <a:gd name="connsiteY131" fmla="*/ 1024863 h 1440313"/>
              <a:gd name="connsiteX132" fmla="*/ 687991 w 783622"/>
              <a:gd name="connsiteY132" fmla="*/ 961261 h 1440313"/>
              <a:gd name="connsiteX133" fmla="*/ 687991 w 783622"/>
              <a:gd name="connsiteY133" fmla="*/ 833604 h 1440313"/>
              <a:gd name="connsiteX134" fmla="*/ 664084 w 783622"/>
              <a:gd name="connsiteY134" fmla="*/ 833604 h 1440313"/>
              <a:gd name="connsiteX135" fmla="*/ 660475 w 783622"/>
              <a:gd name="connsiteY135" fmla="*/ 829995 h 1440313"/>
              <a:gd name="connsiteX136" fmla="*/ 660475 w 783622"/>
              <a:gd name="connsiteY136" fmla="*/ 807441 h 1440313"/>
              <a:gd name="connsiteX137" fmla="*/ 664084 w 783622"/>
              <a:gd name="connsiteY137" fmla="*/ 803832 h 1440313"/>
              <a:gd name="connsiteX138" fmla="*/ 687991 w 783622"/>
              <a:gd name="connsiteY138" fmla="*/ 803832 h 1440313"/>
              <a:gd name="connsiteX139" fmla="*/ 687540 w 783622"/>
              <a:gd name="connsiteY139" fmla="*/ 753311 h 1440313"/>
              <a:gd name="connsiteX140" fmla="*/ 691149 w 783622"/>
              <a:gd name="connsiteY140" fmla="*/ 749702 h 1440313"/>
              <a:gd name="connsiteX141" fmla="*/ 27605 w 783622"/>
              <a:gd name="connsiteY141" fmla="*/ 737072 h 1440313"/>
              <a:gd name="connsiteX142" fmla="*/ 59181 w 783622"/>
              <a:gd name="connsiteY142" fmla="*/ 737072 h 1440313"/>
              <a:gd name="connsiteX143" fmla="*/ 62789 w 783622"/>
              <a:gd name="connsiteY143" fmla="*/ 740681 h 1440313"/>
              <a:gd name="connsiteX144" fmla="*/ 62338 w 783622"/>
              <a:gd name="connsiteY144" fmla="*/ 837664 h 1440313"/>
              <a:gd name="connsiteX145" fmla="*/ 131354 w 783622"/>
              <a:gd name="connsiteY145" fmla="*/ 799773 h 1440313"/>
              <a:gd name="connsiteX146" fmla="*/ 221120 w 783622"/>
              <a:gd name="connsiteY146" fmla="*/ 912093 h 1440313"/>
              <a:gd name="connsiteX147" fmla="*/ 130452 w 783622"/>
              <a:gd name="connsiteY147" fmla="*/ 1025766 h 1440313"/>
              <a:gd name="connsiteX148" fmla="*/ 61436 w 783622"/>
              <a:gd name="connsiteY148" fmla="*/ 987875 h 1440313"/>
              <a:gd name="connsiteX149" fmla="*/ 62338 w 783622"/>
              <a:gd name="connsiteY149" fmla="*/ 1017646 h 1440313"/>
              <a:gd name="connsiteX150" fmla="*/ 58729 w 783622"/>
              <a:gd name="connsiteY150" fmla="*/ 1021255 h 1440313"/>
              <a:gd name="connsiteX151" fmla="*/ 27605 w 783622"/>
              <a:gd name="connsiteY151" fmla="*/ 1021255 h 1440313"/>
              <a:gd name="connsiteX152" fmla="*/ 23996 w 783622"/>
              <a:gd name="connsiteY152" fmla="*/ 1017646 h 1440313"/>
              <a:gd name="connsiteX153" fmla="*/ 25349 w 783622"/>
              <a:gd name="connsiteY153" fmla="*/ 859316 h 1440313"/>
              <a:gd name="connsiteX154" fmla="*/ 23996 w 783622"/>
              <a:gd name="connsiteY154" fmla="*/ 740681 h 1440313"/>
              <a:gd name="connsiteX155" fmla="*/ 27605 w 783622"/>
              <a:gd name="connsiteY155" fmla="*/ 737072 h 1440313"/>
              <a:gd name="connsiteX156" fmla="*/ 302766 w 783622"/>
              <a:gd name="connsiteY156" fmla="*/ 438003 h 1440313"/>
              <a:gd name="connsiteX157" fmla="*/ 239163 w 783622"/>
              <a:gd name="connsiteY157" fmla="*/ 524160 h 1440313"/>
              <a:gd name="connsiteX158" fmla="*/ 302766 w 783622"/>
              <a:gd name="connsiteY158" fmla="*/ 608964 h 1440313"/>
              <a:gd name="connsiteX159" fmla="*/ 365918 w 783622"/>
              <a:gd name="connsiteY159" fmla="*/ 524160 h 1440313"/>
              <a:gd name="connsiteX160" fmla="*/ 302766 w 783622"/>
              <a:gd name="connsiteY160" fmla="*/ 438003 h 1440313"/>
              <a:gd name="connsiteX161" fmla="*/ 433129 w 783622"/>
              <a:gd name="connsiteY161" fmla="*/ 415449 h 1440313"/>
              <a:gd name="connsiteX162" fmla="*/ 464705 w 783622"/>
              <a:gd name="connsiteY162" fmla="*/ 415449 h 1440313"/>
              <a:gd name="connsiteX163" fmla="*/ 468313 w 783622"/>
              <a:gd name="connsiteY163" fmla="*/ 419058 h 1440313"/>
              <a:gd name="connsiteX164" fmla="*/ 467411 w 783622"/>
              <a:gd name="connsiteY164" fmla="*/ 507921 h 1440313"/>
              <a:gd name="connsiteX165" fmla="*/ 467411 w 783622"/>
              <a:gd name="connsiteY165" fmla="*/ 549872 h 1440313"/>
              <a:gd name="connsiteX166" fmla="*/ 513422 w 783622"/>
              <a:gd name="connsiteY166" fmla="*/ 606709 h 1440313"/>
              <a:gd name="connsiteX167" fmla="*/ 573416 w 783622"/>
              <a:gd name="connsiteY167" fmla="*/ 540850 h 1440313"/>
              <a:gd name="connsiteX168" fmla="*/ 573416 w 783622"/>
              <a:gd name="connsiteY168" fmla="*/ 507921 h 1440313"/>
              <a:gd name="connsiteX169" fmla="*/ 572514 w 783622"/>
              <a:gd name="connsiteY169" fmla="*/ 419058 h 1440313"/>
              <a:gd name="connsiteX170" fmla="*/ 576122 w 783622"/>
              <a:gd name="connsiteY170" fmla="*/ 415449 h 1440313"/>
              <a:gd name="connsiteX171" fmla="*/ 608149 w 783622"/>
              <a:gd name="connsiteY171" fmla="*/ 415449 h 1440313"/>
              <a:gd name="connsiteX172" fmla="*/ 611758 w 783622"/>
              <a:gd name="connsiteY172" fmla="*/ 419058 h 1440313"/>
              <a:gd name="connsiteX173" fmla="*/ 610405 w 783622"/>
              <a:gd name="connsiteY173" fmla="*/ 514688 h 1440313"/>
              <a:gd name="connsiteX174" fmla="*/ 611307 w 783622"/>
              <a:gd name="connsiteY174" fmla="*/ 629263 h 1440313"/>
              <a:gd name="connsiteX175" fmla="*/ 607698 w 783622"/>
              <a:gd name="connsiteY175" fmla="*/ 632872 h 1440313"/>
              <a:gd name="connsiteX176" fmla="*/ 577927 w 783622"/>
              <a:gd name="connsiteY176" fmla="*/ 632872 h 1440313"/>
              <a:gd name="connsiteX177" fmla="*/ 574318 w 783622"/>
              <a:gd name="connsiteY177" fmla="*/ 629263 h 1440313"/>
              <a:gd name="connsiteX178" fmla="*/ 575220 w 783622"/>
              <a:gd name="connsiteY178" fmla="*/ 595883 h 1440313"/>
              <a:gd name="connsiteX179" fmla="*/ 503498 w 783622"/>
              <a:gd name="connsiteY179" fmla="*/ 637383 h 1440313"/>
              <a:gd name="connsiteX180" fmla="*/ 430422 w 783622"/>
              <a:gd name="connsiteY180" fmla="*/ 550774 h 1440313"/>
              <a:gd name="connsiteX181" fmla="*/ 430422 w 783622"/>
              <a:gd name="connsiteY181" fmla="*/ 507921 h 1440313"/>
              <a:gd name="connsiteX182" fmla="*/ 429520 w 783622"/>
              <a:gd name="connsiteY182" fmla="*/ 419058 h 1440313"/>
              <a:gd name="connsiteX183" fmla="*/ 433129 w 783622"/>
              <a:gd name="connsiteY183" fmla="*/ 415449 h 1440313"/>
              <a:gd name="connsiteX184" fmla="*/ 2795 w 783622"/>
              <a:gd name="connsiteY184" fmla="*/ 414998 h 1440313"/>
              <a:gd name="connsiteX185" fmla="*/ 38882 w 783622"/>
              <a:gd name="connsiteY185" fmla="*/ 414998 h 1440313"/>
              <a:gd name="connsiteX186" fmla="*/ 43844 w 783622"/>
              <a:gd name="connsiteY186" fmla="*/ 418156 h 1440313"/>
              <a:gd name="connsiteX187" fmla="*/ 105642 w 783622"/>
              <a:gd name="connsiteY187" fmla="*/ 582350 h 1440313"/>
              <a:gd name="connsiteX188" fmla="*/ 157517 w 783622"/>
              <a:gd name="connsiteY188" fmla="*/ 418607 h 1440313"/>
              <a:gd name="connsiteX189" fmla="*/ 162479 w 783622"/>
              <a:gd name="connsiteY189" fmla="*/ 414998 h 1440313"/>
              <a:gd name="connsiteX190" fmla="*/ 194506 w 783622"/>
              <a:gd name="connsiteY190" fmla="*/ 414998 h 1440313"/>
              <a:gd name="connsiteX191" fmla="*/ 197212 w 783622"/>
              <a:gd name="connsiteY191" fmla="*/ 418607 h 1440313"/>
              <a:gd name="connsiteX192" fmla="*/ 98876 w 783622"/>
              <a:gd name="connsiteY192" fmla="*/ 696475 h 1440313"/>
              <a:gd name="connsiteX193" fmla="*/ 93914 w 783622"/>
              <a:gd name="connsiteY193" fmla="*/ 700083 h 1440313"/>
              <a:gd name="connsiteX194" fmla="*/ 64593 w 783622"/>
              <a:gd name="connsiteY194" fmla="*/ 700083 h 1440313"/>
              <a:gd name="connsiteX195" fmla="*/ 61887 w 783622"/>
              <a:gd name="connsiteY195" fmla="*/ 696475 h 1440313"/>
              <a:gd name="connsiteX196" fmla="*/ 84892 w 783622"/>
              <a:gd name="connsiteY196" fmla="*/ 632421 h 1440313"/>
              <a:gd name="connsiteX197" fmla="*/ 88 w 783622"/>
              <a:gd name="connsiteY197" fmla="*/ 418156 h 1440313"/>
              <a:gd name="connsiteX198" fmla="*/ 2795 w 783622"/>
              <a:gd name="connsiteY198" fmla="*/ 414998 h 1440313"/>
              <a:gd name="connsiteX199" fmla="*/ 302766 w 783622"/>
              <a:gd name="connsiteY199" fmla="*/ 409585 h 1440313"/>
              <a:gd name="connsiteX200" fmla="*/ 405613 w 783622"/>
              <a:gd name="connsiteY200" fmla="*/ 523258 h 1440313"/>
              <a:gd name="connsiteX201" fmla="*/ 302766 w 783622"/>
              <a:gd name="connsiteY201" fmla="*/ 637383 h 1440313"/>
              <a:gd name="connsiteX202" fmla="*/ 199919 w 783622"/>
              <a:gd name="connsiteY202" fmla="*/ 524160 h 1440313"/>
              <a:gd name="connsiteX203" fmla="*/ 302766 w 783622"/>
              <a:gd name="connsiteY203" fmla="*/ 409585 h 1440313"/>
              <a:gd name="connsiteX204" fmla="*/ 767383 w 783622"/>
              <a:gd name="connsiteY204" fmla="*/ 408683 h 1440313"/>
              <a:gd name="connsiteX205" fmla="*/ 780013 w 783622"/>
              <a:gd name="connsiteY205" fmla="*/ 410036 h 1440313"/>
              <a:gd name="connsiteX206" fmla="*/ 783622 w 783622"/>
              <a:gd name="connsiteY206" fmla="*/ 414547 h 1440313"/>
              <a:gd name="connsiteX207" fmla="*/ 783622 w 783622"/>
              <a:gd name="connsiteY207" fmla="*/ 438003 h 1440313"/>
              <a:gd name="connsiteX208" fmla="*/ 780013 w 783622"/>
              <a:gd name="connsiteY208" fmla="*/ 441161 h 1440313"/>
              <a:gd name="connsiteX209" fmla="*/ 767834 w 783622"/>
              <a:gd name="connsiteY209" fmla="*/ 440259 h 1440313"/>
              <a:gd name="connsiteX210" fmla="*/ 694758 w 783622"/>
              <a:gd name="connsiteY210" fmla="*/ 510177 h 1440313"/>
              <a:gd name="connsiteX211" fmla="*/ 695209 w 783622"/>
              <a:gd name="connsiteY211" fmla="*/ 624301 h 1440313"/>
              <a:gd name="connsiteX212" fmla="*/ 691600 w 783622"/>
              <a:gd name="connsiteY212" fmla="*/ 627910 h 1440313"/>
              <a:gd name="connsiteX213" fmla="*/ 660476 w 783622"/>
              <a:gd name="connsiteY213" fmla="*/ 627910 h 1440313"/>
              <a:gd name="connsiteX214" fmla="*/ 660476 w 783622"/>
              <a:gd name="connsiteY214" fmla="*/ 628361 h 1440313"/>
              <a:gd name="connsiteX215" fmla="*/ 656867 w 783622"/>
              <a:gd name="connsiteY215" fmla="*/ 624752 h 1440313"/>
              <a:gd name="connsiteX216" fmla="*/ 658220 w 783622"/>
              <a:gd name="connsiteY216" fmla="*/ 517394 h 1440313"/>
              <a:gd name="connsiteX217" fmla="*/ 656867 w 783622"/>
              <a:gd name="connsiteY217" fmla="*/ 414998 h 1440313"/>
              <a:gd name="connsiteX218" fmla="*/ 660476 w 783622"/>
              <a:gd name="connsiteY218" fmla="*/ 411390 h 1440313"/>
              <a:gd name="connsiteX219" fmla="*/ 691600 w 783622"/>
              <a:gd name="connsiteY219" fmla="*/ 411390 h 1440313"/>
              <a:gd name="connsiteX220" fmla="*/ 695209 w 783622"/>
              <a:gd name="connsiteY220" fmla="*/ 414998 h 1440313"/>
              <a:gd name="connsiteX221" fmla="*/ 693405 w 783622"/>
              <a:gd name="connsiteY221" fmla="*/ 451536 h 1440313"/>
              <a:gd name="connsiteX222" fmla="*/ 767383 w 783622"/>
              <a:gd name="connsiteY222" fmla="*/ 408683 h 1440313"/>
              <a:gd name="connsiteX223" fmla="*/ 485455 w 783622"/>
              <a:gd name="connsiteY223" fmla="*/ 100592 h 1440313"/>
              <a:gd name="connsiteX224" fmla="*/ 423205 w 783622"/>
              <a:gd name="connsiteY224" fmla="*/ 164646 h 1440313"/>
              <a:gd name="connsiteX225" fmla="*/ 544998 w 783622"/>
              <a:gd name="connsiteY225" fmla="*/ 164646 h 1440313"/>
              <a:gd name="connsiteX226" fmla="*/ 485455 w 783622"/>
              <a:gd name="connsiteY226" fmla="*/ 100592 h 1440313"/>
              <a:gd name="connsiteX227" fmla="*/ 180522 w 783622"/>
              <a:gd name="connsiteY227" fmla="*/ 78038 h 1440313"/>
              <a:gd name="connsiteX228" fmla="*/ 214353 w 783622"/>
              <a:gd name="connsiteY228" fmla="*/ 78038 h 1440313"/>
              <a:gd name="connsiteX229" fmla="*/ 219315 w 783622"/>
              <a:gd name="connsiteY229" fmla="*/ 81647 h 1440313"/>
              <a:gd name="connsiteX230" fmla="*/ 280663 w 783622"/>
              <a:gd name="connsiteY230" fmla="*/ 262983 h 1440313"/>
              <a:gd name="connsiteX231" fmla="*/ 343363 w 783622"/>
              <a:gd name="connsiteY231" fmla="*/ 81647 h 1440313"/>
              <a:gd name="connsiteX232" fmla="*/ 348325 w 783622"/>
              <a:gd name="connsiteY232" fmla="*/ 78038 h 1440313"/>
              <a:gd name="connsiteX233" fmla="*/ 378097 w 783622"/>
              <a:gd name="connsiteY233" fmla="*/ 78038 h 1440313"/>
              <a:gd name="connsiteX234" fmla="*/ 380803 w 783622"/>
              <a:gd name="connsiteY234" fmla="*/ 81196 h 1440313"/>
              <a:gd name="connsiteX235" fmla="*/ 304570 w 783622"/>
              <a:gd name="connsiteY235" fmla="*/ 292303 h 1440313"/>
              <a:gd name="connsiteX236" fmla="*/ 299608 w 783622"/>
              <a:gd name="connsiteY236" fmla="*/ 295461 h 1440313"/>
              <a:gd name="connsiteX237" fmla="*/ 260815 w 783622"/>
              <a:gd name="connsiteY237" fmla="*/ 295461 h 1440313"/>
              <a:gd name="connsiteX238" fmla="*/ 255853 w 783622"/>
              <a:gd name="connsiteY238" fmla="*/ 292303 h 1440313"/>
              <a:gd name="connsiteX239" fmla="*/ 177815 w 783622"/>
              <a:gd name="connsiteY239" fmla="*/ 81196 h 1440313"/>
              <a:gd name="connsiteX240" fmla="*/ 180522 w 783622"/>
              <a:gd name="connsiteY240" fmla="*/ 78038 h 1440313"/>
              <a:gd name="connsiteX241" fmla="*/ 116468 w 783622"/>
              <a:gd name="connsiteY241" fmla="*/ 77586 h 1440313"/>
              <a:gd name="connsiteX242" fmla="*/ 148044 w 783622"/>
              <a:gd name="connsiteY242" fmla="*/ 77586 h 1440313"/>
              <a:gd name="connsiteX243" fmla="*/ 151652 w 783622"/>
              <a:gd name="connsiteY243" fmla="*/ 81195 h 1440313"/>
              <a:gd name="connsiteX244" fmla="*/ 151201 w 783622"/>
              <a:gd name="connsiteY244" fmla="*/ 182689 h 1440313"/>
              <a:gd name="connsiteX245" fmla="*/ 152103 w 783622"/>
              <a:gd name="connsiteY245" fmla="*/ 291400 h 1440313"/>
              <a:gd name="connsiteX246" fmla="*/ 148495 w 783622"/>
              <a:gd name="connsiteY246" fmla="*/ 295009 h 1440313"/>
              <a:gd name="connsiteX247" fmla="*/ 116468 w 783622"/>
              <a:gd name="connsiteY247" fmla="*/ 295009 h 1440313"/>
              <a:gd name="connsiteX248" fmla="*/ 112859 w 783622"/>
              <a:gd name="connsiteY248" fmla="*/ 291400 h 1440313"/>
              <a:gd name="connsiteX249" fmla="*/ 113761 w 783622"/>
              <a:gd name="connsiteY249" fmla="*/ 183140 h 1440313"/>
              <a:gd name="connsiteX250" fmla="*/ 112859 w 783622"/>
              <a:gd name="connsiteY250" fmla="*/ 81195 h 1440313"/>
              <a:gd name="connsiteX251" fmla="*/ 116468 w 783622"/>
              <a:gd name="connsiteY251" fmla="*/ 77586 h 1440313"/>
              <a:gd name="connsiteX252" fmla="*/ 485004 w 783622"/>
              <a:gd name="connsiteY252" fmla="*/ 72174 h 1440313"/>
              <a:gd name="connsiteX253" fmla="*/ 586498 w 783622"/>
              <a:gd name="connsiteY253" fmla="*/ 187652 h 1440313"/>
              <a:gd name="connsiteX254" fmla="*/ 582889 w 783622"/>
              <a:gd name="connsiteY254" fmla="*/ 191260 h 1440313"/>
              <a:gd name="connsiteX255" fmla="*/ 421852 w 783622"/>
              <a:gd name="connsiteY255" fmla="*/ 191260 h 1440313"/>
              <a:gd name="connsiteX256" fmla="*/ 487259 w 783622"/>
              <a:gd name="connsiteY256" fmla="*/ 271553 h 1440313"/>
              <a:gd name="connsiteX257" fmla="*/ 544998 w 783622"/>
              <a:gd name="connsiteY257" fmla="*/ 222836 h 1440313"/>
              <a:gd name="connsiteX258" fmla="*/ 549509 w 783622"/>
              <a:gd name="connsiteY258" fmla="*/ 219227 h 1440313"/>
              <a:gd name="connsiteX259" fmla="*/ 579281 w 783622"/>
              <a:gd name="connsiteY259" fmla="*/ 219227 h 1440313"/>
              <a:gd name="connsiteX260" fmla="*/ 579281 w 783622"/>
              <a:gd name="connsiteY260" fmla="*/ 219679 h 1440313"/>
              <a:gd name="connsiteX261" fmla="*/ 582438 w 783622"/>
              <a:gd name="connsiteY261" fmla="*/ 223287 h 1440313"/>
              <a:gd name="connsiteX262" fmla="*/ 486808 w 783622"/>
              <a:gd name="connsiteY262" fmla="*/ 299972 h 1440313"/>
              <a:gd name="connsiteX263" fmla="*/ 383059 w 783622"/>
              <a:gd name="connsiteY263" fmla="*/ 186749 h 1440313"/>
              <a:gd name="connsiteX264" fmla="*/ 485004 w 783622"/>
              <a:gd name="connsiteY264" fmla="*/ 72174 h 1440313"/>
              <a:gd name="connsiteX265" fmla="*/ 116468 w 783622"/>
              <a:gd name="connsiteY265" fmla="*/ 10826 h 1440313"/>
              <a:gd name="connsiteX266" fmla="*/ 148044 w 783622"/>
              <a:gd name="connsiteY266" fmla="*/ 10826 h 1440313"/>
              <a:gd name="connsiteX267" fmla="*/ 151652 w 783622"/>
              <a:gd name="connsiteY267" fmla="*/ 14435 h 1440313"/>
              <a:gd name="connsiteX268" fmla="*/ 151652 w 783622"/>
              <a:gd name="connsiteY268" fmla="*/ 49168 h 1440313"/>
              <a:gd name="connsiteX269" fmla="*/ 148044 w 783622"/>
              <a:gd name="connsiteY269" fmla="*/ 52777 h 1440313"/>
              <a:gd name="connsiteX270" fmla="*/ 116468 w 783622"/>
              <a:gd name="connsiteY270" fmla="*/ 52777 h 1440313"/>
              <a:gd name="connsiteX271" fmla="*/ 112859 w 783622"/>
              <a:gd name="connsiteY271" fmla="*/ 49168 h 1440313"/>
              <a:gd name="connsiteX272" fmla="*/ 112859 w 783622"/>
              <a:gd name="connsiteY272" fmla="*/ 14435 h 1440313"/>
              <a:gd name="connsiteX273" fmla="*/ 116468 w 783622"/>
              <a:gd name="connsiteY273" fmla="*/ 10826 h 1440313"/>
              <a:gd name="connsiteX274" fmla="*/ 29860 w 783622"/>
              <a:gd name="connsiteY274" fmla="*/ 0 h 1440313"/>
              <a:gd name="connsiteX275" fmla="*/ 60984 w 783622"/>
              <a:gd name="connsiteY275" fmla="*/ 0 h 1440313"/>
              <a:gd name="connsiteX276" fmla="*/ 64593 w 783622"/>
              <a:gd name="connsiteY276" fmla="*/ 3609 h 1440313"/>
              <a:gd name="connsiteX277" fmla="*/ 62789 w 783622"/>
              <a:gd name="connsiteY277" fmla="*/ 145700 h 1440313"/>
              <a:gd name="connsiteX278" fmla="*/ 64593 w 783622"/>
              <a:gd name="connsiteY278" fmla="*/ 291852 h 1440313"/>
              <a:gd name="connsiteX279" fmla="*/ 60984 w 783622"/>
              <a:gd name="connsiteY279" fmla="*/ 295460 h 1440313"/>
              <a:gd name="connsiteX280" fmla="*/ 29860 w 783622"/>
              <a:gd name="connsiteY280" fmla="*/ 295460 h 1440313"/>
              <a:gd name="connsiteX281" fmla="*/ 29860 w 783622"/>
              <a:gd name="connsiteY281" fmla="*/ 295009 h 1440313"/>
              <a:gd name="connsiteX282" fmla="*/ 26251 w 783622"/>
              <a:gd name="connsiteY282" fmla="*/ 291401 h 1440313"/>
              <a:gd name="connsiteX283" fmla="*/ 28055 w 783622"/>
              <a:gd name="connsiteY283" fmla="*/ 145700 h 1440313"/>
              <a:gd name="connsiteX284" fmla="*/ 26251 w 783622"/>
              <a:gd name="connsiteY284" fmla="*/ 3609 h 1440313"/>
              <a:gd name="connsiteX285" fmla="*/ 29860 w 783622"/>
              <a:gd name="connsiteY285" fmla="*/ 0 h 144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783622" h="1440313">
                <a:moveTo>
                  <a:pt x="402004" y="1240933"/>
                </a:moveTo>
                <a:cubicBezTo>
                  <a:pt x="365917" y="1240933"/>
                  <a:pt x="345619" y="1263939"/>
                  <a:pt x="339754" y="1304987"/>
                </a:cubicBezTo>
                <a:lnTo>
                  <a:pt x="461547" y="1304987"/>
                </a:lnTo>
                <a:cubicBezTo>
                  <a:pt x="460194" y="1270705"/>
                  <a:pt x="440346" y="1240933"/>
                  <a:pt x="402004" y="1240933"/>
                </a:cubicBezTo>
                <a:close/>
                <a:moveTo>
                  <a:pt x="112860" y="1218379"/>
                </a:moveTo>
                <a:lnTo>
                  <a:pt x="144436" y="1218379"/>
                </a:lnTo>
                <a:cubicBezTo>
                  <a:pt x="146691" y="1218379"/>
                  <a:pt x="148044" y="1220183"/>
                  <a:pt x="148044" y="1221987"/>
                </a:cubicBezTo>
                <a:lnTo>
                  <a:pt x="147142" y="1323481"/>
                </a:lnTo>
                <a:lnTo>
                  <a:pt x="148044" y="1432193"/>
                </a:lnTo>
                <a:cubicBezTo>
                  <a:pt x="148044" y="1434448"/>
                  <a:pt x="146240" y="1435801"/>
                  <a:pt x="144436" y="1435801"/>
                </a:cubicBezTo>
                <a:lnTo>
                  <a:pt x="112860" y="1435801"/>
                </a:lnTo>
                <a:cubicBezTo>
                  <a:pt x="110604" y="1435801"/>
                  <a:pt x="109251" y="1433997"/>
                  <a:pt x="109251" y="1432193"/>
                </a:cubicBezTo>
                <a:lnTo>
                  <a:pt x="110153" y="1323932"/>
                </a:lnTo>
                <a:lnTo>
                  <a:pt x="109251" y="1221987"/>
                </a:lnTo>
                <a:cubicBezTo>
                  <a:pt x="109251" y="1219732"/>
                  <a:pt x="111055" y="1218379"/>
                  <a:pt x="112860" y="1218379"/>
                </a:cubicBezTo>
                <a:close/>
                <a:moveTo>
                  <a:pt x="401553" y="1212515"/>
                </a:moveTo>
                <a:cubicBezTo>
                  <a:pt x="464254" y="1212515"/>
                  <a:pt x="501694" y="1255368"/>
                  <a:pt x="503047" y="1327993"/>
                </a:cubicBezTo>
                <a:cubicBezTo>
                  <a:pt x="503047" y="1330248"/>
                  <a:pt x="501243" y="1331601"/>
                  <a:pt x="499438" y="1331601"/>
                </a:cubicBezTo>
                <a:lnTo>
                  <a:pt x="338852" y="1331601"/>
                </a:lnTo>
                <a:cubicBezTo>
                  <a:pt x="340206" y="1383927"/>
                  <a:pt x="361858" y="1411894"/>
                  <a:pt x="404260" y="1411894"/>
                </a:cubicBezTo>
                <a:cubicBezTo>
                  <a:pt x="436286" y="1411894"/>
                  <a:pt x="455683" y="1395204"/>
                  <a:pt x="461998" y="1363177"/>
                </a:cubicBezTo>
                <a:cubicBezTo>
                  <a:pt x="462449" y="1360922"/>
                  <a:pt x="464705" y="1359569"/>
                  <a:pt x="466509" y="1359569"/>
                </a:cubicBezTo>
                <a:lnTo>
                  <a:pt x="495830" y="1359569"/>
                </a:lnTo>
                <a:lnTo>
                  <a:pt x="495830" y="1360020"/>
                </a:lnTo>
                <a:cubicBezTo>
                  <a:pt x="498085" y="1360020"/>
                  <a:pt x="498987" y="1361824"/>
                  <a:pt x="498987" y="1363628"/>
                </a:cubicBezTo>
                <a:cubicBezTo>
                  <a:pt x="492221" y="1407834"/>
                  <a:pt x="459292" y="1440313"/>
                  <a:pt x="403357" y="1440313"/>
                </a:cubicBezTo>
                <a:cubicBezTo>
                  <a:pt x="335695" y="1440313"/>
                  <a:pt x="299608" y="1393400"/>
                  <a:pt x="299608" y="1327090"/>
                </a:cubicBezTo>
                <a:cubicBezTo>
                  <a:pt x="299608" y="1258977"/>
                  <a:pt x="338401" y="1212515"/>
                  <a:pt x="401553" y="1212515"/>
                </a:cubicBezTo>
                <a:close/>
                <a:moveTo>
                  <a:pt x="112860" y="1151167"/>
                </a:moveTo>
                <a:lnTo>
                  <a:pt x="144436" y="1151167"/>
                </a:lnTo>
                <a:cubicBezTo>
                  <a:pt x="146691" y="1151167"/>
                  <a:pt x="148044" y="1152971"/>
                  <a:pt x="148044" y="1154776"/>
                </a:cubicBezTo>
                <a:lnTo>
                  <a:pt x="148044" y="1189509"/>
                </a:lnTo>
                <a:cubicBezTo>
                  <a:pt x="148044" y="1191765"/>
                  <a:pt x="146240" y="1193118"/>
                  <a:pt x="144436" y="1193118"/>
                </a:cubicBezTo>
                <a:lnTo>
                  <a:pt x="112860" y="1193118"/>
                </a:lnTo>
                <a:cubicBezTo>
                  <a:pt x="110604" y="1193118"/>
                  <a:pt x="109251" y="1191313"/>
                  <a:pt x="109251" y="1189509"/>
                </a:cubicBezTo>
                <a:lnTo>
                  <a:pt x="109251" y="1154776"/>
                </a:lnTo>
                <a:cubicBezTo>
                  <a:pt x="109251" y="1152520"/>
                  <a:pt x="111055" y="1151167"/>
                  <a:pt x="112860" y="1151167"/>
                </a:cubicBezTo>
                <a:close/>
                <a:moveTo>
                  <a:pt x="29860" y="1140793"/>
                </a:moveTo>
                <a:lnTo>
                  <a:pt x="60984" y="1140793"/>
                </a:lnTo>
                <a:cubicBezTo>
                  <a:pt x="63240" y="1140793"/>
                  <a:pt x="64593" y="1142597"/>
                  <a:pt x="64593" y="1144402"/>
                </a:cubicBezTo>
                <a:lnTo>
                  <a:pt x="62789" y="1286493"/>
                </a:lnTo>
                <a:lnTo>
                  <a:pt x="64593" y="1432644"/>
                </a:lnTo>
                <a:cubicBezTo>
                  <a:pt x="64593" y="1434900"/>
                  <a:pt x="62789" y="1436253"/>
                  <a:pt x="60984" y="1436253"/>
                </a:cubicBezTo>
                <a:lnTo>
                  <a:pt x="29860" y="1436253"/>
                </a:lnTo>
                <a:lnTo>
                  <a:pt x="29860" y="1435802"/>
                </a:lnTo>
                <a:cubicBezTo>
                  <a:pt x="27604" y="1435802"/>
                  <a:pt x="26251" y="1433998"/>
                  <a:pt x="26251" y="1432193"/>
                </a:cubicBezTo>
                <a:lnTo>
                  <a:pt x="28055" y="1286493"/>
                </a:lnTo>
                <a:lnTo>
                  <a:pt x="26251" y="1144402"/>
                </a:lnTo>
                <a:cubicBezTo>
                  <a:pt x="26251" y="1142146"/>
                  <a:pt x="28055" y="1140793"/>
                  <a:pt x="29860" y="1140793"/>
                </a:cubicBezTo>
                <a:close/>
                <a:moveTo>
                  <a:pt x="268483" y="1134928"/>
                </a:moveTo>
                <a:cubicBezTo>
                  <a:pt x="278407" y="1134928"/>
                  <a:pt x="289233" y="1136281"/>
                  <a:pt x="296901" y="1138086"/>
                </a:cubicBezTo>
                <a:cubicBezTo>
                  <a:pt x="299157" y="1138537"/>
                  <a:pt x="300510" y="1140792"/>
                  <a:pt x="300510" y="1142596"/>
                </a:cubicBezTo>
                <a:lnTo>
                  <a:pt x="300510" y="1164248"/>
                </a:lnTo>
                <a:cubicBezTo>
                  <a:pt x="300510" y="1166053"/>
                  <a:pt x="298706" y="1167406"/>
                  <a:pt x="296901" y="1167406"/>
                </a:cubicBezTo>
                <a:cubicBezTo>
                  <a:pt x="291037" y="1165602"/>
                  <a:pt x="284271" y="1164700"/>
                  <a:pt x="277054" y="1164700"/>
                </a:cubicBezTo>
                <a:cubicBezTo>
                  <a:pt x="259912" y="1164700"/>
                  <a:pt x="249086" y="1175074"/>
                  <a:pt x="249086" y="1202591"/>
                </a:cubicBezTo>
                <a:lnTo>
                  <a:pt x="249086" y="1218830"/>
                </a:lnTo>
                <a:lnTo>
                  <a:pt x="296450" y="1218830"/>
                </a:lnTo>
                <a:cubicBezTo>
                  <a:pt x="298706" y="1218830"/>
                  <a:pt x="300059" y="1220634"/>
                  <a:pt x="300059" y="1222438"/>
                </a:cubicBezTo>
                <a:lnTo>
                  <a:pt x="300059" y="1244542"/>
                </a:lnTo>
                <a:cubicBezTo>
                  <a:pt x="300059" y="1246797"/>
                  <a:pt x="298254" y="1248150"/>
                  <a:pt x="296450" y="1248150"/>
                </a:cubicBezTo>
                <a:lnTo>
                  <a:pt x="248635" y="1248150"/>
                </a:lnTo>
                <a:lnTo>
                  <a:pt x="248635" y="1337465"/>
                </a:lnTo>
                <a:lnTo>
                  <a:pt x="249988" y="1431742"/>
                </a:lnTo>
                <a:cubicBezTo>
                  <a:pt x="249988" y="1433997"/>
                  <a:pt x="248184" y="1435350"/>
                  <a:pt x="246380" y="1435350"/>
                </a:cubicBezTo>
                <a:lnTo>
                  <a:pt x="213902" y="1435350"/>
                </a:lnTo>
                <a:cubicBezTo>
                  <a:pt x="211646" y="1435350"/>
                  <a:pt x="210293" y="1433546"/>
                  <a:pt x="210293" y="1431742"/>
                </a:cubicBezTo>
                <a:lnTo>
                  <a:pt x="211646" y="1337465"/>
                </a:lnTo>
                <a:lnTo>
                  <a:pt x="211646" y="1247699"/>
                </a:lnTo>
                <a:lnTo>
                  <a:pt x="181424" y="1247699"/>
                </a:lnTo>
                <a:cubicBezTo>
                  <a:pt x="179168" y="1247699"/>
                  <a:pt x="177815" y="1245895"/>
                  <a:pt x="177815" y="1244090"/>
                </a:cubicBezTo>
                <a:lnTo>
                  <a:pt x="177815" y="1221987"/>
                </a:lnTo>
                <a:cubicBezTo>
                  <a:pt x="177815" y="1219732"/>
                  <a:pt x="179619" y="1218379"/>
                  <a:pt x="181424" y="1218379"/>
                </a:cubicBezTo>
                <a:lnTo>
                  <a:pt x="211646" y="1218379"/>
                </a:lnTo>
                <a:lnTo>
                  <a:pt x="211646" y="1199433"/>
                </a:lnTo>
                <a:cubicBezTo>
                  <a:pt x="211646" y="1151618"/>
                  <a:pt x="240967" y="1134928"/>
                  <a:pt x="268483" y="1134928"/>
                </a:cubicBezTo>
                <a:close/>
                <a:moveTo>
                  <a:pt x="121430" y="828191"/>
                </a:moveTo>
                <a:cubicBezTo>
                  <a:pt x="84892" y="828191"/>
                  <a:pt x="60985" y="855707"/>
                  <a:pt x="60534" y="910288"/>
                </a:cubicBezTo>
                <a:cubicBezTo>
                  <a:pt x="60083" y="965321"/>
                  <a:pt x="82186" y="996897"/>
                  <a:pt x="120528" y="996897"/>
                </a:cubicBezTo>
                <a:cubicBezTo>
                  <a:pt x="162479" y="997348"/>
                  <a:pt x="182327" y="963065"/>
                  <a:pt x="182327" y="914348"/>
                </a:cubicBezTo>
                <a:cubicBezTo>
                  <a:pt x="182327" y="862925"/>
                  <a:pt x="162930" y="827740"/>
                  <a:pt x="121430" y="828191"/>
                </a:cubicBezTo>
                <a:close/>
                <a:moveTo>
                  <a:pt x="345619" y="826838"/>
                </a:moveTo>
                <a:cubicBezTo>
                  <a:pt x="309532" y="826838"/>
                  <a:pt x="289234" y="849844"/>
                  <a:pt x="283369" y="890892"/>
                </a:cubicBezTo>
                <a:lnTo>
                  <a:pt x="405162" y="890892"/>
                </a:lnTo>
                <a:cubicBezTo>
                  <a:pt x="403809" y="856159"/>
                  <a:pt x="383961" y="826838"/>
                  <a:pt x="345619" y="826838"/>
                </a:cubicBezTo>
                <a:close/>
                <a:moveTo>
                  <a:pt x="556726" y="800224"/>
                </a:moveTo>
                <a:cubicBezTo>
                  <a:pt x="607247" y="800224"/>
                  <a:pt x="644236" y="821425"/>
                  <a:pt x="647394" y="866533"/>
                </a:cubicBezTo>
                <a:cubicBezTo>
                  <a:pt x="647394" y="868789"/>
                  <a:pt x="645590" y="870142"/>
                  <a:pt x="643785" y="870142"/>
                </a:cubicBezTo>
                <a:lnTo>
                  <a:pt x="615367" y="870142"/>
                </a:lnTo>
                <a:cubicBezTo>
                  <a:pt x="613111" y="870142"/>
                  <a:pt x="611758" y="868338"/>
                  <a:pt x="611307" y="866533"/>
                </a:cubicBezTo>
                <a:cubicBezTo>
                  <a:pt x="608601" y="839017"/>
                  <a:pt x="587851" y="826387"/>
                  <a:pt x="556275" y="826387"/>
                </a:cubicBezTo>
                <a:cubicBezTo>
                  <a:pt x="526503" y="826387"/>
                  <a:pt x="507558" y="837213"/>
                  <a:pt x="507558" y="861571"/>
                </a:cubicBezTo>
                <a:cubicBezTo>
                  <a:pt x="507558" y="915702"/>
                  <a:pt x="654160" y="868789"/>
                  <a:pt x="654160" y="959908"/>
                </a:cubicBezTo>
                <a:cubicBezTo>
                  <a:pt x="654160" y="1001408"/>
                  <a:pt x="614916" y="1026217"/>
                  <a:pt x="563041" y="1026217"/>
                </a:cubicBezTo>
                <a:cubicBezTo>
                  <a:pt x="505302" y="1026217"/>
                  <a:pt x="467411" y="1000957"/>
                  <a:pt x="466058" y="950435"/>
                </a:cubicBezTo>
                <a:cubicBezTo>
                  <a:pt x="466058" y="948180"/>
                  <a:pt x="467862" y="946826"/>
                  <a:pt x="469667" y="946826"/>
                </a:cubicBezTo>
                <a:lnTo>
                  <a:pt x="499438" y="946826"/>
                </a:lnTo>
                <a:cubicBezTo>
                  <a:pt x="501694" y="946826"/>
                  <a:pt x="503047" y="948631"/>
                  <a:pt x="503047" y="950435"/>
                </a:cubicBezTo>
                <a:cubicBezTo>
                  <a:pt x="504851" y="984718"/>
                  <a:pt x="525601" y="1000054"/>
                  <a:pt x="564394" y="1000054"/>
                </a:cubicBezTo>
                <a:cubicBezTo>
                  <a:pt x="596421" y="1000054"/>
                  <a:pt x="617622" y="986522"/>
                  <a:pt x="617622" y="962614"/>
                </a:cubicBezTo>
                <a:cubicBezTo>
                  <a:pt x="617622" y="905778"/>
                  <a:pt x="471020" y="951788"/>
                  <a:pt x="471020" y="863827"/>
                </a:cubicBezTo>
                <a:cubicBezTo>
                  <a:pt x="471020" y="821876"/>
                  <a:pt x="505302" y="800224"/>
                  <a:pt x="556726" y="800224"/>
                </a:cubicBezTo>
                <a:close/>
                <a:moveTo>
                  <a:pt x="345168" y="798420"/>
                </a:moveTo>
                <a:cubicBezTo>
                  <a:pt x="407869" y="798420"/>
                  <a:pt x="445309" y="841273"/>
                  <a:pt x="446662" y="913898"/>
                </a:cubicBezTo>
                <a:cubicBezTo>
                  <a:pt x="446662" y="916153"/>
                  <a:pt x="444858" y="917506"/>
                  <a:pt x="443053" y="917506"/>
                </a:cubicBezTo>
                <a:lnTo>
                  <a:pt x="282467" y="917506"/>
                </a:lnTo>
                <a:cubicBezTo>
                  <a:pt x="283821" y="969832"/>
                  <a:pt x="305473" y="997799"/>
                  <a:pt x="347875" y="997799"/>
                </a:cubicBezTo>
                <a:cubicBezTo>
                  <a:pt x="379901" y="997799"/>
                  <a:pt x="399298" y="981109"/>
                  <a:pt x="405613" y="949082"/>
                </a:cubicBezTo>
                <a:cubicBezTo>
                  <a:pt x="406064" y="946827"/>
                  <a:pt x="408320" y="945473"/>
                  <a:pt x="410124" y="945473"/>
                </a:cubicBezTo>
                <a:lnTo>
                  <a:pt x="439445" y="945473"/>
                </a:lnTo>
                <a:lnTo>
                  <a:pt x="439445" y="945925"/>
                </a:lnTo>
                <a:cubicBezTo>
                  <a:pt x="441700" y="945925"/>
                  <a:pt x="442602" y="947729"/>
                  <a:pt x="442602" y="949533"/>
                </a:cubicBezTo>
                <a:cubicBezTo>
                  <a:pt x="435836" y="993740"/>
                  <a:pt x="402907" y="1026218"/>
                  <a:pt x="346972" y="1026218"/>
                </a:cubicBezTo>
                <a:cubicBezTo>
                  <a:pt x="279310" y="1026218"/>
                  <a:pt x="243223" y="979305"/>
                  <a:pt x="243223" y="912995"/>
                </a:cubicBezTo>
                <a:cubicBezTo>
                  <a:pt x="243223" y="844882"/>
                  <a:pt x="282016" y="798420"/>
                  <a:pt x="345168" y="798420"/>
                </a:cubicBezTo>
                <a:close/>
                <a:moveTo>
                  <a:pt x="691149" y="749702"/>
                </a:moveTo>
                <a:lnTo>
                  <a:pt x="722274" y="749702"/>
                </a:lnTo>
                <a:cubicBezTo>
                  <a:pt x="724529" y="749702"/>
                  <a:pt x="725882" y="751506"/>
                  <a:pt x="725882" y="753311"/>
                </a:cubicBezTo>
                <a:lnTo>
                  <a:pt x="725431" y="803832"/>
                </a:lnTo>
                <a:lnTo>
                  <a:pt x="775050" y="803832"/>
                </a:lnTo>
                <a:cubicBezTo>
                  <a:pt x="777306" y="803832"/>
                  <a:pt x="778659" y="805636"/>
                  <a:pt x="778659" y="807441"/>
                </a:cubicBezTo>
                <a:lnTo>
                  <a:pt x="778659" y="829995"/>
                </a:lnTo>
                <a:cubicBezTo>
                  <a:pt x="778659" y="832250"/>
                  <a:pt x="776855" y="833604"/>
                  <a:pt x="775050" y="833604"/>
                </a:cubicBezTo>
                <a:lnTo>
                  <a:pt x="725431" y="833604"/>
                </a:lnTo>
                <a:lnTo>
                  <a:pt x="725431" y="960358"/>
                </a:lnTo>
                <a:cubicBezTo>
                  <a:pt x="725431" y="986521"/>
                  <a:pt x="734453" y="994641"/>
                  <a:pt x="752947" y="994641"/>
                </a:cubicBezTo>
                <a:cubicBezTo>
                  <a:pt x="761518" y="994641"/>
                  <a:pt x="769637" y="993288"/>
                  <a:pt x="775501" y="991934"/>
                </a:cubicBezTo>
                <a:cubicBezTo>
                  <a:pt x="777757" y="991032"/>
                  <a:pt x="779110" y="992836"/>
                  <a:pt x="779110" y="994641"/>
                </a:cubicBezTo>
                <a:lnTo>
                  <a:pt x="779110" y="1014940"/>
                </a:lnTo>
                <a:lnTo>
                  <a:pt x="779561" y="1014940"/>
                </a:lnTo>
                <a:cubicBezTo>
                  <a:pt x="779561" y="1017195"/>
                  <a:pt x="777757" y="1018999"/>
                  <a:pt x="775953" y="1019902"/>
                </a:cubicBezTo>
                <a:cubicBezTo>
                  <a:pt x="767382" y="1022608"/>
                  <a:pt x="756556" y="1024863"/>
                  <a:pt x="746181" y="1024863"/>
                </a:cubicBezTo>
                <a:cubicBezTo>
                  <a:pt x="714605" y="1024863"/>
                  <a:pt x="687991" y="1008624"/>
                  <a:pt x="687991" y="961261"/>
                </a:cubicBezTo>
                <a:lnTo>
                  <a:pt x="687991" y="833604"/>
                </a:lnTo>
                <a:lnTo>
                  <a:pt x="664084" y="833604"/>
                </a:lnTo>
                <a:cubicBezTo>
                  <a:pt x="661828" y="833604"/>
                  <a:pt x="660475" y="831799"/>
                  <a:pt x="660475" y="829995"/>
                </a:cubicBezTo>
                <a:lnTo>
                  <a:pt x="660475" y="807441"/>
                </a:lnTo>
                <a:cubicBezTo>
                  <a:pt x="660475" y="805185"/>
                  <a:pt x="662279" y="803832"/>
                  <a:pt x="664084" y="803832"/>
                </a:cubicBezTo>
                <a:lnTo>
                  <a:pt x="687991" y="803832"/>
                </a:lnTo>
                <a:lnTo>
                  <a:pt x="687540" y="753311"/>
                </a:lnTo>
                <a:cubicBezTo>
                  <a:pt x="687540" y="751055"/>
                  <a:pt x="689344" y="749702"/>
                  <a:pt x="691149" y="749702"/>
                </a:cubicBezTo>
                <a:close/>
                <a:moveTo>
                  <a:pt x="27605" y="737072"/>
                </a:moveTo>
                <a:lnTo>
                  <a:pt x="59181" y="737072"/>
                </a:lnTo>
                <a:cubicBezTo>
                  <a:pt x="61436" y="737072"/>
                  <a:pt x="62789" y="738876"/>
                  <a:pt x="62789" y="740681"/>
                </a:cubicBezTo>
                <a:lnTo>
                  <a:pt x="62338" y="837664"/>
                </a:lnTo>
                <a:cubicBezTo>
                  <a:pt x="77224" y="814207"/>
                  <a:pt x="100229" y="799773"/>
                  <a:pt x="131354" y="799773"/>
                </a:cubicBezTo>
                <a:cubicBezTo>
                  <a:pt x="189995" y="799773"/>
                  <a:pt x="221120" y="848941"/>
                  <a:pt x="221120" y="912093"/>
                </a:cubicBezTo>
                <a:cubicBezTo>
                  <a:pt x="221120" y="974793"/>
                  <a:pt x="188191" y="1025766"/>
                  <a:pt x="130452" y="1025766"/>
                </a:cubicBezTo>
                <a:cubicBezTo>
                  <a:pt x="99327" y="1025766"/>
                  <a:pt x="75871" y="1012685"/>
                  <a:pt x="61436" y="987875"/>
                </a:cubicBezTo>
                <a:lnTo>
                  <a:pt x="62338" y="1017646"/>
                </a:lnTo>
                <a:cubicBezTo>
                  <a:pt x="62338" y="1019902"/>
                  <a:pt x="60534" y="1021255"/>
                  <a:pt x="58729" y="1021255"/>
                </a:cubicBezTo>
                <a:lnTo>
                  <a:pt x="27605" y="1021255"/>
                </a:lnTo>
                <a:cubicBezTo>
                  <a:pt x="25349" y="1021255"/>
                  <a:pt x="23996" y="1019451"/>
                  <a:pt x="23996" y="1017646"/>
                </a:cubicBezTo>
                <a:lnTo>
                  <a:pt x="25349" y="859316"/>
                </a:lnTo>
                <a:lnTo>
                  <a:pt x="23996" y="740681"/>
                </a:lnTo>
                <a:cubicBezTo>
                  <a:pt x="23996" y="738425"/>
                  <a:pt x="25800" y="737072"/>
                  <a:pt x="27605" y="737072"/>
                </a:cubicBezTo>
                <a:close/>
                <a:moveTo>
                  <a:pt x="302766" y="438003"/>
                </a:moveTo>
                <a:cubicBezTo>
                  <a:pt x="259913" y="438454"/>
                  <a:pt x="239163" y="469579"/>
                  <a:pt x="239163" y="524160"/>
                </a:cubicBezTo>
                <a:cubicBezTo>
                  <a:pt x="238712" y="578291"/>
                  <a:pt x="259913" y="608964"/>
                  <a:pt x="302766" y="608964"/>
                </a:cubicBezTo>
                <a:cubicBezTo>
                  <a:pt x="345619" y="608964"/>
                  <a:pt x="365918" y="578742"/>
                  <a:pt x="365918" y="524160"/>
                </a:cubicBezTo>
                <a:cubicBezTo>
                  <a:pt x="365918" y="469579"/>
                  <a:pt x="344717" y="438003"/>
                  <a:pt x="302766" y="438003"/>
                </a:cubicBezTo>
                <a:close/>
                <a:moveTo>
                  <a:pt x="433129" y="415449"/>
                </a:moveTo>
                <a:lnTo>
                  <a:pt x="464705" y="415449"/>
                </a:lnTo>
                <a:cubicBezTo>
                  <a:pt x="466960" y="415449"/>
                  <a:pt x="468313" y="417253"/>
                  <a:pt x="468313" y="419058"/>
                </a:cubicBezTo>
                <a:lnTo>
                  <a:pt x="467411" y="507921"/>
                </a:lnTo>
                <a:lnTo>
                  <a:pt x="467411" y="549872"/>
                </a:lnTo>
                <a:cubicBezTo>
                  <a:pt x="467411" y="589116"/>
                  <a:pt x="485906" y="606709"/>
                  <a:pt x="513422" y="606709"/>
                </a:cubicBezTo>
                <a:cubicBezTo>
                  <a:pt x="541840" y="606709"/>
                  <a:pt x="564845" y="583703"/>
                  <a:pt x="573416" y="540850"/>
                </a:cubicBezTo>
                <a:lnTo>
                  <a:pt x="573416" y="507921"/>
                </a:lnTo>
                <a:lnTo>
                  <a:pt x="572514" y="419058"/>
                </a:lnTo>
                <a:cubicBezTo>
                  <a:pt x="572514" y="416802"/>
                  <a:pt x="574318" y="415449"/>
                  <a:pt x="576122" y="415449"/>
                </a:cubicBezTo>
                <a:lnTo>
                  <a:pt x="608149" y="415449"/>
                </a:lnTo>
                <a:cubicBezTo>
                  <a:pt x="610405" y="415449"/>
                  <a:pt x="611758" y="417253"/>
                  <a:pt x="611758" y="419058"/>
                </a:cubicBezTo>
                <a:lnTo>
                  <a:pt x="610405" y="514688"/>
                </a:lnTo>
                <a:lnTo>
                  <a:pt x="611307" y="629263"/>
                </a:lnTo>
                <a:cubicBezTo>
                  <a:pt x="611307" y="631518"/>
                  <a:pt x="609503" y="632872"/>
                  <a:pt x="607698" y="632872"/>
                </a:cubicBezTo>
                <a:lnTo>
                  <a:pt x="577927" y="632872"/>
                </a:lnTo>
                <a:cubicBezTo>
                  <a:pt x="575671" y="632872"/>
                  <a:pt x="574318" y="631067"/>
                  <a:pt x="574318" y="629263"/>
                </a:cubicBezTo>
                <a:lnTo>
                  <a:pt x="575220" y="595883"/>
                </a:lnTo>
                <a:cubicBezTo>
                  <a:pt x="562590" y="617535"/>
                  <a:pt x="538231" y="637383"/>
                  <a:pt x="503498" y="637383"/>
                </a:cubicBezTo>
                <a:cubicBezTo>
                  <a:pt x="458840" y="637383"/>
                  <a:pt x="430422" y="607611"/>
                  <a:pt x="430422" y="550774"/>
                </a:cubicBezTo>
                <a:lnTo>
                  <a:pt x="430422" y="507921"/>
                </a:lnTo>
                <a:lnTo>
                  <a:pt x="429520" y="419058"/>
                </a:lnTo>
                <a:cubicBezTo>
                  <a:pt x="429520" y="416802"/>
                  <a:pt x="431324" y="415449"/>
                  <a:pt x="433129" y="415449"/>
                </a:cubicBezTo>
                <a:close/>
                <a:moveTo>
                  <a:pt x="2795" y="414998"/>
                </a:moveTo>
                <a:lnTo>
                  <a:pt x="38882" y="414998"/>
                </a:lnTo>
                <a:cubicBezTo>
                  <a:pt x="41137" y="414998"/>
                  <a:pt x="42941" y="416802"/>
                  <a:pt x="43844" y="418156"/>
                </a:cubicBezTo>
                <a:lnTo>
                  <a:pt x="105642" y="582350"/>
                </a:lnTo>
                <a:lnTo>
                  <a:pt x="157517" y="418607"/>
                </a:lnTo>
                <a:cubicBezTo>
                  <a:pt x="158419" y="416351"/>
                  <a:pt x="160674" y="414998"/>
                  <a:pt x="162479" y="414998"/>
                </a:cubicBezTo>
                <a:lnTo>
                  <a:pt x="194506" y="414998"/>
                </a:lnTo>
                <a:cubicBezTo>
                  <a:pt x="196761" y="414998"/>
                  <a:pt x="197663" y="416802"/>
                  <a:pt x="197212" y="418607"/>
                </a:cubicBezTo>
                <a:lnTo>
                  <a:pt x="98876" y="696475"/>
                </a:lnTo>
                <a:cubicBezTo>
                  <a:pt x="97974" y="698730"/>
                  <a:pt x="95718" y="700083"/>
                  <a:pt x="93914" y="700083"/>
                </a:cubicBezTo>
                <a:lnTo>
                  <a:pt x="64593" y="700083"/>
                </a:lnTo>
                <a:cubicBezTo>
                  <a:pt x="62789" y="700083"/>
                  <a:pt x="61436" y="698279"/>
                  <a:pt x="61887" y="696475"/>
                </a:cubicBezTo>
                <a:lnTo>
                  <a:pt x="84892" y="632421"/>
                </a:lnTo>
                <a:lnTo>
                  <a:pt x="88" y="418156"/>
                </a:lnTo>
                <a:cubicBezTo>
                  <a:pt x="-363" y="416351"/>
                  <a:pt x="991" y="414998"/>
                  <a:pt x="2795" y="414998"/>
                </a:cubicBezTo>
                <a:close/>
                <a:moveTo>
                  <a:pt x="302766" y="409585"/>
                </a:moveTo>
                <a:cubicBezTo>
                  <a:pt x="369076" y="409585"/>
                  <a:pt x="405613" y="454693"/>
                  <a:pt x="405613" y="523258"/>
                </a:cubicBezTo>
                <a:cubicBezTo>
                  <a:pt x="405613" y="591823"/>
                  <a:pt x="369076" y="637383"/>
                  <a:pt x="302766" y="637383"/>
                </a:cubicBezTo>
                <a:cubicBezTo>
                  <a:pt x="236908" y="637383"/>
                  <a:pt x="199919" y="592725"/>
                  <a:pt x="199919" y="524160"/>
                </a:cubicBezTo>
                <a:cubicBezTo>
                  <a:pt x="199919" y="455144"/>
                  <a:pt x="236908" y="409585"/>
                  <a:pt x="302766" y="409585"/>
                </a:cubicBezTo>
                <a:close/>
                <a:moveTo>
                  <a:pt x="767383" y="408683"/>
                </a:moveTo>
                <a:cubicBezTo>
                  <a:pt x="771893" y="408683"/>
                  <a:pt x="776404" y="409134"/>
                  <a:pt x="780013" y="410036"/>
                </a:cubicBezTo>
                <a:cubicBezTo>
                  <a:pt x="782268" y="410487"/>
                  <a:pt x="783622" y="412743"/>
                  <a:pt x="783622" y="414547"/>
                </a:cubicBezTo>
                <a:lnTo>
                  <a:pt x="783622" y="438003"/>
                </a:lnTo>
                <a:cubicBezTo>
                  <a:pt x="783622" y="439808"/>
                  <a:pt x="781817" y="441161"/>
                  <a:pt x="780013" y="441161"/>
                </a:cubicBezTo>
                <a:cubicBezTo>
                  <a:pt x="776404" y="440710"/>
                  <a:pt x="772345" y="440259"/>
                  <a:pt x="767834" y="440259"/>
                </a:cubicBezTo>
                <a:cubicBezTo>
                  <a:pt x="731296" y="440259"/>
                  <a:pt x="699269" y="462813"/>
                  <a:pt x="694758" y="510177"/>
                </a:cubicBezTo>
                <a:lnTo>
                  <a:pt x="695209" y="624301"/>
                </a:lnTo>
                <a:cubicBezTo>
                  <a:pt x="695209" y="626557"/>
                  <a:pt x="693405" y="627910"/>
                  <a:pt x="691600" y="627910"/>
                </a:cubicBezTo>
                <a:lnTo>
                  <a:pt x="660476" y="627910"/>
                </a:lnTo>
                <a:lnTo>
                  <a:pt x="660476" y="628361"/>
                </a:lnTo>
                <a:cubicBezTo>
                  <a:pt x="658220" y="628361"/>
                  <a:pt x="656867" y="626557"/>
                  <a:pt x="656867" y="624752"/>
                </a:cubicBezTo>
                <a:lnTo>
                  <a:pt x="658220" y="517394"/>
                </a:lnTo>
                <a:lnTo>
                  <a:pt x="656867" y="414998"/>
                </a:lnTo>
                <a:cubicBezTo>
                  <a:pt x="656867" y="412743"/>
                  <a:pt x="658671" y="411390"/>
                  <a:pt x="660476" y="411390"/>
                </a:cubicBezTo>
                <a:lnTo>
                  <a:pt x="691600" y="411390"/>
                </a:lnTo>
                <a:cubicBezTo>
                  <a:pt x="693856" y="411390"/>
                  <a:pt x="695209" y="413194"/>
                  <a:pt x="695209" y="414998"/>
                </a:cubicBezTo>
                <a:lnTo>
                  <a:pt x="693405" y="451536"/>
                </a:lnTo>
                <a:cubicBezTo>
                  <a:pt x="709193" y="423569"/>
                  <a:pt x="736709" y="408683"/>
                  <a:pt x="767383" y="408683"/>
                </a:cubicBezTo>
                <a:close/>
                <a:moveTo>
                  <a:pt x="485455" y="100592"/>
                </a:moveTo>
                <a:cubicBezTo>
                  <a:pt x="449368" y="100592"/>
                  <a:pt x="429070" y="123598"/>
                  <a:pt x="423205" y="164646"/>
                </a:cubicBezTo>
                <a:lnTo>
                  <a:pt x="544998" y="164646"/>
                </a:lnTo>
                <a:cubicBezTo>
                  <a:pt x="543645" y="129913"/>
                  <a:pt x="523797" y="100592"/>
                  <a:pt x="485455" y="100592"/>
                </a:cubicBezTo>
                <a:close/>
                <a:moveTo>
                  <a:pt x="180522" y="78038"/>
                </a:moveTo>
                <a:lnTo>
                  <a:pt x="214353" y="78038"/>
                </a:lnTo>
                <a:cubicBezTo>
                  <a:pt x="216609" y="78038"/>
                  <a:pt x="218413" y="79842"/>
                  <a:pt x="219315" y="81647"/>
                </a:cubicBezTo>
                <a:lnTo>
                  <a:pt x="280663" y="262983"/>
                </a:lnTo>
                <a:lnTo>
                  <a:pt x="343363" y="81647"/>
                </a:lnTo>
                <a:cubicBezTo>
                  <a:pt x="344265" y="79391"/>
                  <a:pt x="346521" y="78038"/>
                  <a:pt x="348325" y="78038"/>
                </a:cubicBezTo>
                <a:lnTo>
                  <a:pt x="378097" y="78038"/>
                </a:lnTo>
                <a:cubicBezTo>
                  <a:pt x="380352" y="78038"/>
                  <a:pt x="381254" y="79842"/>
                  <a:pt x="380803" y="81196"/>
                </a:cubicBezTo>
                <a:lnTo>
                  <a:pt x="304570" y="292303"/>
                </a:lnTo>
                <a:cubicBezTo>
                  <a:pt x="303668" y="294107"/>
                  <a:pt x="301412" y="295461"/>
                  <a:pt x="299608" y="295461"/>
                </a:cubicBezTo>
                <a:lnTo>
                  <a:pt x="260815" y="295461"/>
                </a:lnTo>
                <a:cubicBezTo>
                  <a:pt x="258559" y="295461"/>
                  <a:pt x="256755" y="293656"/>
                  <a:pt x="255853" y="292303"/>
                </a:cubicBezTo>
                <a:lnTo>
                  <a:pt x="177815" y="81196"/>
                </a:lnTo>
                <a:cubicBezTo>
                  <a:pt x="177364" y="79391"/>
                  <a:pt x="178718" y="78038"/>
                  <a:pt x="180522" y="78038"/>
                </a:cubicBezTo>
                <a:close/>
                <a:moveTo>
                  <a:pt x="116468" y="77586"/>
                </a:moveTo>
                <a:lnTo>
                  <a:pt x="148044" y="77586"/>
                </a:lnTo>
                <a:cubicBezTo>
                  <a:pt x="150299" y="77586"/>
                  <a:pt x="151652" y="79391"/>
                  <a:pt x="151652" y="81195"/>
                </a:cubicBezTo>
                <a:lnTo>
                  <a:pt x="151201" y="182689"/>
                </a:lnTo>
                <a:lnTo>
                  <a:pt x="152103" y="291400"/>
                </a:lnTo>
                <a:cubicBezTo>
                  <a:pt x="152103" y="293656"/>
                  <a:pt x="150299" y="295009"/>
                  <a:pt x="148495" y="295009"/>
                </a:cubicBezTo>
                <a:lnTo>
                  <a:pt x="116468" y="295009"/>
                </a:lnTo>
                <a:cubicBezTo>
                  <a:pt x="114212" y="295009"/>
                  <a:pt x="112859" y="293205"/>
                  <a:pt x="112859" y="291400"/>
                </a:cubicBezTo>
                <a:lnTo>
                  <a:pt x="113761" y="183140"/>
                </a:lnTo>
                <a:lnTo>
                  <a:pt x="112859" y="81195"/>
                </a:lnTo>
                <a:cubicBezTo>
                  <a:pt x="112859" y="78940"/>
                  <a:pt x="114663" y="77586"/>
                  <a:pt x="116468" y="77586"/>
                </a:cubicBezTo>
                <a:close/>
                <a:moveTo>
                  <a:pt x="485004" y="72174"/>
                </a:moveTo>
                <a:cubicBezTo>
                  <a:pt x="547705" y="72174"/>
                  <a:pt x="585145" y="115027"/>
                  <a:pt x="586498" y="187652"/>
                </a:cubicBezTo>
                <a:cubicBezTo>
                  <a:pt x="586498" y="189907"/>
                  <a:pt x="584694" y="191260"/>
                  <a:pt x="582889" y="191260"/>
                </a:cubicBezTo>
                <a:lnTo>
                  <a:pt x="421852" y="191260"/>
                </a:lnTo>
                <a:cubicBezTo>
                  <a:pt x="423205" y="243586"/>
                  <a:pt x="444858" y="271553"/>
                  <a:pt x="487259" y="271553"/>
                </a:cubicBezTo>
                <a:cubicBezTo>
                  <a:pt x="519286" y="271553"/>
                  <a:pt x="538683" y="254863"/>
                  <a:pt x="544998" y="222836"/>
                </a:cubicBezTo>
                <a:cubicBezTo>
                  <a:pt x="545449" y="220581"/>
                  <a:pt x="547705" y="219227"/>
                  <a:pt x="549509" y="219227"/>
                </a:cubicBezTo>
                <a:lnTo>
                  <a:pt x="579281" y="219227"/>
                </a:lnTo>
                <a:lnTo>
                  <a:pt x="579281" y="219679"/>
                </a:lnTo>
                <a:cubicBezTo>
                  <a:pt x="581536" y="219679"/>
                  <a:pt x="582438" y="221483"/>
                  <a:pt x="582438" y="223287"/>
                </a:cubicBezTo>
                <a:cubicBezTo>
                  <a:pt x="575672" y="267494"/>
                  <a:pt x="542743" y="299972"/>
                  <a:pt x="486808" y="299972"/>
                </a:cubicBezTo>
                <a:cubicBezTo>
                  <a:pt x="419146" y="299972"/>
                  <a:pt x="383059" y="253059"/>
                  <a:pt x="383059" y="186749"/>
                </a:cubicBezTo>
                <a:cubicBezTo>
                  <a:pt x="383059" y="118636"/>
                  <a:pt x="421852" y="72174"/>
                  <a:pt x="485004" y="72174"/>
                </a:cubicBezTo>
                <a:close/>
                <a:moveTo>
                  <a:pt x="116468" y="10826"/>
                </a:moveTo>
                <a:lnTo>
                  <a:pt x="148044" y="10826"/>
                </a:lnTo>
                <a:cubicBezTo>
                  <a:pt x="150299" y="10826"/>
                  <a:pt x="151652" y="12630"/>
                  <a:pt x="151652" y="14435"/>
                </a:cubicBezTo>
                <a:lnTo>
                  <a:pt x="151652" y="49168"/>
                </a:lnTo>
                <a:cubicBezTo>
                  <a:pt x="151652" y="51424"/>
                  <a:pt x="149848" y="52777"/>
                  <a:pt x="148044" y="52777"/>
                </a:cubicBezTo>
                <a:lnTo>
                  <a:pt x="116468" y="52777"/>
                </a:lnTo>
                <a:cubicBezTo>
                  <a:pt x="114212" y="52777"/>
                  <a:pt x="112859" y="50972"/>
                  <a:pt x="112859" y="49168"/>
                </a:cubicBezTo>
                <a:lnTo>
                  <a:pt x="112859" y="14435"/>
                </a:lnTo>
                <a:cubicBezTo>
                  <a:pt x="112859" y="12179"/>
                  <a:pt x="114663" y="10826"/>
                  <a:pt x="116468" y="10826"/>
                </a:cubicBezTo>
                <a:close/>
                <a:moveTo>
                  <a:pt x="29860" y="0"/>
                </a:moveTo>
                <a:lnTo>
                  <a:pt x="60984" y="0"/>
                </a:lnTo>
                <a:cubicBezTo>
                  <a:pt x="63240" y="0"/>
                  <a:pt x="64593" y="1804"/>
                  <a:pt x="64593" y="3609"/>
                </a:cubicBezTo>
                <a:lnTo>
                  <a:pt x="62789" y="145700"/>
                </a:lnTo>
                <a:lnTo>
                  <a:pt x="64593" y="291852"/>
                </a:lnTo>
                <a:cubicBezTo>
                  <a:pt x="64593" y="294107"/>
                  <a:pt x="62789" y="295460"/>
                  <a:pt x="60984" y="295460"/>
                </a:cubicBezTo>
                <a:lnTo>
                  <a:pt x="29860" y="295460"/>
                </a:lnTo>
                <a:lnTo>
                  <a:pt x="29860" y="295009"/>
                </a:lnTo>
                <a:cubicBezTo>
                  <a:pt x="27604" y="295009"/>
                  <a:pt x="26251" y="293205"/>
                  <a:pt x="26251" y="291401"/>
                </a:cubicBezTo>
                <a:lnTo>
                  <a:pt x="28055" y="145700"/>
                </a:lnTo>
                <a:lnTo>
                  <a:pt x="26251" y="3609"/>
                </a:lnTo>
                <a:cubicBezTo>
                  <a:pt x="26251" y="1353"/>
                  <a:pt x="28055" y="0"/>
                  <a:pt x="29860" y="0"/>
                </a:cubicBezTo>
                <a:close/>
              </a:path>
            </a:pathLst>
          </a:custGeom>
          <a:solidFill>
            <a:schemeClr val="tx1"/>
          </a:solidFill>
        </p:spPr>
        <p:txBody>
          <a:bodyPr wrap="square">
            <a:noAutofit/>
          </a:bodyPr>
          <a:lstStyle/>
          <a:p>
            <a:pPr lvl="0"/>
            <a:r>
              <a:rPr lang="en-US"/>
              <a:t> </a:t>
            </a:r>
          </a:p>
        </p:txBody>
      </p:sp>
      <p:sp>
        <p:nvSpPr>
          <p:cNvPr id="12" name="Text Placeholder 7">
            <a:extLst>
              <a:ext uri="{FF2B5EF4-FFF2-40B4-BE49-F238E27FC236}">
                <a16:creationId xmlns:a16="http://schemas.microsoft.com/office/drawing/2014/main" id="{52559B72-5448-8C4D-BA39-F77E5A509B23}"/>
              </a:ext>
            </a:extLst>
          </p:cNvPr>
          <p:cNvSpPr>
            <a:spLocks noGrp="1"/>
          </p:cNvSpPr>
          <p:nvPr>
            <p:ph type="body" sz="quarter" idx="18" hasCustomPrompt="1"/>
          </p:nvPr>
        </p:nvSpPr>
        <p:spPr>
          <a:xfrm>
            <a:off x="521207" y="5687840"/>
            <a:ext cx="1014772" cy="298870"/>
          </a:xfrm>
          <a:prstGeom prst="rect">
            <a:avLst/>
          </a:prstGeom>
          <a:solidFill>
            <a:srgbClr val="1D2550"/>
          </a:solidFill>
        </p:spPr>
        <p:txBody>
          <a:bodyPr wrap="none" lIns="75600" tIns="75600" rIns="75600" bIns="75600" anchor="t" anchorCtr="0">
            <a:spAutoFit/>
          </a:bodyPr>
          <a:lstStyle>
            <a:lvl1pP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3859488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2 Content">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D36BCD1C-33D6-F1AE-0319-FA5A2E02E217}"/>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543400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D36BCD1C-33D6-F1AE-0319-FA5A2E02E217}"/>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647D7EB4-7059-9F86-302A-A0A1E0582911}"/>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7B97EE82-108F-E33E-FCA1-952163EFB126}"/>
              </a:ext>
            </a:extLst>
          </p:cNvPr>
          <p:cNvSpPr>
            <a:spLocks noGrp="1"/>
          </p:cNvSpPr>
          <p:nvPr>
            <p:ph sz="half" idx="1"/>
          </p:nvPr>
        </p:nvSpPr>
        <p:spPr>
          <a:xfrm>
            <a:off x="521208" y="1414800"/>
            <a:ext cx="5466792" cy="463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Content Placeholder 3">
            <a:extLst>
              <a:ext uri="{FF2B5EF4-FFF2-40B4-BE49-F238E27FC236}">
                <a16:creationId xmlns:a16="http://schemas.microsoft.com/office/drawing/2014/main" id="{84970725-E095-1266-38E5-68F19D3A7559}"/>
              </a:ext>
            </a:extLst>
          </p:cNvPr>
          <p:cNvSpPr>
            <a:spLocks noGrp="1"/>
          </p:cNvSpPr>
          <p:nvPr>
            <p:ph sz="half" idx="2"/>
          </p:nvPr>
        </p:nvSpPr>
        <p:spPr>
          <a:xfrm>
            <a:off x="6204000" y="1414800"/>
            <a:ext cx="5466788" cy="463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6">
            <a:extLst>
              <a:ext uri="{FF2B5EF4-FFF2-40B4-BE49-F238E27FC236}">
                <a16:creationId xmlns:a16="http://schemas.microsoft.com/office/drawing/2014/main" id="{639FC5A9-B0A2-A729-A108-87F84341470B}"/>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9" name="footnotes">
            <a:extLst>
              <a:ext uri="{FF2B5EF4-FFF2-40B4-BE49-F238E27FC236}">
                <a16:creationId xmlns:a16="http://schemas.microsoft.com/office/drawing/2014/main" id="{A6D39C17-F283-E044-804E-58A1732C7665}"/>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0" name="Text Placeholder 7">
            <a:extLst>
              <a:ext uri="{FF2B5EF4-FFF2-40B4-BE49-F238E27FC236}">
                <a16:creationId xmlns:a16="http://schemas.microsoft.com/office/drawing/2014/main" id="{13814B80-708E-D448-839E-AC05CFB32396}"/>
              </a:ext>
            </a:extLst>
          </p:cNvPr>
          <p:cNvSpPr>
            <a:spLocks noGrp="1"/>
          </p:cNvSpPr>
          <p:nvPr>
            <p:ph type="body" sz="quarter" idx="19"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866063367"/>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itle, Content, Shape - Light Back C">
    <p:bg>
      <p:bgPr>
        <a:solidFill>
          <a:srgbClr val="4CD300"/>
        </a:solidFill>
        <a:effectLst/>
      </p:bgPr>
    </p:bg>
    <p:spTree>
      <p:nvGrpSpPr>
        <p:cNvPr id="1" name=""/>
        <p:cNvGrpSpPr/>
        <p:nvPr/>
      </p:nvGrpSpPr>
      <p:grpSpPr>
        <a:xfrm>
          <a:off x="0" y="0"/>
          <a:ext cx="0" cy="0"/>
          <a:chOff x="0" y="0"/>
          <a:chExt cx="0" cy="0"/>
        </a:xfrm>
      </p:grpSpPr>
      <p:sp>
        <p:nvSpPr>
          <p:cNvPr id="15" name="Shape">
            <a:extLst>
              <a:ext uri="{FF2B5EF4-FFF2-40B4-BE49-F238E27FC236}">
                <a16:creationId xmlns:a16="http://schemas.microsoft.com/office/drawing/2014/main" id="{EAC5222C-C927-BE6F-1E16-3D8585E8F66F}"/>
              </a:ext>
              <a:ext uri="{C183D7F6-B498-43B3-948B-1728B52AA6E4}">
                <adec:decorative xmlns:adec="http://schemas.microsoft.com/office/drawing/2017/decorative" val="1"/>
              </a:ext>
            </a:extLst>
          </p:cNvPr>
          <p:cNvSpPr/>
          <p:nvPr userDrawn="1"/>
        </p:nvSpPr>
        <p:spPr>
          <a:xfrm flipH="1">
            <a:off x="-3" y="0"/>
            <a:ext cx="6564002" cy="6858000"/>
          </a:xfrm>
          <a:custGeom>
            <a:avLst/>
            <a:gdLst>
              <a:gd name="connsiteX0" fmla="*/ 6769100 w 6769100"/>
              <a:gd name="connsiteY0" fmla="*/ 0 h 6858000"/>
              <a:gd name="connsiteX1" fmla="*/ 6635749 w 6769100"/>
              <a:gd name="connsiteY1" fmla="*/ 0 h 6858000"/>
              <a:gd name="connsiteX2" fmla="*/ 3619500 w 6769100"/>
              <a:gd name="connsiteY2" fmla="*/ 0 h 6858000"/>
              <a:gd name="connsiteX3" fmla="*/ 2069045 w 6769100"/>
              <a:gd name="connsiteY3" fmla="*/ 0 h 6858000"/>
              <a:gd name="connsiteX4" fmla="*/ 0 w 6769100"/>
              <a:gd name="connsiteY4" fmla="*/ 3439189 h 6858000"/>
              <a:gd name="connsiteX5" fmla="*/ 2056786 w 6769100"/>
              <a:gd name="connsiteY5" fmla="*/ 6858000 h 6858000"/>
              <a:gd name="connsiteX6" fmla="*/ 3619500 w 6769100"/>
              <a:gd name="connsiteY6" fmla="*/ 6858000 h 6858000"/>
              <a:gd name="connsiteX7" fmla="*/ 6635749 w 6769100"/>
              <a:gd name="connsiteY7" fmla="*/ 6858000 h 6858000"/>
              <a:gd name="connsiteX8" fmla="*/ 6769100 w 676910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69100" h="6858000">
                <a:moveTo>
                  <a:pt x="6769100" y="0"/>
                </a:moveTo>
                <a:lnTo>
                  <a:pt x="6635749" y="0"/>
                </a:lnTo>
                <a:lnTo>
                  <a:pt x="3619500" y="0"/>
                </a:lnTo>
                <a:lnTo>
                  <a:pt x="2069045" y="0"/>
                </a:lnTo>
                <a:lnTo>
                  <a:pt x="0" y="3439189"/>
                </a:lnTo>
                <a:lnTo>
                  <a:pt x="2056786" y="6858000"/>
                </a:lnTo>
                <a:lnTo>
                  <a:pt x="3619500" y="6858000"/>
                </a:lnTo>
                <a:lnTo>
                  <a:pt x="6635749" y="6858000"/>
                </a:lnTo>
                <a:lnTo>
                  <a:pt x="6769100" y="6858000"/>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Forever Forma Body Text" pitchFamily="2" charset="0"/>
            </a:endParaRPr>
          </a:p>
        </p:txBody>
      </p:sp>
      <p:pic>
        <p:nvPicPr>
          <p:cNvPr id="5" name="logo sm" descr="Transamerica Logo">
            <a:extLst>
              <a:ext uri="{FF2B5EF4-FFF2-40B4-BE49-F238E27FC236}">
                <a16:creationId xmlns:a16="http://schemas.microsoft.com/office/drawing/2014/main" id="{82601ED6-508B-F24A-3423-6F503697C7E8}"/>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799200" y="6053051"/>
            <a:ext cx="2138399" cy="804949"/>
          </a:xfrm>
          <a:prstGeom prst="rect">
            <a:avLst/>
          </a:prstGeom>
        </p:spPr>
      </p:pic>
      <p:sp>
        <p:nvSpPr>
          <p:cNvPr id="3" name="Title 2">
            <a:extLst>
              <a:ext uri="{FF2B5EF4-FFF2-40B4-BE49-F238E27FC236}">
                <a16:creationId xmlns:a16="http://schemas.microsoft.com/office/drawing/2014/main" id="{197DD675-0CF5-185B-0D79-004F17D12F28}"/>
              </a:ext>
            </a:extLst>
          </p:cNvPr>
          <p:cNvSpPr>
            <a:spLocks noGrp="1"/>
          </p:cNvSpPr>
          <p:nvPr>
            <p:ph type="title"/>
          </p:nvPr>
        </p:nvSpPr>
        <p:spPr>
          <a:xfrm>
            <a:off x="521208" y="1269000"/>
            <a:ext cx="5106792" cy="4320000"/>
          </a:xfrm>
          <a:prstGeom prst="rect">
            <a:avLst/>
          </a:prstGeom>
        </p:spPr>
        <p:txBody>
          <a:bodyPr anchor="ctr" anchorCtr="0"/>
          <a:lstStyle/>
          <a:p>
            <a:r>
              <a:rPr lang="en-US"/>
              <a:t>Click to edit Master title style</a:t>
            </a:r>
          </a:p>
        </p:txBody>
      </p:sp>
      <p:sp>
        <p:nvSpPr>
          <p:cNvPr id="13" name="Text Placeholder 12">
            <a:extLst>
              <a:ext uri="{FF2B5EF4-FFF2-40B4-BE49-F238E27FC236}">
                <a16:creationId xmlns:a16="http://schemas.microsoft.com/office/drawing/2014/main" id="{98BA2B9A-D146-D79C-2973-FBA71B289A78}"/>
              </a:ext>
            </a:extLst>
          </p:cNvPr>
          <p:cNvSpPr>
            <a:spLocks noGrp="1"/>
          </p:cNvSpPr>
          <p:nvPr>
            <p:ph type="body" sz="quarter" idx="13"/>
          </p:nvPr>
        </p:nvSpPr>
        <p:spPr>
          <a:xfrm>
            <a:off x="6796971" y="1269000"/>
            <a:ext cx="4873817" cy="4320000"/>
          </a:xfrm>
          <a:prstGeom prst="rect">
            <a:avLst/>
          </a:prstGeom>
        </p:spPr>
        <p:txBody>
          <a:bodyPr anchor="ctr" anchorCtr="0"/>
          <a:lstStyle>
            <a:lvl1pPr>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b="0" i="0">
                <a:solidFill>
                  <a:schemeClr val="tx1"/>
                </a:solidFill>
                <a:latin typeface="Forever Forma Body Text" pitchFamily="2" charset="0"/>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Slide Number Placeholder 3">
            <a:extLst>
              <a:ext uri="{FF2B5EF4-FFF2-40B4-BE49-F238E27FC236}">
                <a16:creationId xmlns:a16="http://schemas.microsoft.com/office/drawing/2014/main" id="{0101FA8D-C042-AF97-2FAC-9395B7768CD3}"/>
              </a:ext>
              <a:ext uri="{C183D7F6-B498-43B3-948B-1728B52AA6E4}">
                <adec:decorative xmlns:adec="http://schemas.microsoft.com/office/drawing/2017/decorative" val="1"/>
              </a:ext>
            </a:extLst>
          </p:cNvPr>
          <p:cNvSpPr>
            <a:spLocks noGrp="1"/>
          </p:cNvSpPr>
          <p:nvPr>
            <p:ph type="sldNum" sz="quarter" idx="14"/>
          </p:nvPr>
        </p:nvSpPr>
        <p:spPr/>
        <p:txBody>
          <a:bodyPr/>
          <a:lstStyle>
            <a:lvl1pPr>
              <a:defRPr>
                <a:solidFill>
                  <a:schemeClr val="tx1"/>
                </a:solidFill>
              </a:defRPr>
            </a:lvl1pPr>
          </a:lstStyle>
          <a:p>
            <a:fld id="{1C1606C5-D483-4832-A0E9-CF578A9B5883}" type="slidenum">
              <a:rPr lang="en-US" smtClean="0"/>
              <a:pPr/>
              <a:t>‹#›</a:t>
            </a:fld>
            <a:endParaRPr lang="en-US"/>
          </a:p>
        </p:txBody>
      </p:sp>
      <p:sp>
        <p:nvSpPr>
          <p:cNvPr id="8" name="footnotes">
            <a:extLst>
              <a:ext uri="{FF2B5EF4-FFF2-40B4-BE49-F238E27FC236}">
                <a16:creationId xmlns:a16="http://schemas.microsoft.com/office/drawing/2014/main" id="{37194CCE-F997-CF1A-4190-9ECD448FBFCB}"/>
              </a:ext>
            </a:extLst>
          </p:cNvPr>
          <p:cNvSpPr>
            <a:spLocks noGrp="1"/>
          </p:cNvSpPr>
          <p:nvPr>
            <p:ph type="body" sz="quarter" idx="15" hasCustomPrompt="1"/>
          </p:nvPr>
        </p:nvSpPr>
        <p:spPr>
          <a:xfrm>
            <a:off x="6796971" y="6049950"/>
            <a:ext cx="3002229" cy="808050"/>
          </a:xfrm>
          <a:prstGeom prst="rect">
            <a:avLst/>
          </a:prstGeom>
        </p:spPr>
        <p:txBody>
          <a:bodyPr bIns="309600" anchor="b" anchorCtr="0"/>
          <a:lstStyle>
            <a:lvl1pPr>
              <a:lnSpc>
                <a:spcPct val="90000"/>
              </a:lnSpc>
              <a:spcBef>
                <a:spcPts val="0"/>
              </a:spcBef>
              <a:defRPr sz="1000">
                <a:solidFill>
                  <a:schemeClr val="tx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2" name="Group 1">
            <a:extLst>
              <a:ext uri="{FF2B5EF4-FFF2-40B4-BE49-F238E27FC236}">
                <a16:creationId xmlns:a16="http://schemas.microsoft.com/office/drawing/2014/main" id="{A6D56EBD-A4F4-62B1-9915-8497BBA4E508}"/>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6" name="Content Placeholder 15">
              <a:extLst>
                <a:ext uri="{FF2B5EF4-FFF2-40B4-BE49-F238E27FC236}">
                  <a16:creationId xmlns:a16="http://schemas.microsoft.com/office/drawing/2014/main" id="{8787318B-F886-7034-081C-F8063D21DFCB}"/>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7" name="TextBox 6">
              <a:extLst>
                <a:ext uri="{FF2B5EF4-FFF2-40B4-BE49-F238E27FC236}">
                  <a16:creationId xmlns:a16="http://schemas.microsoft.com/office/drawing/2014/main" id="{0358A450-1FDD-2180-0FBA-8EE28C050406}"/>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light background)</a:t>
              </a:r>
            </a:p>
            <a:p>
              <a:pPr algn="l">
                <a:buNone/>
              </a:pPr>
              <a:endParaRPr lang="en-US" sz="1200" kern="100" spc="-30"/>
            </a:p>
          </p:txBody>
        </p:sp>
        <p:pic>
          <p:nvPicPr>
            <p:cNvPr id="9" name="Picture 8" descr="A screenshot of a color chart&#10;&#10;Description automatically generated">
              <a:extLst>
                <a:ext uri="{FF2B5EF4-FFF2-40B4-BE49-F238E27FC236}">
                  <a16:creationId xmlns:a16="http://schemas.microsoft.com/office/drawing/2014/main" id="{1D6A50F0-E40F-DB3D-69E5-AEE3E15891EF}"/>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0" name="Rectangle 9">
              <a:extLst>
                <a:ext uri="{FF2B5EF4-FFF2-40B4-BE49-F238E27FC236}">
                  <a16:creationId xmlns:a16="http://schemas.microsoft.com/office/drawing/2014/main" id="{C34AD7E0-AED8-2820-B43D-C7A238B543DE}"/>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EC6CA1A3-017D-BA12-5AB1-1737E61530EC}"/>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11">
              <a:extLst>
                <a:ext uri="{FF2B5EF4-FFF2-40B4-BE49-F238E27FC236}">
                  <a16:creationId xmlns:a16="http://schemas.microsoft.com/office/drawing/2014/main" id="{4F16F28F-8B8E-51BC-5D64-FD42F2B47577}"/>
                </a:ext>
              </a:extLst>
            </p:cNvPr>
            <p:cNvGrpSpPr/>
            <p:nvPr userDrawn="1"/>
          </p:nvGrpSpPr>
          <p:grpSpPr>
            <a:xfrm>
              <a:off x="-2740234" y="3819615"/>
              <a:ext cx="2227594" cy="2600236"/>
              <a:chOff x="-3323174" y="3918039"/>
              <a:chExt cx="2782425" cy="3247881"/>
            </a:xfrm>
          </p:grpSpPr>
          <p:sp>
            <p:nvSpPr>
              <p:cNvPr id="17" name="Rectangle 16">
                <a:extLst>
                  <a:ext uri="{FF2B5EF4-FFF2-40B4-BE49-F238E27FC236}">
                    <a16:creationId xmlns:a16="http://schemas.microsoft.com/office/drawing/2014/main" id="{6A31027B-CB2B-F15B-E39E-36D071838D95}"/>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8" name="Rectangle 17">
                <a:extLst>
                  <a:ext uri="{FF2B5EF4-FFF2-40B4-BE49-F238E27FC236}">
                    <a16:creationId xmlns:a16="http://schemas.microsoft.com/office/drawing/2014/main" id="{78022F20-B682-38F1-80C0-FE7F97BB2E7E}"/>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9" name="Rectangle 18">
                <a:extLst>
                  <a:ext uri="{FF2B5EF4-FFF2-40B4-BE49-F238E27FC236}">
                    <a16:creationId xmlns:a16="http://schemas.microsoft.com/office/drawing/2014/main" id="{40D30C7B-5B60-77DB-D4E5-9A53B8BC095F}"/>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0" name="TextBox 19">
                <a:extLst>
                  <a:ext uri="{FF2B5EF4-FFF2-40B4-BE49-F238E27FC236}">
                    <a16:creationId xmlns:a16="http://schemas.microsoft.com/office/drawing/2014/main" id="{E14C7FAC-C8D8-4040-20F8-90ABEC9502B4}"/>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Light Background Colors</a:t>
                </a:r>
              </a:p>
            </p:txBody>
          </p:sp>
          <p:sp>
            <p:nvSpPr>
              <p:cNvPr id="21" name="Right Brace 20">
                <a:extLst>
                  <a:ext uri="{FF2B5EF4-FFF2-40B4-BE49-F238E27FC236}">
                    <a16:creationId xmlns:a16="http://schemas.microsoft.com/office/drawing/2014/main" id="{EDFF300A-5FA8-55A3-722A-0614C6DBEC40}"/>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2" name="Rectangle 21">
                <a:extLst>
                  <a:ext uri="{FF2B5EF4-FFF2-40B4-BE49-F238E27FC236}">
                    <a16:creationId xmlns:a16="http://schemas.microsoft.com/office/drawing/2014/main" id="{3C6A6D23-8F51-BDDD-CE33-49764128A7A2}"/>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sp>
            <p:nvSpPr>
              <p:cNvPr id="23" name="Rectangle 22">
                <a:extLst>
                  <a:ext uri="{FF2B5EF4-FFF2-40B4-BE49-F238E27FC236}">
                    <a16:creationId xmlns:a16="http://schemas.microsoft.com/office/drawing/2014/main" id="{3D845440-0F60-A6D6-CBFC-8CD07C53C2F1}"/>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4" name="Picture 13">
              <a:extLst>
                <a:ext uri="{FF2B5EF4-FFF2-40B4-BE49-F238E27FC236}">
                  <a16:creationId xmlns:a16="http://schemas.microsoft.com/office/drawing/2014/main" id="{C2D0E124-4034-C808-B743-0323E97E5625}"/>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632579" y="972962"/>
              <a:ext cx="1260329" cy="802028"/>
            </a:xfrm>
            <a:prstGeom prst="rect">
              <a:avLst/>
            </a:prstGeom>
            <a:ln>
              <a:solidFill>
                <a:schemeClr val="accent6"/>
              </a:solidFill>
            </a:ln>
          </p:spPr>
        </p:pic>
        <p:pic>
          <p:nvPicPr>
            <p:cNvPr id="16" name="Picture 15">
              <a:extLst>
                <a:ext uri="{FF2B5EF4-FFF2-40B4-BE49-F238E27FC236}">
                  <a16:creationId xmlns:a16="http://schemas.microsoft.com/office/drawing/2014/main" id="{6CC699C4-F9E0-54BA-478C-7E362AE8DF50}"/>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5411" y="2002090"/>
              <a:ext cx="1265993" cy="943035"/>
            </a:xfrm>
            <a:prstGeom prst="rect">
              <a:avLst/>
            </a:prstGeom>
            <a:ln>
              <a:solidFill>
                <a:schemeClr val="accent6"/>
              </a:solidFill>
            </a:ln>
          </p:spPr>
        </p:pic>
      </p:grpSp>
      <p:sp>
        <p:nvSpPr>
          <p:cNvPr id="26" name="Text Placeholder 7">
            <a:extLst>
              <a:ext uri="{FF2B5EF4-FFF2-40B4-BE49-F238E27FC236}">
                <a16:creationId xmlns:a16="http://schemas.microsoft.com/office/drawing/2014/main" id="{48AE39BF-7B38-894C-AFB8-4B1D2727CCEE}"/>
              </a:ext>
            </a:extLst>
          </p:cNvPr>
          <p:cNvSpPr>
            <a:spLocks noGrp="1"/>
          </p:cNvSpPr>
          <p:nvPr>
            <p:ph type="body" sz="quarter" idx="20" hasCustomPrompt="1"/>
          </p:nvPr>
        </p:nvSpPr>
        <p:spPr>
          <a:xfrm>
            <a:off x="1100957" y="6313320"/>
            <a:ext cx="1014772" cy="298870"/>
          </a:xfrm>
          <a:prstGeom prst="rect">
            <a:avLst/>
          </a:prstGeom>
          <a:solidFill>
            <a:srgbClr val="1D2550"/>
          </a:solidFill>
        </p:spPr>
        <p:txBody>
          <a:bodyPr wrap="none" lIns="75600" tIns="75600" rIns="75600" bIns="75600" anchor="b" anchorCtr="0">
            <a:spAutoFit/>
          </a:bodyPr>
          <a:lstStyle>
            <a:lvl1pPr algn="l">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1119006895"/>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Title, Content, Shape - Dark Back A">
    <p:bg>
      <p:bgPr>
        <a:solidFill>
          <a:srgbClr val="641EE0"/>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254176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hape">
            <a:extLst>
              <a:ext uri="{FF2B5EF4-FFF2-40B4-BE49-F238E27FC236}">
                <a16:creationId xmlns:a16="http://schemas.microsoft.com/office/drawing/2014/main" id="{344630B8-C98D-D3B9-67A1-E0937CD3CD02}"/>
              </a:ext>
              <a:ext uri="{C183D7F6-B498-43B3-948B-1728B52AA6E4}">
                <adec:decorative xmlns:adec="http://schemas.microsoft.com/office/drawing/2017/decorative" val="1"/>
              </a:ext>
            </a:extLst>
          </p:cNvPr>
          <p:cNvSpPr/>
          <p:nvPr userDrawn="1"/>
        </p:nvSpPr>
        <p:spPr>
          <a:xfrm>
            <a:off x="2928001" y="0"/>
            <a:ext cx="9264000" cy="6858000"/>
          </a:xfrm>
          <a:custGeom>
            <a:avLst/>
            <a:gdLst>
              <a:gd name="connsiteX0" fmla="*/ 0 w 10502900"/>
              <a:gd name="connsiteY0" fmla="*/ 0 h 6858000"/>
              <a:gd name="connsiteX1" fmla="*/ 10502900 w 10502900"/>
              <a:gd name="connsiteY1" fmla="*/ 0 h 6858000"/>
              <a:gd name="connsiteX2" fmla="*/ 10502900 w 10502900"/>
              <a:gd name="connsiteY2" fmla="*/ 6858000 h 6858000"/>
              <a:gd name="connsiteX3" fmla="*/ 1406333 w 10502900"/>
              <a:gd name="connsiteY3" fmla="*/ 6858000 h 6858000"/>
              <a:gd name="connsiteX4" fmla="*/ 3820073 w 10502900"/>
              <a:gd name="connsiteY4" fmla="*/ 5548121 h 6858000"/>
              <a:gd name="connsiteX5" fmla="*/ 4742125 w 10502900"/>
              <a:gd name="connsiteY5" fmla="*/ 3428998 h 6858000"/>
              <a:gd name="connsiteX6" fmla="*/ 3820073 w 10502900"/>
              <a:gd name="connsiteY6" fmla="*/ 1309879 h 6858000"/>
              <a:gd name="connsiteX7" fmla="*/ 1406333 w 10502900"/>
              <a:gd name="connsiteY7" fmla="*/ 1 h 6858000"/>
              <a:gd name="connsiteX8" fmla="*/ 0 w 10502900"/>
              <a:gd name="connsiteY8" fmla="*/ 1 h 6858000"/>
              <a:gd name="connsiteX0" fmla="*/ 0 w 10502900"/>
              <a:gd name="connsiteY0" fmla="*/ 1 h 6858000"/>
              <a:gd name="connsiteX1" fmla="*/ 10502900 w 10502900"/>
              <a:gd name="connsiteY1" fmla="*/ 0 h 6858000"/>
              <a:gd name="connsiteX2" fmla="*/ 10502900 w 10502900"/>
              <a:gd name="connsiteY2" fmla="*/ 6858000 h 6858000"/>
              <a:gd name="connsiteX3" fmla="*/ 1406333 w 10502900"/>
              <a:gd name="connsiteY3" fmla="*/ 6858000 h 6858000"/>
              <a:gd name="connsiteX4" fmla="*/ 3820073 w 10502900"/>
              <a:gd name="connsiteY4" fmla="*/ 5548121 h 6858000"/>
              <a:gd name="connsiteX5" fmla="*/ 4742125 w 10502900"/>
              <a:gd name="connsiteY5" fmla="*/ 3428998 h 6858000"/>
              <a:gd name="connsiteX6" fmla="*/ 3820073 w 10502900"/>
              <a:gd name="connsiteY6" fmla="*/ 1309879 h 6858000"/>
              <a:gd name="connsiteX7" fmla="*/ 1406333 w 10502900"/>
              <a:gd name="connsiteY7" fmla="*/ 1 h 6858000"/>
              <a:gd name="connsiteX8" fmla="*/ 0 w 10502900"/>
              <a:gd name="connsiteY8" fmla="*/ 1 h 6858000"/>
              <a:gd name="connsiteX0" fmla="*/ 0 w 9096567"/>
              <a:gd name="connsiteY0" fmla="*/ 1 h 6858000"/>
              <a:gd name="connsiteX1" fmla="*/ 9096567 w 9096567"/>
              <a:gd name="connsiteY1" fmla="*/ 0 h 6858000"/>
              <a:gd name="connsiteX2" fmla="*/ 9096567 w 9096567"/>
              <a:gd name="connsiteY2" fmla="*/ 6858000 h 6858000"/>
              <a:gd name="connsiteX3" fmla="*/ 0 w 9096567"/>
              <a:gd name="connsiteY3" fmla="*/ 6858000 h 6858000"/>
              <a:gd name="connsiteX4" fmla="*/ 2413740 w 9096567"/>
              <a:gd name="connsiteY4" fmla="*/ 5548121 h 6858000"/>
              <a:gd name="connsiteX5" fmla="*/ 3335792 w 9096567"/>
              <a:gd name="connsiteY5" fmla="*/ 3428998 h 6858000"/>
              <a:gd name="connsiteX6" fmla="*/ 2413740 w 9096567"/>
              <a:gd name="connsiteY6" fmla="*/ 1309879 h 6858000"/>
              <a:gd name="connsiteX7" fmla="*/ 0 w 9096567"/>
              <a:gd name="connsiteY7"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96567" h="6858000">
                <a:moveTo>
                  <a:pt x="0" y="1"/>
                </a:moveTo>
                <a:lnTo>
                  <a:pt x="9096567" y="0"/>
                </a:lnTo>
                <a:lnTo>
                  <a:pt x="9096567" y="6858000"/>
                </a:lnTo>
                <a:lnTo>
                  <a:pt x="0" y="6858000"/>
                </a:lnTo>
                <a:lnTo>
                  <a:pt x="2413740" y="5548121"/>
                </a:lnTo>
                <a:lnTo>
                  <a:pt x="3335792" y="3428998"/>
                </a:lnTo>
                <a:lnTo>
                  <a:pt x="2413740" y="1309879"/>
                </a:lnTo>
                <a:lnTo>
                  <a:pt x="0" y="1"/>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Forever Forma Body Text" pitchFamily="2" charset="0"/>
            </a:endParaRPr>
          </a:p>
        </p:txBody>
      </p:sp>
      <p:pic>
        <p:nvPicPr>
          <p:cNvPr id="8" name="logo sm" descr="Transamerica Logo">
            <a:extLst>
              <a:ext uri="{FF2B5EF4-FFF2-40B4-BE49-F238E27FC236}">
                <a16:creationId xmlns:a16="http://schemas.microsoft.com/office/drawing/2014/main" id="{F50AF79B-55C2-D55D-6201-BB3366488C4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799200" y="6053050"/>
            <a:ext cx="2138400" cy="804950"/>
          </a:xfrm>
          <a:prstGeom prst="rect">
            <a:avLst/>
          </a:prstGeom>
        </p:spPr>
      </p:pic>
      <p:sp>
        <p:nvSpPr>
          <p:cNvPr id="6" name="Title 5">
            <a:extLst>
              <a:ext uri="{FF2B5EF4-FFF2-40B4-BE49-F238E27FC236}">
                <a16:creationId xmlns:a16="http://schemas.microsoft.com/office/drawing/2014/main" id="{652D13E3-58BD-D104-4F90-BAC6FCDDB569}"/>
              </a:ext>
            </a:extLst>
          </p:cNvPr>
          <p:cNvSpPr>
            <a:spLocks noGrp="1"/>
          </p:cNvSpPr>
          <p:nvPr>
            <p:ph type="title"/>
          </p:nvPr>
        </p:nvSpPr>
        <p:spPr>
          <a:xfrm>
            <a:off x="521208" y="1269000"/>
            <a:ext cx="5106792" cy="4320000"/>
          </a:xfrm>
          <a:prstGeom prst="rect">
            <a:avLst/>
          </a:prstGeom>
        </p:spPr>
        <p:txBody>
          <a:bodyPr anchor="ctr" anchorCtr="0"/>
          <a:lstStyle>
            <a:lvl1pPr>
              <a:defRPr>
                <a:solidFill>
                  <a:schemeClr val="bg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98BA2B9A-D146-D79C-2973-FBA71B289A78}"/>
              </a:ext>
            </a:extLst>
          </p:cNvPr>
          <p:cNvSpPr>
            <a:spLocks noGrp="1"/>
          </p:cNvSpPr>
          <p:nvPr>
            <p:ph type="body" sz="quarter" idx="13"/>
          </p:nvPr>
        </p:nvSpPr>
        <p:spPr>
          <a:xfrm>
            <a:off x="6552000" y="1269000"/>
            <a:ext cx="5106792" cy="4320000"/>
          </a:xfrm>
          <a:prstGeom prst="rect">
            <a:avLst/>
          </a:prstGeom>
        </p:spPr>
        <p:txBody>
          <a:bodyPr anchor="ctr" anchorCtr="0"/>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Slide Number Placeholder 3">
            <a:extLst>
              <a:ext uri="{FF2B5EF4-FFF2-40B4-BE49-F238E27FC236}">
                <a16:creationId xmlns:a16="http://schemas.microsoft.com/office/drawing/2014/main" id="{A9F40096-D548-3E3A-1132-E6A716C6E5EB}"/>
              </a:ext>
              <a:ext uri="{C183D7F6-B498-43B3-948B-1728B52AA6E4}">
                <adec:decorative xmlns:adec="http://schemas.microsoft.com/office/drawing/2017/decorative" val="1"/>
              </a:ext>
            </a:extLst>
          </p:cNvPr>
          <p:cNvSpPr>
            <a:spLocks noGrp="1"/>
          </p:cNvSpPr>
          <p:nvPr>
            <p:ph type="sldNum" sz="quarter" idx="14"/>
          </p:nvPr>
        </p:nvSpPr>
        <p:spPr/>
        <p:txBody>
          <a:bodyPr/>
          <a:lstStyle>
            <a:lvl1pPr>
              <a:defRPr>
                <a:solidFill>
                  <a:schemeClr val="bg1"/>
                </a:solidFill>
              </a:defRPr>
            </a:lvl1pPr>
          </a:lstStyle>
          <a:p>
            <a:fld id="{1C1606C5-D483-4832-A0E9-CF578A9B5883}" type="slidenum">
              <a:rPr lang="en-US" smtClean="0"/>
              <a:pPr/>
              <a:t>‹#›</a:t>
            </a:fld>
            <a:endParaRPr lang="en-US"/>
          </a:p>
        </p:txBody>
      </p:sp>
      <p:sp>
        <p:nvSpPr>
          <p:cNvPr id="7" name="footnotes">
            <a:extLst>
              <a:ext uri="{FF2B5EF4-FFF2-40B4-BE49-F238E27FC236}">
                <a16:creationId xmlns:a16="http://schemas.microsoft.com/office/drawing/2014/main" id="{DCA3043C-B828-E81E-3F43-ED0D5B85A799}"/>
              </a:ext>
            </a:extLst>
          </p:cNvPr>
          <p:cNvSpPr>
            <a:spLocks noGrp="1"/>
          </p:cNvSpPr>
          <p:nvPr>
            <p:ph type="body" sz="quarter" idx="15" hasCustomPrompt="1"/>
          </p:nvPr>
        </p:nvSpPr>
        <p:spPr>
          <a:xfrm>
            <a:off x="6552000" y="6049950"/>
            <a:ext cx="3247200"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2" name="Group 1">
            <a:extLst>
              <a:ext uri="{FF2B5EF4-FFF2-40B4-BE49-F238E27FC236}">
                <a16:creationId xmlns:a16="http://schemas.microsoft.com/office/drawing/2014/main" id="{F04F4A68-6F37-CFA9-129F-29348DDA468E}"/>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3" name="Content Placeholder 15">
              <a:extLst>
                <a:ext uri="{FF2B5EF4-FFF2-40B4-BE49-F238E27FC236}">
                  <a16:creationId xmlns:a16="http://schemas.microsoft.com/office/drawing/2014/main" id="{4148079E-84B0-31F6-D308-07CD89DCDF3F}"/>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9" name="TextBox 8">
              <a:extLst>
                <a:ext uri="{FF2B5EF4-FFF2-40B4-BE49-F238E27FC236}">
                  <a16:creationId xmlns:a16="http://schemas.microsoft.com/office/drawing/2014/main" id="{16DA40AB-BC2D-94DD-7DDA-7C9C7C8D8E0F}"/>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dark background)</a:t>
              </a:r>
            </a:p>
            <a:p>
              <a:pPr algn="l">
                <a:buNone/>
              </a:pPr>
              <a:endParaRPr lang="en-US" sz="1200" kern="100" spc="-30"/>
            </a:p>
          </p:txBody>
        </p:sp>
        <p:pic>
          <p:nvPicPr>
            <p:cNvPr id="10" name="Picture 9" descr="A screenshot of a color chart&#10;&#10;Description automatically generated">
              <a:extLst>
                <a:ext uri="{FF2B5EF4-FFF2-40B4-BE49-F238E27FC236}">
                  <a16:creationId xmlns:a16="http://schemas.microsoft.com/office/drawing/2014/main" id="{B1BFDFC0-D1D9-EFBC-CE16-4F71A31828EB}"/>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1" name="Rectangle 10">
              <a:extLst>
                <a:ext uri="{FF2B5EF4-FFF2-40B4-BE49-F238E27FC236}">
                  <a16:creationId xmlns:a16="http://schemas.microsoft.com/office/drawing/2014/main" id="{A4FEEFCD-5B5E-9674-C27D-D652AC8E43FF}"/>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B8A0235F-EF6B-0BEB-3931-CD17F59449B3}"/>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a:extLst>
                <a:ext uri="{FF2B5EF4-FFF2-40B4-BE49-F238E27FC236}">
                  <a16:creationId xmlns:a16="http://schemas.microsoft.com/office/drawing/2014/main" id="{FD2E8544-D8DC-DD88-7FB6-589FEAFC5979}"/>
                </a:ext>
              </a:extLst>
            </p:cNvPr>
            <p:cNvGrpSpPr/>
            <p:nvPr userDrawn="1"/>
          </p:nvGrpSpPr>
          <p:grpSpPr>
            <a:xfrm>
              <a:off x="-2740233" y="3819615"/>
              <a:ext cx="2254459" cy="2600236"/>
              <a:chOff x="-3323173" y="3918039"/>
              <a:chExt cx="2815981" cy="3247881"/>
            </a:xfrm>
          </p:grpSpPr>
          <p:sp>
            <p:nvSpPr>
              <p:cNvPr id="18" name="Rectangle 17">
                <a:extLst>
                  <a:ext uri="{FF2B5EF4-FFF2-40B4-BE49-F238E27FC236}">
                    <a16:creationId xmlns:a16="http://schemas.microsoft.com/office/drawing/2014/main" id="{B32FF724-68EA-8E26-6E7D-E3C486162E3A}"/>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9" name="Rectangle 18">
                <a:extLst>
                  <a:ext uri="{FF2B5EF4-FFF2-40B4-BE49-F238E27FC236}">
                    <a16:creationId xmlns:a16="http://schemas.microsoft.com/office/drawing/2014/main" id="{975B3083-BC4F-6604-867F-43E03F5C5C19}"/>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0" name="Rectangle 19">
                <a:extLst>
                  <a:ext uri="{FF2B5EF4-FFF2-40B4-BE49-F238E27FC236}">
                    <a16:creationId xmlns:a16="http://schemas.microsoft.com/office/drawing/2014/main" id="{B04CB2E2-79A0-92FA-CB29-9B3B4273BDAF}"/>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1" name="TextBox 20">
                <a:extLst>
                  <a:ext uri="{FF2B5EF4-FFF2-40B4-BE49-F238E27FC236}">
                    <a16:creationId xmlns:a16="http://schemas.microsoft.com/office/drawing/2014/main" id="{163FEDF6-F7BD-750B-F6E8-42BB6CB2A334}"/>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Dark Background Colors</a:t>
                </a:r>
              </a:p>
            </p:txBody>
          </p:sp>
          <p:sp>
            <p:nvSpPr>
              <p:cNvPr id="22" name="Right Brace 21">
                <a:extLst>
                  <a:ext uri="{FF2B5EF4-FFF2-40B4-BE49-F238E27FC236}">
                    <a16:creationId xmlns:a16="http://schemas.microsoft.com/office/drawing/2014/main" id="{06A8628B-B1C8-6CDA-5D10-28CAFCA5E0A8}"/>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38" name="Rectangle 37">
                <a:extLst>
                  <a:ext uri="{FF2B5EF4-FFF2-40B4-BE49-F238E27FC236}">
                    <a16:creationId xmlns:a16="http://schemas.microsoft.com/office/drawing/2014/main" id="{A5A77ABF-3B77-90B8-504C-BE74DAF54F0C}"/>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6" name="Picture 15">
              <a:extLst>
                <a:ext uri="{FF2B5EF4-FFF2-40B4-BE49-F238E27FC236}">
                  <a16:creationId xmlns:a16="http://schemas.microsoft.com/office/drawing/2014/main" id="{673BB5B7-CD25-A0D2-A91C-137FFBBE9C31}"/>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17" name="Picture 16">
              <a:extLst>
                <a:ext uri="{FF2B5EF4-FFF2-40B4-BE49-F238E27FC236}">
                  <a16:creationId xmlns:a16="http://schemas.microsoft.com/office/drawing/2014/main" id="{8F927D56-F225-6493-3E8C-AEAD6A41D3B1}"/>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
        <p:nvSpPr>
          <p:cNvPr id="26" name="Text Placeholder 7">
            <a:extLst>
              <a:ext uri="{FF2B5EF4-FFF2-40B4-BE49-F238E27FC236}">
                <a16:creationId xmlns:a16="http://schemas.microsoft.com/office/drawing/2014/main" id="{E4472E2A-EA07-0D4B-B50B-37E366FF6F33}"/>
              </a:ext>
            </a:extLst>
          </p:cNvPr>
          <p:cNvSpPr>
            <a:spLocks noGrp="1"/>
          </p:cNvSpPr>
          <p:nvPr>
            <p:ph type="body" sz="quarter" idx="20" hasCustomPrompt="1"/>
          </p:nvPr>
        </p:nvSpPr>
        <p:spPr>
          <a:xfrm>
            <a:off x="1100957" y="6313320"/>
            <a:ext cx="1014772" cy="298870"/>
          </a:xfrm>
          <a:prstGeom prst="rect">
            <a:avLst/>
          </a:prstGeom>
          <a:solidFill>
            <a:srgbClr val="1D2550"/>
          </a:solidFill>
        </p:spPr>
        <p:txBody>
          <a:bodyPr wrap="none" lIns="75600" tIns="75600" rIns="75600" bIns="75600" anchor="b" anchorCtr="0">
            <a:spAutoFit/>
          </a:bodyPr>
          <a:lstStyle>
            <a:lvl1pPr algn="l">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292194146"/>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Title, Content, Shape - Dark Back B">
    <p:bg>
      <p:bgPr>
        <a:solidFill>
          <a:srgbClr val="CF0000"/>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34AC5DB-AF99-EAEE-E186-5AD89F87DE38}"/>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638818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7" name="think-cell data - do not delete" hidden="1">
                        <a:extLst>
                          <a:ext uri="{FF2B5EF4-FFF2-40B4-BE49-F238E27FC236}">
                            <a16:creationId xmlns:a16="http://schemas.microsoft.com/office/drawing/2014/main" id="{F34AC5DB-AF99-EAEE-E186-5AD89F87DE38}"/>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Shape">
            <a:extLst>
              <a:ext uri="{FF2B5EF4-FFF2-40B4-BE49-F238E27FC236}">
                <a16:creationId xmlns:a16="http://schemas.microsoft.com/office/drawing/2014/main" id="{2A3239AF-8363-538C-904E-A10FCB384291}"/>
              </a:ext>
              <a:ext uri="{C183D7F6-B498-43B3-948B-1728B52AA6E4}">
                <adec:decorative xmlns:adec="http://schemas.microsoft.com/office/drawing/2017/decorative" val="1"/>
              </a:ext>
            </a:extLst>
          </p:cNvPr>
          <p:cNvSpPr/>
          <p:nvPr userDrawn="1"/>
        </p:nvSpPr>
        <p:spPr>
          <a:xfrm>
            <a:off x="4557645" y="0"/>
            <a:ext cx="7634356" cy="6858000"/>
          </a:xfrm>
          <a:custGeom>
            <a:avLst/>
            <a:gdLst>
              <a:gd name="connsiteX0" fmla="*/ 0 w 7634356"/>
              <a:gd name="connsiteY0" fmla="*/ 0 h 6858000"/>
              <a:gd name="connsiteX1" fmla="*/ 7634356 w 7634356"/>
              <a:gd name="connsiteY1" fmla="*/ 0 h 6858000"/>
              <a:gd name="connsiteX2" fmla="*/ 7634356 w 7634356"/>
              <a:gd name="connsiteY2" fmla="*/ 6858000 h 6858000"/>
              <a:gd name="connsiteX3" fmla="*/ 11887 w 7634356"/>
              <a:gd name="connsiteY3" fmla="*/ 6858000 h 6858000"/>
              <a:gd name="connsiteX4" fmla="*/ 2006354 w 7634356"/>
              <a:gd name="connsiteY4" fmla="*/ 3439189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4356" h="6858000">
                <a:moveTo>
                  <a:pt x="0" y="0"/>
                </a:moveTo>
                <a:lnTo>
                  <a:pt x="7634356" y="0"/>
                </a:lnTo>
                <a:lnTo>
                  <a:pt x="7634356" y="6858000"/>
                </a:lnTo>
                <a:lnTo>
                  <a:pt x="11887" y="6858000"/>
                </a:lnTo>
                <a:lnTo>
                  <a:pt x="2006354" y="3439189"/>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Forever Forma Body Text" pitchFamily="2" charset="0"/>
            </a:endParaRPr>
          </a:p>
        </p:txBody>
      </p:sp>
      <p:pic>
        <p:nvPicPr>
          <p:cNvPr id="2" name="logo sm" descr="Transamerica Logo">
            <a:extLst>
              <a:ext uri="{FF2B5EF4-FFF2-40B4-BE49-F238E27FC236}">
                <a16:creationId xmlns:a16="http://schemas.microsoft.com/office/drawing/2014/main" id="{D2ABAC7F-940E-BA0A-69DB-8F8CC04B95A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799200" y="6053050"/>
            <a:ext cx="2138400" cy="804950"/>
          </a:xfrm>
          <a:prstGeom prst="rect">
            <a:avLst/>
          </a:prstGeom>
        </p:spPr>
      </p:pic>
      <p:sp>
        <p:nvSpPr>
          <p:cNvPr id="4" name="Title 3">
            <a:extLst>
              <a:ext uri="{FF2B5EF4-FFF2-40B4-BE49-F238E27FC236}">
                <a16:creationId xmlns:a16="http://schemas.microsoft.com/office/drawing/2014/main" id="{5D7817A3-07F4-4001-71AB-F2108D08F062}"/>
              </a:ext>
            </a:extLst>
          </p:cNvPr>
          <p:cNvSpPr>
            <a:spLocks noGrp="1"/>
          </p:cNvSpPr>
          <p:nvPr>
            <p:ph type="title"/>
          </p:nvPr>
        </p:nvSpPr>
        <p:spPr>
          <a:xfrm>
            <a:off x="521208" y="1269000"/>
            <a:ext cx="5106792" cy="4320000"/>
          </a:xfrm>
          <a:prstGeom prst="rect">
            <a:avLst/>
          </a:prstGeom>
        </p:spPr>
        <p:txBody>
          <a:bodyPr anchor="ctr" anchorCtr="0"/>
          <a:lstStyle>
            <a:lvl1pPr>
              <a:defRPr>
                <a:solidFill>
                  <a:schemeClr val="bg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98BA2B9A-D146-D79C-2973-FBA71B289A78}"/>
              </a:ext>
            </a:extLst>
          </p:cNvPr>
          <p:cNvSpPr>
            <a:spLocks noGrp="1"/>
          </p:cNvSpPr>
          <p:nvPr>
            <p:ph type="body" sz="quarter" idx="13"/>
          </p:nvPr>
        </p:nvSpPr>
        <p:spPr>
          <a:xfrm>
            <a:off x="6796971" y="1269000"/>
            <a:ext cx="4873817" cy="4320000"/>
          </a:xfrm>
          <a:prstGeom prst="rect">
            <a:avLst/>
          </a:prstGeom>
        </p:spPr>
        <p:txBody>
          <a:bodyPr anchor="ctr" anchorCtr="0"/>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5" name="Slide Number Placeholder 4">
            <a:extLst>
              <a:ext uri="{FF2B5EF4-FFF2-40B4-BE49-F238E27FC236}">
                <a16:creationId xmlns:a16="http://schemas.microsoft.com/office/drawing/2014/main" id="{AFF604DC-F67A-B57E-9408-4B1F7516AEF5}"/>
              </a:ext>
              <a:ext uri="{C183D7F6-B498-43B3-948B-1728B52AA6E4}">
                <adec:decorative xmlns:adec="http://schemas.microsoft.com/office/drawing/2017/decorative" val="1"/>
              </a:ext>
            </a:extLst>
          </p:cNvPr>
          <p:cNvSpPr>
            <a:spLocks noGrp="1"/>
          </p:cNvSpPr>
          <p:nvPr>
            <p:ph type="sldNum" sz="quarter" idx="14"/>
          </p:nvPr>
        </p:nvSpPr>
        <p:spPr/>
        <p:txBody>
          <a:bodyPr/>
          <a:lstStyle>
            <a:lvl1pPr>
              <a:defRPr>
                <a:solidFill>
                  <a:schemeClr val="bg1"/>
                </a:solidFill>
              </a:defRPr>
            </a:lvl1pPr>
          </a:lstStyle>
          <a:p>
            <a:fld id="{1C1606C5-D483-4832-A0E9-CF578A9B5883}" type="slidenum">
              <a:rPr lang="en-US" smtClean="0"/>
              <a:pPr/>
              <a:t>‹#›</a:t>
            </a:fld>
            <a:endParaRPr lang="en-US"/>
          </a:p>
        </p:txBody>
      </p:sp>
      <p:sp>
        <p:nvSpPr>
          <p:cNvPr id="8" name="footnotes">
            <a:extLst>
              <a:ext uri="{FF2B5EF4-FFF2-40B4-BE49-F238E27FC236}">
                <a16:creationId xmlns:a16="http://schemas.microsoft.com/office/drawing/2014/main" id="{443DB67A-63B3-DB22-20C7-6CA88CFD44EC}"/>
              </a:ext>
            </a:extLst>
          </p:cNvPr>
          <p:cNvSpPr>
            <a:spLocks noGrp="1"/>
          </p:cNvSpPr>
          <p:nvPr>
            <p:ph type="body" sz="quarter" idx="15" hasCustomPrompt="1"/>
          </p:nvPr>
        </p:nvSpPr>
        <p:spPr>
          <a:xfrm>
            <a:off x="6796971" y="6049950"/>
            <a:ext cx="3002229"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3" name="Group 2">
            <a:extLst>
              <a:ext uri="{FF2B5EF4-FFF2-40B4-BE49-F238E27FC236}">
                <a16:creationId xmlns:a16="http://schemas.microsoft.com/office/drawing/2014/main" id="{CF28C01F-8281-4011-F810-BA59F3D7DEFF}"/>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6" name="Content Placeholder 15">
              <a:extLst>
                <a:ext uri="{FF2B5EF4-FFF2-40B4-BE49-F238E27FC236}">
                  <a16:creationId xmlns:a16="http://schemas.microsoft.com/office/drawing/2014/main" id="{AA806720-4E7E-0202-6010-4C94DBCE26E5}"/>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9" name="TextBox 8">
              <a:extLst>
                <a:ext uri="{FF2B5EF4-FFF2-40B4-BE49-F238E27FC236}">
                  <a16:creationId xmlns:a16="http://schemas.microsoft.com/office/drawing/2014/main" id="{1F8EDC31-5B3E-9447-F006-F08E886AD732}"/>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dark background)</a:t>
              </a:r>
            </a:p>
            <a:p>
              <a:pPr algn="l">
                <a:buNone/>
              </a:pPr>
              <a:endParaRPr lang="en-US" sz="1200" kern="100" spc="-30"/>
            </a:p>
          </p:txBody>
        </p:sp>
        <p:pic>
          <p:nvPicPr>
            <p:cNvPr id="10" name="Picture 9" descr="A screenshot of a color chart&#10;&#10;Description automatically generated">
              <a:extLst>
                <a:ext uri="{FF2B5EF4-FFF2-40B4-BE49-F238E27FC236}">
                  <a16:creationId xmlns:a16="http://schemas.microsoft.com/office/drawing/2014/main" id="{EFFD8D10-FC49-B272-3EC6-3EBBA8C43994}"/>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1" name="Rectangle 10">
              <a:extLst>
                <a:ext uri="{FF2B5EF4-FFF2-40B4-BE49-F238E27FC236}">
                  <a16:creationId xmlns:a16="http://schemas.microsoft.com/office/drawing/2014/main" id="{93A1AB4D-4AE9-37B0-A480-BE9680BDA4A3}"/>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8F416AD7-8A91-B907-8527-2DB28BB8C05B}"/>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 name="Group 13">
              <a:extLst>
                <a:ext uri="{FF2B5EF4-FFF2-40B4-BE49-F238E27FC236}">
                  <a16:creationId xmlns:a16="http://schemas.microsoft.com/office/drawing/2014/main" id="{6C00E18A-1954-BDE2-90E8-34FDAED1A0DE}"/>
                </a:ext>
              </a:extLst>
            </p:cNvPr>
            <p:cNvGrpSpPr/>
            <p:nvPr userDrawn="1"/>
          </p:nvGrpSpPr>
          <p:grpSpPr>
            <a:xfrm>
              <a:off x="-2740233" y="3819615"/>
              <a:ext cx="2254459" cy="2600236"/>
              <a:chOff x="-3323173" y="3918039"/>
              <a:chExt cx="2815981" cy="3247881"/>
            </a:xfrm>
          </p:grpSpPr>
          <p:sp>
            <p:nvSpPr>
              <p:cNvPr id="17" name="Rectangle 16">
                <a:extLst>
                  <a:ext uri="{FF2B5EF4-FFF2-40B4-BE49-F238E27FC236}">
                    <a16:creationId xmlns:a16="http://schemas.microsoft.com/office/drawing/2014/main" id="{A7DDBE52-6B93-0C89-9E03-27BDF6F2BC90}"/>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9" name="Rectangle 18">
                <a:extLst>
                  <a:ext uri="{FF2B5EF4-FFF2-40B4-BE49-F238E27FC236}">
                    <a16:creationId xmlns:a16="http://schemas.microsoft.com/office/drawing/2014/main" id="{181890F1-5A3E-C0CF-8D0B-3E1BF2CA1BA3}"/>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0" name="Rectangle 19">
                <a:extLst>
                  <a:ext uri="{FF2B5EF4-FFF2-40B4-BE49-F238E27FC236}">
                    <a16:creationId xmlns:a16="http://schemas.microsoft.com/office/drawing/2014/main" id="{5D686685-0543-0773-6552-E1D0490F001D}"/>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1" name="TextBox 20">
                <a:extLst>
                  <a:ext uri="{FF2B5EF4-FFF2-40B4-BE49-F238E27FC236}">
                    <a16:creationId xmlns:a16="http://schemas.microsoft.com/office/drawing/2014/main" id="{054F9050-5C2C-3FE5-38BA-311BA20A434D}"/>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Dark Background Colors</a:t>
                </a:r>
              </a:p>
            </p:txBody>
          </p:sp>
          <p:sp>
            <p:nvSpPr>
              <p:cNvPr id="22" name="Right Brace 21">
                <a:extLst>
                  <a:ext uri="{FF2B5EF4-FFF2-40B4-BE49-F238E27FC236}">
                    <a16:creationId xmlns:a16="http://schemas.microsoft.com/office/drawing/2014/main" id="{1282D326-B7CD-C5EE-8AF4-90D863877271}"/>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38" name="Rectangle 37">
                <a:extLst>
                  <a:ext uri="{FF2B5EF4-FFF2-40B4-BE49-F238E27FC236}">
                    <a16:creationId xmlns:a16="http://schemas.microsoft.com/office/drawing/2014/main" id="{81D9A9B4-2859-A0A1-D7E4-FB187EF3E645}"/>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5" name="Picture 14">
              <a:extLst>
                <a:ext uri="{FF2B5EF4-FFF2-40B4-BE49-F238E27FC236}">
                  <a16:creationId xmlns:a16="http://schemas.microsoft.com/office/drawing/2014/main" id="{18B2ADF9-3DCB-560D-46A4-9093C5292907}"/>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16" name="Picture 15">
              <a:extLst>
                <a:ext uri="{FF2B5EF4-FFF2-40B4-BE49-F238E27FC236}">
                  <a16:creationId xmlns:a16="http://schemas.microsoft.com/office/drawing/2014/main" id="{DFE760A4-7A0C-D8CE-C9DD-DCE6F43DEBDF}"/>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
        <p:nvSpPr>
          <p:cNvPr id="26" name="Text Placeholder 7">
            <a:extLst>
              <a:ext uri="{FF2B5EF4-FFF2-40B4-BE49-F238E27FC236}">
                <a16:creationId xmlns:a16="http://schemas.microsoft.com/office/drawing/2014/main" id="{596F803C-2A1D-C547-95C2-A07EF4E3E018}"/>
              </a:ext>
            </a:extLst>
          </p:cNvPr>
          <p:cNvSpPr>
            <a:spLocks noGrp="1"/>
          </p:cNvSpPr>
          <p:nvPr>
            <p:ph type="body" sz="quarter" idx="20" hasCustomPrompt="1"/>
          </p:nvPr>
        </p:nvSpPr>
        <p:spPr>
          <a:xfrm>
            <a:off x="1100957" y="6313320"/>
            <a:ext cx="1014772" cy="298870"/>
          </a:xfrm>
          <a:prstGeom prst="rect">
            <a:avLst/>
          </a:prstGeom>
          <a:solidFill>
            <a:srgbClr val="1D2550"/>
          </a:solidFill>
        </p:spPr>
        <p:txBody>
          <a:bodyPr wrap="none" lIns="75600" tIns="75600" rIns="75600" bIns="75600" anchor="b" anchorCtr="0">
            <a:spAutoFit/>
          </a:bodyPr>
          <a:lstStyle>
            <a:lvl1pPr algn="l">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376050855"/>
      </p:ext>
    </p:extLst>
  </p:cSld>
  <p:clrMapOvr>
    <a:masterClrMapping/>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Title, Content, Shape - Dark Back C">
    <p:bg>
      <p:bgPr>
        <a:solidFill>
          <a:srgbClr val="1D2550"/>
        </a:solidFill>
        <a:effectLst/>
      </p:bgPr>
    </p:bg>
    <p:spTree>
      <p:nvGrpSpPr>
        <p:cNvPr id="1" name=""/>
        <p:cNvGrpSpPr/>
        <p:nvPr/>
      </p:nvGrpSpPr>
      <p:grpSpPr>
        <a:xfrm>
          <a:off x="0" y="0"/>
          <a:ext cx="0" cy="0"/>
          <a:chOff x="0" y="0"/>
          <a:chExt cx="0" cy="0"/>
        </a:xfrm>
      </p:grpSpPr>
      <p:sp>
        <p:nvSpPr>
          <p:cNvPr id="15" name="Shape">
            <a:extLst>
              <a:ext uri="{FF2B5EF4-FFF2-40B4-BE49-F238E27FC236}">
                <a16:creationId xmlns:a16="http://schemas.microsoft.com/office/drawing/2014/main" id="{EAC5222C-C927-BE6F-1E16-3D8585E8F66F}"/>
              </a:ext>
              <a:ext uri="{C183D7F6-B498-43B3-948B-1728B52AA6E4}">
                <adec:decorative xmlns:adec="http://schemas.microsoft.com/office/drawing/2017/decorative" val="1"/>
              </a:ext>
            </a:extLst>
          </p:cNvPr>
          <p:cNvSpPr/>
          <p:nvPr userDrawn="1"/>
        </p:nvSpPr>
        <p:spPr>
          <a:xfrm flipH="1">
            <a:off x="-3" y="0"/>
            <a:ext cx="6564002" cy="6858000"/>
          </a:xfrm>
          <a:custGeom>
            <a:avLst/>
            <a:gdLst>
              <a:gd name="connsiteX0" fmla="*/ 6769100 w 6769100"/>
              <a:gd name="connsiteY0" fmla="*/ 0 h 6858000"/>
              <a:gd name="connsiteX1" fmla="*/ 6635749 w 6769100"/>
              <a:gd name="connsiteY1" fmla="*/ 0 h 6858000"/>
              <a:gd name="connsiteX2" fmla="*/ 3619500 w 6769100"/>
              <a:gd name="connsiteY2" fmla="*/ 0 h 6858000"/>
              <a:gd name="connsiteX3" fmla="*/ 2069045 w 6769100"/>
              <a:gd name="connsiteY3" fmla="*/ 0 h 6858000"/>
              <a:gd name="connsiteX4" fmla="*/ 0 w 6769100"/>
              <a:gd name="connsiteY4" fmla="*/ 3439189 h 6858000"/>
              <a:gd name="connsiteX5" fmla="*/ 2056786 w 6769100"/>
              <a:gd name="connsiteY5" fmla="*/ 6858000 h 6858000"/>
              <a:gd name="connsiteX6" fmla="*/ 3619500 w 6769100"/>
              <a:gd name="connsiteY6" fmla="*/ 6858000 h 6858000"/>
              <a:gd name="connsiteX7" fmla="*/ 6635749 w 6769100"/>
              <a:gd name="connsiteY7" fmla="*/ 6858000 h 6858000"/>
              <a:gd name="connsiteX8" fmla="*/ 6769100 w 676910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69100" h="6858000">
                <a:moveTo>
                  <a:pt x="6769100" y="0"/>
                </a:moveTo>
                <a:lnTo>
                  <a:pt x="6635749" y="0"/>
                </a:lnTo>
                <a:lnTo>
                  <a:pt x="3619500" y="0"/>
                </a:lnTo>
                <a:lnTo>
                  <a:pt x="2069045" y="0"/>
                </a:lnTo>
                <a:lnTo>
                  <a:pt x="0" y="3439189"/>
                </a:lnTo>
                <a:lnTo>
                  <a:pt x="2056786" y="6858000"/>
                </a:lnTo>
                <a:lnTo>
                  <a:pt x="3619500" y="6858000"/>
                </a:lnTo>
                <a:lnTo>
                  <a:pt x="6635749" y="6858000"/>
                </a:lnTo>
                <a:lnTo>
                  <a:pt x="6769100" y="6858000"/>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Forever Forma Body Text" pitchFamily="2" charset="0"/>
            </a:endParaRPr>
          </a:p>
        </p:txBody>
      </p:sp>
      <p:pic>
        <p:nvPicPr>
          <p:cNvPr id="5" name="logo sm" descr="Transamerica Logo">
            <a:extLst>
              <a:ext uri="{FF2B5EF4-FFF2-40B4-BE49-F238E27FC236}">
                <a16:creationId xmlns:a16="http://schemas.microsoft.com/office/drawing/2014/main" id="{82601ED6-508B-F24A-3423-6F503697C7E8}"/>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799200" y="6053051"/>
            <a:ext cx="2138399" cy="804948"/>
          </a:xfrm>
          <a:prstGeom prst="rect">
            <a:avLst/>
          </a:prstGeom>
        </p:spPr>
      </p:pic>
      <p:sp>
        <p:nvSpPr>
          <p:cNvPr id="3" name="Title 2">
            <a:extLst>
              <a:ext uri="{FF2B5EF4-FFF2-40B4-BE49-F238E27FC236}">
                <a16:creationId xmlns:a16="http://schemas.microsoft.com/office/drawing/2014/main" id="{197DD675-0CF5-185B-0D79-004F17D12F28}"/>
              </a:ext>
            </a:extLst>
          </p:cNvPr>
          <p:cNvSpPr>
            <a:spLocks noGrp="1"/>
          </p:cNvSpPr>
          <p:nvPr>
            <p:ph type="title"/>
          </p:nvPr>
        </p:nvSpPr>
        <p:spPr>
          <a:xfrm>
            <a:off x="521208" y="1269000"/>
            <a:ext cx="5106792" cy="4320000"/>
          </a:xfrm>
          <a:prstGeom prst="rect">
            <a:avLst/>
          </a:prstGeom>
        </p:spPr>
        <p:txBody>
          <a:bodyPr anchor="ctr" anchorCtr="0"/>
          <a:lstStyle/>
          <a:p>
            <a:r>
              <a:rPr lang="en-US"/>
              <a:t>Click to edit Master title style</a:t>
            </a:r>
          </a:p>
        </p:txBody>
      </p:sp>
      <p:sp>
        <p:nvSpPr>
          <p:cNvPr id="13" name="Text Placeholder 12">
            <a:extLst>
              <a:ext uri="{FF2B5EF4-FFF2-40B4-BE49-F238E27FC236}">
                <a16:creationId xmlns:a16="http://schemas.microsoft.com/office/drawing/2014/main" id="{98BA2B9A-D146-D79C-2973-FBA71B289A78}"/>
              </a:ext>
            </a:extLst>
          </p:cNvPr>
          <p:cNvSpPr>
            <a:spLocks noGrp="1"/>
          </p:cNvSpPr>
          <p:nvPr>
            <p:ph type="body" sz="quarter" idx="13"/>
          </p:nvPr>
        </p:nvSpPr>
        <p:spPr>
          <a:xfrm>
            <a:off x="6796971" y="1269000"/>
            <a:ext cx="4873817" cy="4320000"/>
          </a:xfrm>
          <a:prstGeom prst="rect">
            <a:avLst/>
          </a:prstGeom>
        </p:spPr>
        <p:txBody>
          <a:bodyPr anchor="ctr" anchorCtr="0"/>
          <a:lstStyle>
            <a:lvl1pPr>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b="0" i="0">
                <a:solidFill>
                  <a:schemeClr val="bg1"/>
                </a:solidFill>
                <a:latin typeface="Forever Forma Body Text" pitchFamily="2" charset="0"/>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Slide Number Placeholder 3">
            <a:extLst>
              <a:ext uri="{FF2B5EF4-FFF2-40B4-BE49-F238E27FC236}">
                <a16:creationId xmlns:a16="http://schemas.microsoft.com/office/drawing/2014/main" id="{0101FA8D-C042-AF97-2FAC-9395B7768CD3}"/>
              </a:ext>
              <a:ext uri="{C183D7F6-B498-43B3-948B-1728B52AA6E4}">
                <adec:decorative xmlns:adec="http://schemas.microsoft.com/office/drawing/2017/decorative" val="1"/>
              </a:ext>
            </a:extLst>
          </p:cNvPr>
          <p:cNvSpPr>
            <a:spLocks noGrp="1"/>
          </p:cNvSpPr>
          <p:nvPr>
            <p:ph type="sldNum" sz="quarter" idx="14"/>
          </p:nvPr>
        </p:nvSpPr>
        <p:spPr/>
        <p:txBody>
          <a:bodyPr/>
          <a:lstStyle>
            <a:lvl1pPr>
              <a:defRPr>
                <a:solidFill>
                  <a:schemeClr val="tx1"/>
                </a:solidFill>
              </a:defRPr>
            </a:lvl1pPr>
          </a:lstStyle>
          <a:p>
            <a:fld id="{1C1606C5-D483-4832-A0E9-CF578A9B5883}" type="slidenum">
              <a:rPr lang="en-US" smtClean="0"/>
              <a:pPr/>
              <a:t>‹#›</a:t>
            </a:fld>
            <a:endParaRPr lang="en-US"/>
          </a:p>
        </p:txBody>
      </p:sp>
      <p:sp>
        <p:nvSpPr>
          <p:cNvPr id="8" name="footnotes">
            <a:extLst>
              <a:ext uri="{FF2B5EF4-FFF2-40B4-BE49-F238E27FC236}">
                <a16:creationId xmlns:a16="http://schemas.microsoft.com/office/drawing/2014/main" id="{37194CCE-F997-CF1A-4190-9ECD448FBFCB}"/>
              </a:ext>
            </a:extLst>
          </p:cNvPr>
          <p:cNvSpPr>
            <a:spLocks noGrp="1"/>
          </p:cNvSpPr>
          <p:nvPr>
            <p:ph type="body" sz="quarter" idx="15" hasCustomPrompt="1"/>
          </p:nvPr>
        </p:nvSpPr>
        <p:spPr>
          <a:xfrm>
            <a:off x="6796971" y="6049950"/>
            <a:ext cx="3002229" cy="808050"/>
          </a:xfrm>
          <a:prstGeom prst="rect">
            <a:avLst/>
          </a:prstGeom>
        </p:spPr>
        <p:txBody>
          <a:bodyPr bIns="309600" anchor="b" anchorCtr="0"/>
          <a:lstStyle>
            <a:lvl1pPr>
              <a:lnSpc>
                <a:spcPct val="90000"/>
              </a:lnSpc>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2" name="Group 1">
            <a:extLst>
              <a:ext uri="{FF2B5EF4-FFF2-40B4-BE49-F238E27FC236}">
                <a16:creationId xmlns:a16="http://schemas.microsoft.com/office/drawing/2014/main" id="{BA5F5183-8CEF-5DDC-C576-B48695F4FC56}"/>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6" name="Content Placeholder 15">
              <a:extLst>
                <a:ext uri="{FF2B5EF4-FFF2-40B4-BE49-F238E27FC236}">
                  <a16:creationId xmlns:a16="http://schemas.microsoft.com/office/drawing/2014/main" id="{ECE8AF21-991C-E3F8-5437-EB557D3AAA5B}"/>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7" name="TextBox 6">
              <a:extLst>
                <a:ext uri="{FF2B5EF4-FFF2-40B4-BE49-F238E27FC236}">
                  <a16:creationId xmlns:a16="http://schemas.microsoft.com/office/drawing/2014/main" id="{A069B94C-C91D-F8DB-6CC1-5D551264B63A}"/>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dark background)</a:t>
              </a:r>
            </a:p>
            <a:p>
              <a:pPr algn="l">
                <a:buNone/>
              </a:pPr>
              <a:endParaRPr lang="en-US" sz="1200" kern="100" spc="-30"/>
            </a:p>
          </p:txBody>
        </p:sp>
        <p:pic>
          <p:nvPicPr>
            <p:cNvPr id="9" name="Picture 8" descr="A screenshot of a color chart&#10;&#10;Description automatically generated">
              <a:extLst>
                <a:ext uri="{FF2B5EF4-FFF2-40B4-BE49-F238E27FC236}">
                  <a16:creationId xmlns:a16="http://schemas.microsoft.com/office/drawing/2014/main" id="{7F913306-32C4-429B-72C6-65804978A630}"/>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0" name="Rectangle 9">
              <a:extLst>
                <a:ext uri="{FF2B5EF4-FFF2-40B4-BE49-F238E27FC236}">
                  <a16:creationId xmlns:a16="http://schemas.microsoft.com/office/drawing/2014/main" id="{AA1E696F-4643-5F4C-21F5-C20269A8CD48}"/>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0990B276-413D-2119-A061-66C74DB0F0D8}"/>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11">
              <a:extLst>
                <a:ext uri="{FF2B5EF4-FFF2-40B4-BE49-F238E27FC236}">
                  <a16:creationId xmlns:a16="http://schemas.microsoft.com/office/drawing/2014/main" id="{B7CA3C07-0290-53AC-B905-0F58AADA2B92}"/>
                </a:ext>
              </a:extLst>
            </p:cNvPr>
            <p:cNvGrpSpPr/>
            <p:nvPr userDrawn="1"/>
          </p:nvGrpSpPr>
          <p:grpSpPr>
            <a:xfrm>
              <a:off x="-2740233" y="3819615"/>
              <a:ext cx="2254459" cy="2600236"/>
              <a:chOff x="-3323173" y="3918039"/>
              <a:chExt cx="2815981" cy="3247881"/>
            </a:xfrm>
          </p:grpSpPr>
          <p:sp>
            <p:nvSpPr>
              <p:cNvPr id="17" name="Rectangle 16">
                <a:extLst>
                  <a:ext uri="{FF2B5EF4-FFF2-40B4-BE49-F238E27FC236}">
                    <a16:creationId xmlns:a16="http://schemas.microsoft.com/office/drawing/2014/main" id="{577C2400-970A-F3FC-F260-776DA809F4EF}"/>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8" name="Rectangle 17">
                <a:extLst>
                  <a:ext uri="{FF2B5EF4-FFF2-40B4-BE49-F238E27FC236}">
                    <a16:creationId xmlns:a16="http://schemas.microsoft.com/office/drawing/2014/main" id="{FDE59CCA-67EB-A23D-3D7E-181C1D704E99}"/>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9" name="Rectangle 18">
                <a:extLst>
                  <a:ext uri="{FF2B5EF4-FFF2-40B4-BE49-F238E27FC236}">
                    <a16:creationId xmlns:a16="http://schemas.microsoft.com/office/drawing/2014/main" id="{BD7AB01F-D460-F9C4-298B-ACF8EBF2CEDD}"/>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0" name="TextBox 19">
                <a:extLst>
                  <a:ext uri="{FF2B5EF4-FFF2-40B4-BE49-F238E27FC236}">
                    <a16:creationId xmlns:a16="http://schemas.microsoft.com/office/drawing/2014/main" id="{B44F0FF2-8569-2F2F-B195-042B3ADEE220}"/>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Dark Background Colors</a:t>
                </a:r>
              </a:p>
            </p:txBody>
          </p:sp>
          <p:sp>
            <p:nvSpPr>
              <p:cNvPr id="21" name="Right Brace 20">
                <a:extLst>
                  <a:ext uri="{FF2B5EF4-FFF2-40B4-BE49-F238E27FC236}">
                    <a16:creationId xmlns:a16="http://schemas.microsoft.com/office/drawing/2014/main" id="{C4E50E59-CBC3-AB6C-6138-BCB619F117EA}"/>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2" name="Rectangle 21">
                <a:extLst>
                  <a:ext uri="{FF2B5EF4-FFF2-40B4-BE49-F238E27FC236}">
                    <a16:creationId xmlns:a16="http://schemas.microsoft.com/office/drawing/2014/main" id="{9350E04F-71E8-9289-EC33-A69319B7E5B1}"/>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4" name="Picture 13">
              <a:extLst>
                <a:ext uri="{FF2B5EF4-FFF2-40B4-BE49-F238E27FC236}">
                  <a16:creationId xmlns:a16="http://schemas.microsoft.com/office/drawing/2014/main" id="{C5AFA2CE-1A91-A5D9-59D2-BAFA7CE0B3E3}"/>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632579" y="972962"/>
              <a:ext cx="1260329" cy="802028"/>
            </a:xfrm>
            <a:prstGeom prst="rect">
              <a:avLst/>
            </a:prstGeom>
            <a:ln>
              <a:solidFill>
                <a:schemeClr val="accent6"/>
              </a:solidFill>
            </a:ln>
          </p:spPr>
        </p:pic>
        <p:pic>
          <p:nvPicPr>
            <p:cNvPr id="16" name="Picture 15">
              <a:extLst>
                <a:ext uri="{FF2B5EF4-FFF2-40B4-BE49-F238E27FC236}">
                  <a16:creationId xmlns:a16="http://schemas.microsoft.com/office/drawing/2014/main" id="{2656FACE-A417-D56E-96B5-CCCAB879A580}"/>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5411" y="2002090"/>
              <a:ext cx="1265993" cy="943035"/>
            </a:xfrm>
            <a:prstGeom prst="rect">
              <a:avLst/>
            </a:prstGeom>
            <a:ln>
              <a:solidFill>
                <a:schemeClr val="accent6"/>
              </a:solidFill>
            </a:ln>
          </p:spPr>
        </p:pic>
      </p:grpSp>
      <p:sp>
        <p:nvSpPr>
          <p:cNvPr id="23" name="Text Placeholder 7">
            <a:extLst>
              <a:ext uri="{FF2B5EF4-FFF2-40B4-BE49-F238E27FC236}">
                <a16:creationId xmlns:a16="http://schemas.microsoft.com/office/drawing/2014/main" id="{7FA76655-B9CB-AA06-9BC0-32DE187AA312}"/>
              </a:ext>
            </a:extLst>
          </p:cNvPr>
          <p:cNvSpPr>
            <a:spLocks noGrp="1"/>
          </p:cNvSpPr>
          <p:nvPr>
            <p:ph type="body" sz="quarter" idx="20" hasCustomPrompt="1"/>
          </p:nvPr>
        </p:nvSpPr>
        <p:spPr>
          <a:xfrm>
            <a:off x="1100957" y="6313320"/>
            <a:ext cx="1014772" cy="298870"/>
          </a:xfrm>
          <a:prstGeom prst="rect">
            <a:avLst/>
          </a:prstGeom>
          <a:solidFill>
            <a:srgbClr val="1D2550"/>
          </a:solidFill>
        </p:spPr>
        <p:txBody>
          <a:bodyPr wrap="none" lIns="75600" tIns="75600" rIns="75600" bIns="75600" anchor="b" anchorCtr="0">
            <a:spAutoFit/>
          </a:bodyPr>
          <a:lstStyle>
            <a:lvl1pPr algn="l">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1063806404"/>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ubtitle, Content, Shape A">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4267358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 Placeholder 9">
            <a:extLst>
              <a:ext uri="{FF2B5EF4-FFF2-40B4-BE49-F238E27FC236}">
                <a16:creationId xmlns:a16="http://schemas.microsoft.com/office/drawing/2014/main" id="{6406FBAE-7F72-CD65-3E5B-02A56276773A}"/>
              </a:ext>
              <a:ext uri="{C183D7F6-B498-43B3-948B-1728B52AA6E4}">
                <adec:decorative xmlns:adec="http://schemas.microsoft.com/office/drawing/2017/decorative" val="1"/>
              </a:ext>
            </a:extLst>
          </p:cNvPr>
          <p:cNvSpPr>
            <a:spLocks noGrp="1"/>
          </p:cNvSpPr>
          <p:nvPr>
            <p:ph type="body" sz="quarter" idx="15"/>
          </p:nvPr>
        </p:nvSpPr>
        <p:spPr>
          <a:xfrm>
            <a:off x="-2" y="0"/>
            <a:ext cx="1774800" cy="6858000"/>
          </a:xfrm>
          <a:custGeom>
            <a:avLst/>
            <a:gdLst>
              <a:gd name="connsiteX0" fmla="*/ 7 w 8572495"/>
              <a:gd name="connsiteY0" fmla="*/ 0 h 6858000"/>
              <a:gd name="connsiteX1" fmla="*/ 8572495 w 8572495"/>
              <a:gd name="connsiteY1" fmla="*/ 1695829 h 6858000"/>
              <a:gd name="connsiteX2" fmla="*/ 8572495 w 8572495"/>
              <a:gd name="connsiteY2" fmla="*/ 5162172 h 6858000"/>
              <a:gd name="connsiteX3" fmla="*/ 7 w 8572495"/>
              <a:gd name="connsiteY3" fmla="*/ 6858000 h 6858000"/>
              <a:gd name="connsiteX4" fmla="*/ 0 w 8572495"/>
              <a:gd name="connsiteY4" fmla="*/ 6857999 h 6858000"/>
              <a:gd name="connsiteX5" fmla="*/ 0 w 8572495"/>
              <a:gd name="connsiteY5"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495" h="6858000">
                <a:moveTo>
                  <a:pt x="7" y="0"/>
                </a:moveTo>
                <a:lnTo>
                  <a:pt x="8572495" y="1695829"/>
                </a:lnTo>
                <a:lnTo>
                  <a:pt x="8572495" y="5162172"/>
                </a:lnTo>
                <a:lnTo>
                  <a:pt x="7" y="6858000"/>
                </a:lnTo>
                <a:lnTo>
                  <a:pt x="0" y="6857999"/>
                </a:lnTo>
                <a:lnTo>
                  <a:pt x="0" y="1"/>
                </a:lnTo>
                <a:close/>
              </a:path>
            </a:pathLst>
          </a:custGeom>
          <a:solidFill>
            <a:srgbClr val="4CD300"/>
          </a:solidFill>
        </p:spPr>
        <p:txBody>
          <a:bodyPr wrap="square">
            <a:noAutofit/>
          </a:bodyPr>
          <a:lstStyle>
            <a:lvl1pPr>
              <a:defRPr sz="100">
                <a:solidFill>
                  <a:schemeClr val="tx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b="0" i="0">
                <a:solidFill>
                  <a:schemeClr val="tx1">
                    <a:alpha val="0"/>
                  </a:schemeClr>
                </a:solidFill>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61A72731-6DFF-17BD-DFBB-0A2B1D35E52A}"/>
              </a:ext>
            </a:extLst>
          </p:cNvPr>
          <p:cNvSpPr>
            <a:spLocks noGrp="1"/>
          </p:cNvSpPr>
          <p:nvPr>
            <p:ph type="title"/>
          </p:nvPr>
        </p:nvSpPr>
        <p:spPr>
          <a:xfrm>
            <a:off x="2028000" y="324362"/>
            <a:ext cx="9642788" cy="944637"/>
          </a:xfrm>
          <a:prstGeom prst="rect">
            <a:avLst/>
          </a:prstGeom>
        </p:spPr>
        <p:txBody>
          <a:bodyPr/>
          <a:lstStyle/>
          <a:p>
            <a:r>
              <a:rPr lang="en-US"/>
              <a:t>Click to edit Master title style</a:t>
            </a:r>
          </a:p>
        </p:txBody>
      </p:sp>
      <p:sp>
        <p:nvSpPr>
          <p:cNvPr id="6" name="Subtitle 2">
            <a:extLst>
              <a:ext uri="{FF2B5EF4-FFF2-40B4-BE49-F238E27FC236}">
                <a16:creationId xmlns:a16="http://schemas.microsoft.com/office/drawing/2014/main" id="{DDE72027-296C-8ED6-9EC2-5FE3A271751C}"/>
              </a:ext>
            </a:extLst>
          </p:cNvPr>
          <p:cNvSpPr>
            <a:spLocks noGrp="1"/>
          </p:cNvSpPr>
          <p:nvPr>
            <p:ph type="body" sz="quarter" idx="18" hasCustomPrompt="1"/>
          </p:nvPr>
        </p:nvSpPr>
        <p:spPr>
          <a:xfrm>
            <a:off x="2028000" y="1270518"/>
            <a:ext cx="9642788"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9" name="Content Placeholder 2">
            <a:extLst>
              <a:ext uri="{FF2B5EF4-FFF2-40B4-BE49-F238E27FC236}">
                <a16:creationId xmlns:a16="http://schemas.microsoft.com/office/drawing/2014/main" id="{4AC169E5-16B0-10D4-5B53-5FF1BDBBC80F}"/>
              </a:ext>
            </a:extLst>
          </p:cNvPr>
          <p:cNvSpPr>
            <a:spLocks noGrp="1"/>
          </p:cNvSpPr>
          <p:nvPr>
            <p:ph idx="1"/>
          </p:nvPr>
        </p:nvSpPr>
        <p:spPr>
          <a:xfrm>
            <a:off x="2028000" y="1773000"/>
            <a:ext cx="9642788" cy="42769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0"/>
            <a:r>
              <a:rPr lang="en-US"/>
              <a:t>Sixth level</a:t>
            </a:r>
          </a:p>
          <a:p>
            <a:pPr lvl="0"/>
            <a:r>
              <a:rPr lang="en-US"/>
              <a:t>Seventh level</a:t>
            </a:r>
          </a:p>
          <a:p>
            <a:pPr lvl="0"/>
            <a:r>
              <a:rPr lang="en-US"/>
              <a:t>Eighth level</a:t>
            </a:r>
          </a:p>
          <a:p>
            <a:pPr lvl="0"/>
            <a:r>
              <a:rPr lang="en-US"/>
              <a:t>Ninth level</a:t>
            </a:r>
          </a:p>
        </p:txBody>
      </p:sp>
      <p:sp>
        <p:nvSpPr>
          <p:cNvPr id="4" name="Slide Number Placeholder 3">
            <a:extLst>
              <a:ext uri="{FF2B5EF4-FFF2-40B4-BE49-F238E27FC236}">
                <a16:creationId xmlns:a16="http://schemas.microsoft.com/office/drawing/2014/main" id="{1745F549-44DB-A914-E39B-E44FDB69F593}"/>
              </a:ext>
            </a:extLst>
          </p:cNvPr>
          <p:cNvSpPr>
            <a:spLocks noGrp="1"/>
          </p:cNvSpPr>
          <p:nvPr>
            <p:ph type="sldNum" sz="quarter" idx="17"/>
          </p:nvPr>
        </p:nvSpPr>
        <p:spPr/>
        <p:txBody>
          <a:bodyPr/>
          <a:lstStyle/>
          <a:p>
            <a:fld id="{1C1606C5-D483-4832-A0E9-CF578A9B5883}" type="slidenum">
              <a:rPr lang="en-US" smtClean="0"/>
              <a:pPr/>
              <a:t>‹#›</a:t>
            </a:fld>
            <a:endParaRPr lang="en-US"/>
          </a:p>
        </p:txBody>
      </p:sp>
      <p:sp>
        <p:nvSpPr>
          <p:cNvPr id="3" name="footnotes">
            <a:extLst>
              <a:ext uri="{FF2B5EF4-FFF2-40B4-BE49-F238E27FC236}">
                <a16:creationId xmlns:a16="http://schemas.microsoft.com/office/drawing/2014/main" id="{063CC428-26FB-E45C-56EC-86DEA433C3ED}"/>
              </a:ext>
            </a:extLst>
          </p:cNvPr>
          <p:cNvSpPr>
            <a:spLocks noGrp="1"/>
          </p:cNvSpPr>
          <p:nvPr>
            <p:ph type="body" sz="quarter" idx="14" hasCustomPrompt="1"/>
          </p:nvPr>
        </p:nvSpPr>
        <p:spPr>
          <a:xfrm>
            <a:off x="2028000" y="6049950"/>
            <a:ext cx="6064966"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2" name="Group 1">
            <a:extLst>
              <a:ext uri="{FF2B5EF4-FFF2-40B4-BE49-F238E27FC236}">
                <a16:creationId xmlns:a16="http://schemas.microsoft.com/office/drawing/2014/main" id="{AF238D74-9EE4-67E4-441B-DDA86B4F3244}"/>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8" name="Content Placeholder 15">
              <a:extLst>
                <a:ext uri="{FF2B5EF4-FFF2-40B4-BE49-F238E27FC236}">
                  <a16:creationId xmlns:a16="http://schemas.microsoft.com/office/drawing/2014/main" id="{43030411-23AE-9984-884C-38BFEBAA5D78}"/>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11" name="TextBox 10">
              <a:extLst>
                <a:ext uri="{FF2B5EF4-FFF2-40B4-BE49-F238E27FC236}">
                  <a16:creationId xmlns:a16="http://schemas.microsoft.com/office/drawing/2014/main" id="{612C9433-453C-61BC-8AFB-E1B59508CFB9}"/>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light background)</a:t>
              </a:r>
            </a:p>
            <a:p>
              <a:pPr algn="l">
                <a:buNone/>
              </a:pPr>
              <a:endParaRPr lang="en-US" sz="1200" kern="100" spc="-30"/>
            </a:p>
          </p:txBody>
        </p:sp>
        <p:pic>
          <p:nvPicPr>
            <p:cNvPr id="12" name="Picture 11" descr="A screenshot of a color chart&#10;&#10;Description automatically generated">
              <a:extLst>
                <a:ext uri="{FF2B5EF4-FFF2-40B4-BE49-F238E27FC236}">
                  <a16:creationId xmlns:a16="http://schemas.microsoft.com/office/drawing/2014/main" id="{2342C019-5361-3958-CF22-A77AAD441132}"/>
                </a:ext>
              </a:extLst>
            </p:cNvPr>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3" name="Rectangle 12">
              <a:extLst>
                <a:ext uri="{FF2B5EF4-FFF2-40B4-BE49-F238E27FC236}">
                  <a16:creationId xmlns:a16="http://schemas.microsoft.com/office/drawing/2014/main" id="{1FC51DBF-7661-DF7A-321A-B8EB68340166}"/>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BA4538D7-12D8-67F9-6544-710FECE5F3E6}"/>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a:extLst>
                <a:ext uri="{FF2B5EF4-FFF2-40B4-BE49-F238E27FC236}">
                  <a16:creationId xmlns:a16="http://schemas.microsoft.com/office/drawing/2014/main" id="{38E87D96-04C6-2391-B743-FC9A07EA5253}"/>
                </a:ext>
              </a:extLst>
            </p:cNvPr>
            <p:cNvGrpSpPr/>
            <p:nvPr userDrawn="1"/>
          </p:nvGrpSpPr>
          <p:grpSpPr>
            <a:xfrm>
              <a:off x="-2740234" y="3819615"/>
              <a:ext cx="2227594" cy="2600236"/>
              <a:chOff x="-3323174" y="3918039"/>
              <a:chExt cx="2782425" cy="3247881"/>
            </a:xfrm>
          </p:grpSpPr>
          <p:sp>
            <p:nvSpPr>
              <p:cNvPr id="18" name="Rectangle 17">
                <a:extLst>
                  <a:ext uri="{FF2B5EF4-FFF2-40B4-BE49-F238E27FC236}">
                    <a16:creationId xmlns:a16="http://schemas.microsoft.com/office/drawing/2014/main" id="{DCFC894A-DC96-48B3-884D-9A7025A9DE58}"/>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9" name="Rectangle 18">
                <a:extLst>
                  <a:ext uri="{FF2B5EF4-FFF2-40B4-BE49-F238E27FC236}">
                    <a16:creationId xmlns:a16="http://schemas.microsoft.com/office/drawing/2014/main" id="{0982A7B9-00B0-0E54-13C3-56C3FD16B927}"/>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0" name="Rectangle 19">
                <a:extLst>
                  <a:ext uri="{FF2B5EF4-FFF2-40B4-BE49-F238E27FC236}">
                    <a16:creationId xmlns:a16="http://schemas.microsoft.com/office/drawing/2014/main" id="{23DFEAF9-F1EE-F3EC-C18D-643D9B541BB3}"/>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1" name="TextBox 20">
                <a:extLst>
                  <a:ext uri="{FF2B5EF4-FFF2-40B4-BE49-F238E27FC236}">
                    <a16:creationId xmlns:a16="http://schemas.microsoft.com/office/drawing/2014/main" id="{58E9ADC3-2C22-523C-260D-EB78DB003309}"/>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Light Background Colors</a:t>
                </a:r>
              </a:p>
            </p:txBody>
          </p:sp>
          <p:sp>
            <p:nvSpPr>
              <p:cNvPr id="22" name="Right Brace 21">
                <a:extLst>
                  <a:ext uri="{FF2B5EF4-FFF2-40B4-BE49-F238E27FC236}">
                    <a16:creationId xmlns:a16="http://schemas.microsoft.com/office/drawing/2014/main" id="{BDA3DFD3-C7F3-0F73-A88D-FA118E5A2CD3}"/>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3" name="Rectangle 22">
                <a:extLst>
                  <a:ext uri="{FF2B5EF4-FFF2-40B4-BE49-F238E27FC236}">
                    <a16:creationId xmlns:a16="http://schemas.microsoft.com/office/drawing/2014/main" id="{107CE7C9-2162-ACAE-EE2B-989A6886EE50}"/>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sp>
            <p:nvSpPr>
              <p:cNvPr id="24" name="Rectangle 23">
                <a:extLst>
                  <a:ext uri="{FF2B5EF4-FFF2-40B4-BE49-F238E27FC236}">
                    <a16:creationId xmlns:a16="http://schemas.microsoft.com/office/drawing/2014/main" id="{8DF66099-B090-C17B-FCB8-9A36F9BA57B2}"/>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6" name="Picture 15">
              <a:extLst>
                <a:ext uri="{FF2B5EF4-FFF2-40B4-BE49-F238E27FC236}">
                  <a16:creationId xmlns:a16="http://schemas.microsoft.com/office/drawing/2014/main" id="{6196226E-30E8-0EDA-A8D1-86E434A8565E}"/>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2579" y="972962"/>
              <a:ext cx="1260329" cy="802028"/>
            </a:xfrm>
            <a:prstGeom prst="rect">
              <a:avLst/>
            </a:prstGeom>
            <a:ln>
              <a:solidFill>
                <a:schemeClr val="accent6"/>
              </a:solidFill>
            </a:ln>
          </p:spPr>
        </p:pic>
        <p:pic>
          <p:nvPicPr>
            <p:cNvPr id="17" name="Picture 16">
              <a:extLst>
                <a:ext uri="{FF2B5EF4-FFF2-40B4-BE49-F238E27FC236}">
                  <a16:creationId xmlns:a16="http://schemas.microsoft.com/office/drawing/2014/main" id="{B31740AC-13B0-01D9-F591-CC05F1391AEB}"/>
                </a:ext>
                <a:ext uri="{C183D7F6-B498-43B3-948B-1728B52AA6E4}">
                  <adec:decorative xmlns:adec="http://schemas.microsoft.com/office/drawing/2017/decorative" val="1"/>
                </a:ext>
              </a:extLst>
            </p:cNvPr>
            <p:cNvPicPr>
              <a:picLocks noChangeAspect="1"/>
            </p:cNvPicPr>
            <p:nvPr userDrawn="1"/>
          </p:nvPicPr>
          <p:blipFill>
            <a:blip r:embed="rId7"/>
            <a:srcRect/>
            <a:stretch/>
          </p:blipFill>
          <p:spPr>
            <a:xfrm>
              <a:off x="-1635411" y="2002090"/>
              <a:ext cx="1265993" cy="943035"/>
            </a:xfrm>
            <a:prstGeom prst="rect">
              <a:avLst/>
            </a:prstGeom>
            <a:ln>
              <a:solidFill>
                <a:schemeClr val="accent6"/>
              </a:solidFill>
            </a:ln>
          </p:spPr>
        </p:pic>
      </p:grpSp>
      <p:sp>
        <p:nvSpPr>
          <p:cNvPr id="27" name="Text Placeholder 7">
            <a:extLst>
              <a:ext uri="{FF2B5EF4-FFF2-40B4-BE49-F238E27FC236}">
                <a16:creationId xmlns:a16="http://schemas.microsoft.com/office/drawing/2014/main" id="{B92CB668-6722-3D41-9A0F-62F39BC7DECA}"/>
              </a:ext>
            </a:extLst>
          </p:cNvPr>
          <p:cNvSpPr>
            <a:spLocks noGrp="1"/>
          </p:cNvSpPr>
          <p:nvPr>
            <p:ph type="body" sz="quarter" idx="19"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921164591"/>
      </p:ext>
    </p:extLst>
  </p:cSld>
  <p:clrMapOvr>
    <a:masterClrMapping/>
  </p:clrMapOvr>
  <p:hf hdr="0" ftr="0" dt="0"/>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ubtitle, Content, Shape B">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793233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Text Placeholder 17">
            <a:extLst>
              <a:ext uri="{FF2B5EF4-FFF2-40B4-BE49-F238E27FC236}">
                <a16:creationId xmlns:a16="http://schemas.microsoft.com/office/drawing/2014/main" id="{8AF58447-5676-72C9-4F0A-75253ACE863B}"/>
              </a:ext>
              <a:ext uri="{C183D7F6-B498-43B3-948B-1728B52AA6E4}">
                <adec:decorative xmlns:adec="http://schemas.microsoft.com/office/drawing/2017/decorative" val="1"/>
              </a:ext>
            </a:extLst>
          </p:cNvPr>
          <p:cNvSpPr>
            <a:spLocks noGrp="1"/>
          </p:cNvSpPr>
          <p:nvPr>
            <p:ph type="body" sz="quarter" idx="15"/>
          </p:nvPr>
        </p:nvSpPr>
        <p:spPr>
          <a:xfrm>
            <a:off x="-2" y="0"/>
            <a:ext cx="1774800" cy="6858000"/>
          </a:xfrm>
          <a:custGeom>
            <a:avLst/>
            <a:gdLst>
              <a:gd name="connsiteX0" fmla="*/ 0 w 4914900"/>
              <a:gd name="connsiteY0" fmla="*/ 0 h 6849978"/>
              <a:gd name="connsiteX1" fmla="*/ 2053160 w 4914900"/>
              <a:gd name="connsiteY1" fmla="*/ 0 h 6849978"/>
              <a:gd name="connsiteX2" fmla="*/ 4914900 w 4914900"/>
              <a:gd name="connsiteY2" fmla="*/ 2006393 h 6849978"/>
              <a:gd name="connsiteX3" fmla="*/ 4914900 w 4914900"/>
              <a:gd name="connsiteY3" fmla="*/ 4843586 h 6849978"/>
              <a:gd name="connsiteX4" fmla="*/ 2053160 w 4914900"/>
              <a:gd name="connsiteY4" fmla="*/ 6849978 h 6849978"/>
              <a:gd name="connsiteX5" fmla="*/ 0 w 4914900"/>
              <a:gd name="connsiteY5" fmla="*/ 6849978 h 6849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14900" h="6849978">
                <a:moveTo>
                  <a:pt x="0" y="0"/>
                </a:moveTo>
                <a:lnTo>
                  <a:pt x="2053160" y="0"/>
                </a:lnTo>
                <a:lnTo>
                  <a:pt x="4914900" y="2006393"/>
                </a:lnTo>
                <a:lnTo>
                  <a:pt x="4914900" y="4843586"/>
                </a:lnTo>
                <a:lnTo>
                  <a:pt x="2053160" y="6849978"/>
                </a:lnTo>
                <a:lnTo>
                  <a:pt x="0" y="6849978"/>
                </a:lnTo>
                <a:close/>
              </a:path>
            </a:pathLst>
          </a:custGeom>
          <a:solidFill>
            <a:srgbClr val="FA69FF"/>
          </a:solidFill>
        </p:spPr>
        <p:txBody>
          <a:bodyPr wrap="square">
            <a:noAutofit/>
          </a:bodyPr>
          <a:lstStyle>
            <a:lvl1pPr>
              <a:defRPr sz="100">
                <a:solidFill>
                  <a:schemeClr val="tx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b="0" i="0">
                <a:solidFill>
                  <a:schemeClr val="tx1">
                    <a:alpha val="0"/>
                  </a:schemeClr>
                </a:solidFill>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6C7F1BE8-3375-203B-B99A-3E2730B5A9C7}"/>
              </a:ext>
            </a:extLst>
          </p:cNvPr>
          <p:cNvSpPr>
            <a:spLocks noGrp="1"/>
          </p:cNvSpPr>
          <p:nvPr>
            <p:ph type="title"/>
          </p:nvPr>
        </p:nvSpPr>
        <p:spPr>
          <a:xfrm>
            <a:off x="2028000" y="324362"/>
            <a:ext cx="9642788" cy="944637"/>
          </a:xfrm>
          <a:prstGeom prst="rect">
            <a:avLst/>
          </a:prstGeom>
        </p:spPr>
        <p:txBody>
          <a:bodyPr/>
          <a:lstStyle/>
          <a:p>
            <a:r>
              <a:rPr lang="en-US"/>
              <a:t>Click to edit Master title style</a:t>
            </a:r>
          </a:p>
        </p:txBody>
      </p:sp>
      <p:sp>
        <p:nvSpPr>
          <p:cNvPr id="8" name="Subtitle 2">
            <a:extLst>
              <a:ext uri="{FF2B5EF4-FFF2-40B4-BE49-F238E27FC236}">
                <a16:creationId xmlns:a16="http://schemas.microsoft.com/office/drawing/2014/main" id="{CAC0C239-E2DE-F6AC-C1E2-E01BE21B7AC8}"/>
              </a:ext>
            </a:extLst>
          </p:cNvPr>
          <p:cNvSpPr>
            <a:spLocks noGrp="1"/>
          </p:cNvSpPr>
          <p:nvPr>
            <p:ph type="body" sz="quarter" idx="18" hasCustomPrompt="1"/>
          </p:nvPr>
        </p:nvSpPr>
        <p:spPr>
          <a:xfrm>
            <a:off x="2028000" y="1270518"/>
            <a:ext cx="9642788"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9" name="Content Placeholder 2">
            <a:extLst>
              <a:ext uri="{FF2B5EF4-FFF2-40B4-BE49-F238E27FC236}">
                <a16:creationId xmlns:a16="http://schemas.microsoft.com/office/drawing/2014/main" id="{95B3CFD9-DEA2-1849-F0B6-F4A0E2320F51}"/>
              </a:ext>
            </a:extLst>
          </p:cNvPr>
          <p:cNvSpPr>
            <a:spLocks noGrp="1"/>
          </p:cNvSpPr>
          <p:nvPr>
            <p:ph idx="1"/>
          </p:nvPr>
        </p:nvSpPr>
        <p:spPr>
          <a:xfrm>
            <a:off x="2028000" y="1773000"/>
            <a:ext cx="9642788" cy="4276950"/>
          </a:xfrm>
          <a:prstGeom prst="rect">
            <a:avLst/>
          </a:prstGeom>
        </p:spPr>
        <p:txBody>
          <a:bodyPr/>
          <a:lstStyle>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22E2572E-A324-1F70-FF12-71DBD68665B6}"/>
              </a:ext>
            </a:extLst>
          </p:cNvPr>
          <p:cNvSpPr>
            <a:spLocks noGrp="1"/>
          </p:cNvSpPr>
          <p:nvPr>
            <p:ph type="sldNum" sz="quarter" idx="17"/>
          </p:nvPr>
        </p:nvSpPr>
        <p:spPr/>
        <p:txBody>
          <a:bodyPr/>
          <a:lstStyle/>
          <a:p>
            <a:fld id="{1C1606C5-D483-4832-A0E9-CF578A9B5883}" type="slidenum">
              <a:rPr lang="en-US" smtClean="0"/>
              <a:pPr/>
              <a:t>‹#›</a:t>
            </a:fld>
            <a:endParaRPr lang="en-US"/>
          </a:p>
        </p:txBody>
      </p:sp>
      <p:grpSp>
        <p:nvGrpSpPr>
          <p:cNvPr id="3" name="Group 2">
            <a:extLst>
              <a:ext uri="{FF2B5EF4-FFF2-40B4-BE49-F238E27FC236}">
                <a16:creationId xmlns:a16="http://schemas.microsoft.com/office/drawing/2014/main" id="{6E8F0D2D-C78A-6DF0-C328-FEE3715C25FB}"/>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7" name="Content Placeholder 15">
              <a:extLst>
                <a:ext uri="{FF2B5EF4-FFF2-40B4-BE49-F238E27FC236}">
                  <a16:creationId xmlns:a16="http://schemas.microsoft.com/office/drawing/2014/main" id="{ED053652-9B63-3DF8-CA2D-443C39E6BBA9}"/>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10" name="TextBox 9">
              <a:extLst>
                <a:ext uri="{FF2B5EF4-FFF2-40B4-BE49-F238E27FC236}">
                  <a16:creationId xmlns:a16="http://schemas.microsoft.com/office/drawing/2014/main" id="{B1120651-7518-9F69-E8EF-BF887EE3577E}"/>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light background)</a:t>
              </a:r>
            </a:p>
            <a:p>
              <a:pPr algn="l">
                <a:buNone/>
              </a:pPr>
              <a:endParaRPr lang="en-US" sz="1200" kern="100" spc="-30"/>
            </a:p>
          </p:txBody>
        </p:sp>
        <p:pic>
          <p:nvPicPr>
            <p:cNvPr id="11" name="Picture 10" descr="A screenshot of a color chart&#10;&#10;Description automatically generated">
              <a:extLst>
                <a:ext uri="{FF2B5EF4-FFF2-40B4-BE49-F238E27FC236}">
                  <a16:creationId xmlns:a16="http://schemas.microsoft.com/office/drawing/2014/main" id="{66D5305C-1048-BE4D-6983-6E278297CE58}"/>
                </a:ext>
              </a:extLst>
            </p:cNvPr>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2" name="Rectangle 11">
              <a:extLst>
                <a:ext uri="{FF2B5EF4-FFF2-40B4-BE49-F238E27FC236}">
                  <a16:creationId xmlns:a16="http://schemas.microsoft.com/office/drawing/2014/main" id="{5BAEA10E-1BCD-7A7B-99E1-9DFD1349D0B9}"/>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AFED85B-6CFE-B73E-6773-EDCD5A9DF660}"/>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 name="Group 13">
              <a:extLst>
                <a:ext uri="{FF2B5EF4-FFF2-40B4-BE49-F238E27FC236}">
                  <a16:creationId xmlns:a16="http://schemas.microsoft.com/office/drawing/2014/main" id="{6AC1B053-A625-92DA-A0E4-49CE99DDC23C}"/>
                </a:ext>
              </a:extLst>
            </p:cNvPr>
            <p:cNvGrpSpPr/>
            <p:nvPr userDrawn="1"/>
          </p:nvGrpSpPr>
          <p:grpSpPr>
            <a:xfrm>
              <a:off x="-2740234" y="3819615"/>
              <a:ext cx="2227594" cy="2600236"/>
              <a:chOff x="-3323174" y="3918039"/>
              <a:chExt cx="2782425" cy="3247881"/>
            </a:xfrm>
          </p:grpSpPr>
          <p:sp>
            <p:nvSpPr>
              <p:cNvPr id="17" name="Rectangle 16">
                <a:extLst>
                  <a:ext uri="{FF2B5EF4-FFF2-40B4-BE49-F238E27FC236}">
                    <a16:creationId xmlns:a16="http://schemas.microsoft.com/office/drawing/2014/main" id="{FE766892-C50A-903C-972F-569C3335C76E}"/>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9" name="Rectangle 18">
                <a:extLst>
                  <a:ext uri="{FF2B5EF4-FFF2-40B4-BE49-F238E27FC236}">
                    <a16:creationId xmlns:a16="http://schemas.microsoft.com/office/drawing/2014/main" id="{E450F690-3E49-894D-3CF5-4F5AE83BE6CE}"/>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0" name="Rectangle 19">
                <a:extLst>
                  <a:ext uri="{FF2B5EF4-FFF2-40B4-BE49-F238E27FC236}">
                    <a16:creationId xmlns:a16="http://schemas.microsoft.com/office/drawing/2014/main" id="{7F21BCE5-AA3A-C270-280C-4701D380AF6F}"/>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1" name="TextBox 20">
                <a:extLst>
                  <a:ext uri="{FF2B5EF4-FFF2-40B4-BE49-F238E27FC236}">
                    <a16:creationId xmlns:a16="http://schemas.microsoft.com/office/drawing/2014/main" id="{7896E23B-DFFB-5605-10D1-9286D47B28B2}"/>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Light Background Colors</a:t>
                </a:r>
              </a:p>
            </p:txBody>
          </p:sp>
          <p:sp>
            <p:nvSpPr>
              <p:cNvPr id="22" name="Right Brace 21">
                <a:extLst>
                  <a:ext uri="{FF2B5EF4-FFF2-40B4-BE49-F238E27FC236}">
                    <a16:creationId xmlns:a16="http://schemas.microsoft.com/office/drawing/2014/main" id="{21859B55-6A4C-3C1E-DFF2-969FCE3C137E}"/>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3" name="Rectangle 22">
                <a:extLst>
                  <a:ext uri="{FF2B5EF4-FFF2-40B4-BE49-F238E27FC236}">
                    <a16:creationId xmlns:a16="http://schemas.microsoft.com/office/drawing/2014/main" id="{4C60DA3D-6378-3536-F674-BD12E9647DC0}"/>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sp>
            <p:nvSpPr>
              <p:cNvPr id="24" name="Rectangle 23">
                <a:extLst>
                  <a:ext uri="{FF2B5EF4-FFF2-40B4-BE49-F238E27FC236}">
                    <a16:creationId xmlns:a16="http://schemas.microsoft.com/office/drawing/2014/main" id="{0B943309-7D11-5BE1-AD8E-B4D1898CA350}"/>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5" name="Picture 14">
              <a:extLst>
                <a:ext uri="{FF2B5EF4-FFF2-40B4-BE49-F238E27FC236}">
                  <a16:creationId xmlns:a16="http://schemas.microsoft.com/office/drawing/2014/main" id="{260EF2DA-B0C4-1F64-964C-8BEE761D60B7}"/>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2579" y="972962"/>
              <a:ext cx="1260329" cy="802028"/>
            </a:xfrm>
            <a:prstGeom prst="rect">
              <a:avLst/>
            </a:prstGeom>
            <a:ln>
              <a:solidFill>
                <a:schemeClr val="accent6"/>
              </a:solidFill>
            </a:ln>
          </p:spPr>
        </p:pic>
        <p:pic>
          <p:nvPicPr>
            <p:cNvPr id="16" name="Picture 15">
              <a:extLst>
                <a:ext uri="{FF2B5EF4-FFF2-40B4-BE49-F238E27FC236}">
                  <a16:creationId xmlns:a16="http://schemas.microsoft.com/office/drawing/2014/main" id="{22CF78E2-F500-7926-D272-D3CB94DC9B43}"/>
                </a:ext>
                <a:ext uri="{C183D7F6-B498-43B3-948B-1728B52AA6E4}">
                  <adec:decorative xmlns:adec="http://schemas.microsoft.com/office/drawing/2017/decorative" val="1"/>
                </a:ext>
              </a:extLst>
            </p:cNvPr>
            <p:cNvPicPr>
              <a:picLocks noChangeAspect="1"/>
            </p:cNvPicPr>
            <p:nvPr userDrawn="1"/>
          </p:nvPicPr>
          <p:blipFill>
            <a:blip r:embed="rId7"/>
            <a:srcRect/>
            <a:stretch/>
          </p:blipFill>
          <p:spPr>
            <a:xfrm>
              <a:off x="-1635411" y="2002090"/>
              <a:ext cx="1265993" cy="943035"/>
            </a:xfrm>
            <a:prstGeom prst="rect">
              <a:avLst/>
            </a:prstGeom>
            <a:ln>
              <a:solidFill>
                <a:schemeClr val="accent6"/>
              </a:solidFill>
            </a:ln>
          </p:spPr>
        </p:pic>
      </p:grpSp>
      <p:sp>
        <p:nvSpPr>
          <p:cNvPr id="26" name="footnotes">
            <a:extLst>
              <a:ext uri="{FF2B5EF4-FFF2-40B4-BE49-F238E27FC236}">
                <a16:creationId xmlns:a16="http://schemas.microsoft.com/office/drawing/2014/main" id="{DD7FA929-F0C3-8D91-2CF4-6E984B3C6C9B}"/>
              </a:ext>
            </a:extLst>
          </p:cNvPr>
          <p:cNvSpPr>
            <a:spLocks noGrp="1"/>
          </p:cNvSpPr>
          <p:nvPr>
            <p:ph type="body" sz="quarter" idx="14" hasCustomPrompt="1"/>
          </p:nvPr>
        </p:nvSpPr>
        <p:spPr>
          <a:xfrm>
            <a:off x="2028000" y="6049950"/>
            <a:ext cx="6064966"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28" name="Text Placeholder 7">
            <a:extLst>
              <a:ext uri="{FF2B5EF4-FFF2-40B4-BE49-F238E27FC236}">
                <a16:creationId xmlns:a16="http://schemas.microsoft.com/office/drawing/2014/main" id="{26A10C47-CBCB-B147-B523-67793249C17C}"/>
              </a:ext>
            </a:extLst>
          </p:cNvPr>
          <p:cNvSpPr>
            <a:spLocks noGrp="1"/>
          </p:cNvSpPr>
          <p:nvPr>
            <p:ph type="body" sz="quarter" idx="19"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1585854690"/>
      </p:ext>
    </p:extLst>
  </p:cSld>
  <p:clrMapOvr>
    <a:masterClrMapping/>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ubtitle, Content, Shape C">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098425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FEF5C334-70A1-E11A-1646-4264A8546230}"/>
              </a:ext>
              <a:ext uri="{C183D7F6-B498-43B3-948B-1728B52AA6E4}">
                <adec:decorative xmlns:adec="http://schemas.microsoft.com/office/drawing/2017/decorative" val="1"/>
              </a:ext>
            </a:extLst>
          </p:cNvPr>
          <p:cNvSpPr>
            <a:spLocks noGrp="1"/>
          </p:cNvSpPr>
          <p:nvPr>
            <p:ph type="body" sz="quarter" idx="15"/>
          </p:nvPr>
        </p:nvSpPr>
        <p:spPr>
          <a:xfrm>
            <a:off x="-2" y="0"/>
            <a:ext cx="1512000" cy="6858000"/>
          </a:xfrm>
          <a:custGeom>
            <a:avLst/>
            <a:gdLst>
              <a:gd name="connsiteX0" fmla="*/ 2 w 8572495"/>
              <a:gd name="connsiteY0" fmla="*/ 0 h 6858000"/>
              <a:gd name="connsiteX1" fmla="*/ 5297804 w 8572495"/>
              <a:gd name="connsiteY1" fmla="*/ 654938 h 6858000"/>
              <a:gd name="connsiteX2" fmla="*/ 8572495 w 8572495"/>
              <a:gd name="connsiteY2" fmla="*/ 2369435 h 6858000"/>
              <a:gd name="connsiteX3" fmla="*/ 8572495 w 8572495"/>
              <a:gd name="connsiteY3" fmla="*/ 4488565 h 6858000"/>
              <a:gd name="connsiteX4" fmla="*/ 5297804 w 8572495"/>
              <a:gd name="connsiteY4" fmla="*/ 6203063 h 6858000"/>
              <a:gd name="connsiteX5" fmla="*/ 2 w 8572495"/>
              <a:gd name="connsiteY5" fmla="*/ 6858000 h 6858000"/>
              <a:gd name="connsiteX6" fmla="*/ 0 w 8572495"/>
              <a:gd name="connsiteY6" fmla="*/ 6858000 h 6858000"/>
              <a:gd name="connsiteX7" fmla="*/ 0 w 8572495"/>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72495" h="6858000">
                <a:moveTo>
                  <a:pt x="2" y="0"/>
                </a:moveTo>
                <a:lnTo>
                  <a:pt x="5297804" y="654938"/>
                </a:lnTo>
                <a:lnTo>
                  <a:pt x="8572495" y="2369435"/>
                </a:lnTo>
                <a:lnTo>
                  <a:pt x="8572495" y="4488565"/>
                </a:lnTo>
                <a:lnTo>
                  <a:pt x="5297804" y="6203063"/>
                </a:lnTo>
                <a:lnTo>
                  <a:pt x="2" y="6858000"/>
                </a:lnTo>
                <a:lnTo>
                  <a:pt x="0" y="6858000"/>
                </a:lnTo>
                <a:lnTo>
                  <a:pt x="0" y="0"/>
                </a:lnTo>
                <a:close/>
              </a:path>
            </a:pathLst>
          </a:custGeom>
          <a:solidFill>
            <a:srgbClr val="63B6FF"/>
          </a:solidFill>
        </p:spPr>
        <p:txBody>
          <a:bodyPr wrap="square">
            <a:noAutofit/>
          </a:bodyPr>
          <a:lstStyle>
            <a:lvl1pPr>
              <a:defRPr sz="100">
                <a:solidFill>
                  <a:schemeClr val="tx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b="0" i="0">
                <a:solidFill>
                  <a:schemeClr val="tx1">
                    <a:alpha val="0"/>
                  </a:schemeClr>
                </a:solidFill>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B8F2A4DE-B280-99AA-AA3D-4173B8291E6D}"/>
              </a:ext>
            </a:extLst>
          </p:cNvPr>
          <p:cNvSpPr>
            <a:spLocks noGrp="1"/>
          </p:cNvSpPr>
          <p:nvPr>
            <p:ph type="title"/>
          </p:nvPr>
        </p:nvSpPr>
        <p:spPr>
          <a:xfrm>
            <a:off x="2028000" y="324362"/>
            <a:ext cx="9642788" cy="944637"/>
          </a:xfrm>
          <a:prstGeom prst="rect">
            <a:avLst/>
          </a:prstGeom>
        </p:spPr>
        <p:txBody>
          <a:bodyPr/>
          <a:lstStyle/>
          <a:p>
            <a:r>
              <a:rPr lang="en-US"/>
              <a:t>Click to edit Master title style</a:t>
            </a:r>
          </a:p>
        </p:txBody>
      </p:sp>
      <p:sp>
        <p:nvSpPr>
          <p:cNvPr id="9" name="Subtitle 2">
            <a:extLst>
              <a:ext uri="{FF2B5EF4-FFF2-40B4-BE49-F238E27FC236}">
                <a16:creationId xmlns:a16="http://schemas.microsoft.com/office/drawing/2014/main" id="{222D2BCD-CC0E-102B-3849-947E04ACDC55}"/>
              </a:ext>
            </a:extLst>
          </p:cNvPr>
          <p:cNvSpPr>
            <a:spLocks noGrp="1"/>
          </p:cNvSpPr>
          <p:nvPr>
            <p:ph type="body" sz="quarter" idx="18" hasCustomPrompt="1"/>
          </p:nvPr>
        </p:nvSpPr>
        <p:spPr>
          <a:xfrm>
            <a:off x="2028000" y="1270518"/>
            <a:ext cx="9642788"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10" name="Content Placeholder 2">
            <a:extLst>
              <a:ext uri="{FF2B5EF4-FFF2-40B4-BE49-F238E27FC236}">
                <a16:creationId xmlns:a16="http://schemas.microsoft.com/office/drawing/2014/main" id="{D4F74E42-A3B8-8CC5-9A89-852AED73CB74}"/>
              </a:ext>
            </a:extLst>
          </p:cNvPr>
          <p:cNvSpPr>
            <a:spLocks noGrp="1"/>
          </p:cNvSpPr>
          <p:nvPr>
            <p:ph idx="1"/>
          </p:nvPr>
        </p:nvSpPr>
        <p:spPr>
          <a:xfrm>
            <a:off x="2028000" y="1773000"/>
            <a:ext cx="9642788" cy="4276950"/>
          </a:xfrm>
          <a:prstGeom prst="rect">
            <a:avLst/>
          </a:prstGeom>
        </p:spPr>
        <p:txBody>
          <a:bodyPr/>
          <a:lstStyle>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a:extLst>
              <a:ext uri="{FF2B5EF4-FFF2-40B4-BE49-F238E27FC236}">
                <a16:creationId xmlns:a16="http://schemas.microsoft.com/office/drawing/2014/main" id="{8377F4BC-41CF-AD63-DF51-0FD91D0AEB76}"/>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4" name="Content Placeholder 15">
              <a:extLst>
                <a:ext uri="{FF2B5EF4-FFF2-40B4-BE49-F238E27FC236}">
                  <a16:creationId xmlns:a16="http://schemas.microsoft.com/office/drawing/2014/main" id="{32A98913-A05B-B4FC-AF03-33E2137FA564}"/>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6" name="TextBox 5">
              <a:extLst>
                <a:ext uri="{FF2B5EF4-FFF2-40B4-BE49-F238E27FC236}">
                  <a16:creationId xmlns:a16="http://schemas.microsoft.com/office/drawing/2014/main" id="{DB5ACD84-E2A1-78AF-65D4-4FB57C1087E3}"/>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light background)</a:t>
              </a:r>
            </a:p>
            <a:p>
              <a:pPr algn="l">
                <a:buNone/>
              </a:pPr>
              <a:endParaRPr lang="en-US" sz="1200" kern="100" spc="-30"/>
            </a:p>
          </p:txBody>
        </p:sp>
        <p:pic>
          <p:nvPicPr>
            <p:cNvPr id="11" name="Picture 10" descr="A screenshot of a color chart&#10;&#10;Description automatically generated">
              <a:extLst>
                <a:ext uri="{FF2B5EF4-FFF2-40B4-BE49-F238E27FC236}">
                  <a16:creationId xmlns:a16="http://schemas.microsoft.com/office/drawing/2014/main" id="{BA39B6FC-8F6A-6817-C394-ADA001D94290}"/>
                </a:ext>
              </a:extLst>
            </p:cNvPr>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2" name="Rectangle 11">
              <a:extLst>
                <a:ext uri="{FF2B5EF4-FFF2-40B4-BE49-F238E27FC236}">
                  <a16:creationId xmlns:a16="http://schemas.microsoft.com/office/drawing/2014/main" id="{421F0E92-808C-DA59-4704-FE38075E4536}"/>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E4A50C06-A830-6618-91EC-3BE4B0FADA8D}"/>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 name="Group 13">
              <a:extLst>
                <a:ext uri="{FF2B5EF4-FFF2-40B4-BE49-F238E27FC236}">
                  <a16:creationId xmlns:a16="http://schemas.microsoft.com/office/drawing/2014/main" id="{A11AEAA6-7E52-478B-D9A4-3C1CE0297BCB}"/>
                </a:ext>
              </a:extLst>
            </p:cNvPr>
            <p:cNvGrpSpPr/>
            <p:nvPr userDrawn="1"/>
          </p:nvGrpSpPr>
          <p:grpSpPr>
            <a:xfrm>
              <a:off x="-2740234" y="3819615"/>
              <a:ext cx="2227594" cy="2600236"/>
              <a:chOff x="-3323174" y="3918039"/>
              <a:chExt cx="2782425" cy="3247881"/>
            </a:xfrm>
          </p:grpSpPr>
          <p:sp>
            <p:nvSpPr>
              <p:cNvPr id="17" name="Rectangle 16">
                <a:extLst>
                  <a:ext uri="{FF2B5EF4-FFF2-40B4-BE49-F238E27FC236}">
                    <a16:creationId xmlns:a16="http://schemas.microsoft.com/office/drawing/2014/main" id="{97EFE52D-BA85-3C53-64D2-B40683C04127}"/>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8" name="Rectangle 17">
                <a:extLst>
                  <a:ext uri="{FF2B5EF4-FFF2-40B4-BE49-F238E27FC236}">
                    <a16:creationId xmlns:a16="http://schemas.microsoft.com/office/drawing/2014/main" id="{101F54F4-380C-B547-227D-066F033E4764}"/>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9" name="Rectangle 18">
                <a:extLst>
                  <a:ext uri="{FF2B5EF4-FFF2-40B4-BE49-F238E27FC236}">
                    <a16:creationId xmlns:a16="http://schemas.microsoft.com/office/drawing/2014/main" id="{A1CA6BCF-6F83-63EB-2ABF-D83B08306E19}"/>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0" name="TextBox 19">
                <a:extLst>
                  <a:ext uri="{FF2B5EF4-FFF2-40B4-BE49-F238E27FC236}">
                    <a16:creationId xmlns:a16="http://schemas.microsoft.com/office/drawing/2014/main" id="{74551940-EACF-97B8-1309-507C7363FE4F}"/>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Light Background Colors</a:t>
                </a:r>
              </a:p>
            </p:txBody>
          </p:sp>
          <p:sp>
            <p:nvSpPr>
              <p:cNvPr id="21" name="Right Brace 20">
                <a:extLst>
                  <a:ext uri="{FF2B5EF4-FFF2-40B4-BE49-F238E27FC236}">
                    <a16:creationId xmlns:a16="http://schemas.microsoft.com/office/drawing/2014/main" id="{D5547267-CC8F-6647-8D09-800461115E11}"/>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2" name="Rectangle 21">
                <a:extLst>
                  <a:ext uri="{FF2B5EF4-FFF2-40B4-BE49-F238E27FC236}">
                    <a16:creationId xmlns:a16="http://schemas.microsoft.com/office/drawing/2014/main" id="{007EE7A0-D10F-393C-F24E-0E8C237588DC}"/>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sp>
            <p:nvSpPr>
              <p:cNvPr id="23" name="Rectangle 22">
                <a:extLst>
                  <a:ext uri="{FF2B5EF4-FFF2-40B4-BE49-F238E27FC236}">
                    <a16:creationId xmlns:a16="http://schemas.microsoft.com/office/drawing/2014/main" id="{5D7E3F94-7A03-3D4E-8CDE-804ED13C70B5}"/>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5" name="Picture 14">
              <a:extLst>
                <a:ext uri="{FF2B5EF4-FFF2-40B4-BE49-F238E27FC236}">
                  <a16:creationId xmlns:a16="http://schemas.microsoft.com/office/drawing/2014/main" id="{42AC029A-91A4-9FAA-6AC2-8E56FE5C7C9C}"/>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2579" y="972962"/>
              <a:ext cx="1260329" cy="802028"/>
            </a:xfrm>
            <a:prstGeom prst="rect">
              <a:avLst/>
            </a:prstGeom>
            <a:ln>
              <a:solidFill>
                <a:schemeClr val="accent6"/>
              </a:solidFill>
            </a:ln>
          </p:spPr>
        </p:pic>
        <p:pic>
          <p:nvPicPr>
            <p:cNvPr id="16" name="Picture 15">
              <a:extLst>
                <a:ext uri="{FF2B5EF4-FFF2-40B4-BE49-F238E27FC236}">
                  <a16:creationId xmlns:a16="http://schemas.microsoft.com/office/drawing/2014/main" id="{5AE21DF1-5DB1-A1B2-7360-C37A8B6198E5}"/>
                </a:ext>
                <a:ext uri="{C183D7F6-B498-43B3-948B-1728B52AA6E4}">
                  <adec:decorative xmlns:adec="http://schemas.microsoft.com/office/drawing/2017/decorative" val="1"/>
                </a:ext>
              </a:extLst>
            </p:cNvPr>
            <p:cNvPicPr>
              <a:picLocks noChangeAspect="1"/>
            </p:cNvPicPr>
            <p:nvPr userDrawn="1"/>
          </p:nvPicPr>
          <p:blipFill>
            <a:blip r:embed="rId7"/>
            <a:srcRect/>
            <a:stretch/>
          </p:blipFill>
          <p:spPr>
            <a:xfrm>
              <a:off x="-1635411" y="2002090"/>
              <a:ext cx="1265993" cy="943035"/>
            </a:xfrm>
            <a:prstGeom prst="rect">
              <a:avLst/>
            </a:prstGeom>
            <a:ln>
              <a:solidFill>
                <a:schemeClr val="accent6"/>
              </a:solidFill>
            </a:ln>
          </p:spPr>
        </p:pic>
      </p:grpSp>
      <p:sp>
        <p:nvSpPr>
          <p:cNvPr id="25" name="footnotes">
            <a:extLst>
              <a:ext uri="{FF2B5EF4-FFF2-40B4-BE49-F238E27FC236}">
                <a16:creationId xmlns:a16="http://schemas.microsoft.com/office/drawing/2014/main" id="{A6A5DB27-06DD-2F4E-877A-E2244F941E5A}"/>
              </a:ext>
            </a:extLst>
          </p:cNvPr>
          <p:cNvSpPr>
            <a:spLocks noGrp="1"/>
          </p:cNvSpPr>
          <p:nvPr>
            <p:ph type="body" sz="quarter" idx="14" hasCustomPrompt="1"/>
          </p:nvPr>
        </p:nvSpPr>
        <p:spPr>
          <a:xfrm>
            <a:off x="2028000" y="6049950"/>
            <a:ext cx="6064966"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27" name="Text Placeholder 7">
            <a:extLst>
              <a:ext uri="{FF2B5EF4-FFF2-40B4-BE49-F238E27FC236}">
                <a16:creationId xmlns:a16="http://schemas.microsoft.com/office/drawing/2014/main" id="{9C8C7C01-B785-0848-A5D9-2A34250A05A9}"/>
              </a:ext>
            </a:extLst>
          </p:cNvPr>
          <p:cNvSpPr>
            <a:spLocks noGrp="1"/>
          </p:cNvSpPr>
          <p:nvPr>
            <p:ph type="body" sz="quarter" idx="19"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828146817"/>
      </p:ext>
    </p:extLst>
  </p:cSld>
  <p:clrMapOvr>
    <a:masterClrMapping/>
  </p:clrMapOvr>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ubtitle, Content, Shape 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926212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9C5764CC-75FF-FAA1-B2BB-9422C81FFB7B}"/>
              </a:ext>
              <a:ext uri="{C183D7F6-B498-43B3-948B-1728B52AA6E4}">
                <adec:decorative xmlns:adec="http://schemas.microsoft.com/office/drawing/2017/decorative" val="1"/>
              </a:ext>
            </a:extLst>
          </p:cNvPr>
          <p:cNvSpPr>
            <a:spLocks noGrp="1"/>
          </p:cNvSpPr>
          <p:nvPr>
            <p:ph type="body" sz="quarter" idx="15"/>
          </p:nvPr>
        </p:nvSpPr>
        <p:spPr>
          <a:xfrm>
            <a:off x="-2" y="0"/>
            <a:ext cx="1774800" cy="6858000"/>
          </a:xfrm>
          <a:custGeom>
            <a:avLst/>
            <a:gdLst>
              <a:gd name="connsiteX0" fmla="*/ 0 w 8572495"/>
              <a:gd name="connsiteY0" fmla="*/ 0 h 6858000"/>
              <a:gd name="connsiteX1" fmla="*/ 14289 w 8572495"/>
              <a:gd name="connsiteY1" fmla="*/ 0 h 6858000"/>
              <a:gd name="connsiteX2" fmla="*/ 251458 w 8572495"/>
              <a:gd name="connsiteY2" fmla="*/ 0 h 6858000"/>
              <a:gd name="connsiteX3" fmla="*/ 8572495 w 8572495"/>
              <a:gd name="connsiteY3" fmla="*/ 0 h 6858000"/>
              <a:gd name="connsiteX4" fmla="*/ 8572495 w 8572495"/>
              <a:gd name="connsiteY4" fmla="*/ 3 h 6858000"/>
              <a:gd name="connsiteX5" fmla="*/ 3721416 w 8572495"/>
              <a:gd name="connsiteY5" fmla="*/ 3429000 h 6858000"/>
              <a:gd name="connsiteX6" fmla="*/ 8572495 w 8572495"/>
              <a:gd name="connsiteY6" fmla="*/ 6857997 h 6858000"/>
              <a:gd name="connsiteX7" fmla="*/ 8572495 w 8572495"/>
              <a:gd name="connsiteY7" fmla="*/ 6858000 h 6858000"/>
              <a:gd name="connsiteX8" fmla="*/ 251458 w 8572495"/>
              <a:gd name="connsiteY8" fmla="*/ 6858000 h 6858000"/>
              <a:gd name="connsiteX9" fmla="*/ 14289 w 8572495"/>
              <a:gd name="connsiteY9" fmla="*/ 6858000 h 6858000"/>
              <a:gd name="connsiteX10" fmla="*/ 0 w 8572495"/>
              <a:gd name="connsiteY1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72495" h="6858000">
                <a:moveTo>
                  <a:pt x="0" y="0"/>
                </a:moveTo>
                <a:lnTo>
                  <a:pt x="14289" y="0"/>
                </a:lnTo>
                <a:lnTo>
                  <a:pt x="251458" y="0"/>
                </a:lnTo>
                <a:lnTo>
                  <a:pt x="8572495" y="0"/>
                </a:lnTo>
                <a:lnTo>
                  <a:pt x="8572495" y="3"/>
                </a:lnTo>
                <a:lnTo>
                  <a:pt x="3721416" y="3429000"/>
                </a:lnTo>
                <a:lnTo>
                  <a:pt x="8572495" y="6857997"/>
                </a:lnTo>
                <a:lnTo>
                  <a:pt x="8572495" y="6858000"/>
                </a:lnTo>
                <a:lnTo>
                  <a:pt x="251458" y="6858000"/>
                </a:lnTo>
                <a:lnTo>
                  <a:pt x="14289" y="6858000"/>
                </a:lnTo>
                <a:lnTo>
                  <a:pt x="0" y="6858000"/>
                </a:lnTo>
                <a:close/>
              </a:path>
            </a:pathLst>
          </a:custGeom>
          <a:solidFill>
            <a:srgbClr val="641EE0"/>
          </a:solidFill>
        </p:spPr>
        <p:txBody>
          <a:bodyPr wrap="square">
            <a:noAutofit/>
          </a:bodyPr>
          <a:lstStyle>
            <a:lvl1pPr>
              <a:defRPr sz="100">
                <a:solidFill>
                  <a:schemeClr val="tx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b="0" i="0">
                <a:solidFill>
                  <a:schemeClr val="tx1">
                    <a:alpha val="0"/>
                  </a:schemeClr>
                </a:solidFill>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92BEAD7-8FD7-6CC3-1222-951502A68821}"/>
              </a:ext>
            </a:extLst>
          </p:cNvPr>
          <p:cNvSpPr>
            <a:spLocks noGrp="1"/>
          </p:cNvSpPr>
          <p:nvPr>
            <p:ph type="title"/>
          </p:nvPr>
        </p:nvSpPr>
        <p:spPr>
          <a:xfrm>
            <a:off x="2028000" y="324362"/>
            <a:ext cx="9642788" cy="944637"/>
          </a:xfrm>
          <a:prstGeom prst="rect">
            <a:avLst/>
          </a:prstGeom>
        </p:spPr>
        <p:txBody>
          <a:bodyPr/>
          <a:lstStyle/>
          <a:p>
            <a:r>
              <a:rPr lang="en-US"/>
              <a:t>Click to edit Master title style</a:t>
            </a:r>
          </a:p>
        </p:txBody>
      </p:sp>
      <p:sp>
        <p:nvSpPr>
          <p:cNvPr id="9" name="Subtitle 2">
            <a:extLst>
              <a:ext uri="{FF2B5EF4-FFF2-40B4-BE49-F238E27FC236}">
                <a16:creationId xmlns:a16="http://schemas.microsoft.com/office/drawing/2014/main" id="{D9254EDB-F4C3-C0FD-D635-742D300A708D}"/>
              </a:ext>
            </a:extLst>
          </p:cNvPr>
          <p:cNvSpPr>
            <a:spLocks noGrp="1"/>
          </p:cNvSpPr>
          <p:nvPr>
            <p:ph type="body" sz="quarter" idx="18" hasCustomPrompt="1"/>
          </p:nvPr>
        </p:nvSpPr>
        <p:spPr>
          <a:xfrm>
            <a:off x="2028000" y="1270518"/>
            <a:ext cx="9642788"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10" name="Content Placeholder 2">
            <a:extLst>
              <a:ext uri="{FF2B5EF4-FFF2-40B4-BE49-F238E27FC236}">
                <a16:creationId xmlns:a16="http://schemas.microsoft.com/office/drawing/2014/main" id="{228FDD6A-527D-5CB6-7897-D58BFA79B409}"/>
              </a:ext>
            </a:extLst>
          </p:cNvPr>
          <p:cNvSpPr>
            <a:spLocks noGrp="1"/>
          </p:cNvSpPr>
          <p:nvPr>
            <p:ph idx="1"/>
          </p:nvPr>
        </p:nvSpPr>
        <p:spPr>
          <a:xfrm>
            <a:off x="2028000" y="1773000"/>
            <a:ext cx="9642788" cy="4276950"/>
          </a:xfrm>
          <a:prstGeom prst="rect">
            <a:avLst/>
          </a:prstGeom>
        </p:spPr>
        <p:txBody>
          <a:bodyPr/>
          <a:lstStyle>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BAC9F3E7-FF90-7E98-476C-0F575FF01549}"/>
              </a:ext>
            </a:extLst>
          </p:cNvPr>
          <p:cNvSpPr>
            <a:spLocks noGrp="1"/>
          </p:cNvSpPr>
          <p:nvPr>
            <p:ph type="sldNum" sz="quarter" idx="17"/>
          </p:nvPr>
        </p:nvSpPr>
        <p:spPr/>
        <p:txBody>
          <a:bodyPr/>
          <a:lstStyle>
            <a:lvl1pPr>
              <a:defRPr>
                <a:solidFill>
                  <a:schemeClr val="bg1"/>
                </a:solidFill>
              </a:defRPr>
            </a:lvl1pPr>
          </a:lstStyle>
          <a:p>
            <a:fld id="{1C1606C5-D483-4832-A0E9-CF578A9B5883}" type="slidenum">
              <a:rPr lang="en-US" smtClean="0"/>
              <a:pPr/>
              <a:t>‹#›</a:t>
            </a:fld>
            <a:endParaRPr lang="en-US"/>
          </a:p>
        </p:txBody>
      </p:sp>
      <p:grpSp>
        <p:nvGrpSpPr>
          <p:cNvPr id="3" name="Group 2">
            <a:extLst>
              <a:ext uri="{FF2B5EF4-FFF2-40B4-BE49-F238E27FC236}">
                <a16:creationId xmlns:a16="http://schemas.microsoft.com/office/drawing/2014/main" id="{02F0329D-B0AB-9D7A-581D-9B0DEDCE68C1}"/>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8" name="Content Placeholder 15">
              <a:extLst>
                <a:ext uri="{FF2B5EF4-FFF2-40B4-BE49-F238E27FC236}">
                  <a16:creationId xmlns:a16="http://schemas.microsoft.com/office/drawing/2014/main" id="{07537BF7-4F47-0E8F-EC37-8A23FCBD1C20}"/>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11" name="TextBox 10">
              <a:extLst>
                <a:ext uri="{FF2B5EF4-FFF2-40B4-BE49-F238E27FC236}">
                  <a16:creationId xmlns:a16="http://schemas.microsoft.com/office/drawing/2014/main" id="{5388A7FA-AAF2-0C64-78B7-BF0C8040B3D8}"/>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dark background)</a:t>
              </a:r>
            </a:p>
            <a:p>
              <a:pPr algn="l">
                <a:buNone/>
              </a:pPr>
              <a:endParaRPr lang="en-US" sz="1200" kern="100" spc="-30"/>
            </a:p>
          </p:txBody>
        </p:sp>
        <p:pic>
          <p:nvPicPr>
            <p:cNvPr id="12" name="Picture 11" descr="A screenshot of a color chart&#10;&#10;Description automatically generated">
              <a:extLst>
                <a:ext uri="{FF2B5EF4-FFF2-40B4-BE49-F238E27FC236}">
                  <a16:creationId xmlns:a16="http://schemas.microsoft.com/office/drawing/2014/main" id="{E088D5E7-6C36-9714-5B2E-9B8E24C33755}"/>
                </a:ext>
              </a:extLst>
            </p:cNvPr>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3" name="Rectangle 12">
              <a:extLst>
                <a:ext uri="{FF2B5EF4-FFF2-40B4-BE49-F238E27FC236}">
                  <a16:creationId xmlns:a16="http://schemas.microsoft.com/office/drawing/2014/main" id="{7B1ECCDD-72CB-C6A8-05A1-7DBA752063A4}"/>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A9CF8B06-86D9-8CB4-6522-0A455410683E}"/>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a:extLst>
                <a:ext uri="{FF2B5EF4-FFF2-40B4-BE49-F238E27FC236}">
                  <a16:creationId xmlns:a16="http://schemas.microsoft.com/office/drawing/2014/main" id="{85E00DC4-9D4A-19AA-804A-1B64B1CF3886}"/>
                </a:ext>
              </a:extLst>
            </p:cNvPr>
            <p:cNvGrpSpPr/>
            <p:nvPr userDrawn="1"/>
          </p:nvGrpSpPr>
          <p:grpSpPr>
            <a:xfrm>
              <a:off x="-2740233" y="3819615"/>
              <a:ext cx="2254459" cy="2600236"/>
              <a:chOff x="-3323173" y="3918039"/>
              <a:chExt cx="2815981" cy="3247881"/>
            </a:xfrm>
          </p:grpSpPr>
          <p:sp>
            <p:nvSpPr>
              <p:cNvPr id="18" name="Rectangle 17">
                <a:extLst>
                  <a:ext uri="{FF2B5EF4-FFF2-40B4-BE49-F238E27FC236}">
                    <a16:creationId xmlns:a16="http://schemas.microsoft.com/office/drawing/2014/main" id="{542E5129-D9DB-1119-6E91-F6257FAFF086}"/>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9" name="Rectangle 18">
                <a:extLst>
                  <a:ext uri="{FF2B5EF4-FFF2-40B4-BE49-F238E27FC236}">
                    <a16:creationId xmlns:a16="http://schemas.microsoft.com/office/drawing/2014/main" id="{628FEB81-280D-B85D-D5FB-BC709817D2F1}"/>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0" name="Rectangle 19">
                <a:extLst>
                  <a:ext uri="{FF2B5EF4-FFF2-40B4-BE49-F238E27FC236}">
                    <a16:creationId xmlns:a16="http://schemas.microsoft.com/office/drawing/2014/main" id="{AA55C259-2091-0FA7-08F3-C5CF2E315F4C}"/>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1" name="TextBox 20">
                <a:extLst>
                  <a:ext uri="{FF2B5EF4-FFF2-40B4-BE49-F238E27FC236}">
                    <a16:creationId xmlns:a16="http://schemas.microsoft.com/office/drawing/2014/main" id="{5CCFA7AE-D40A-DDA0-1149-97F6AB6BB734}"/>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Dark Background Colors</a:t>
                </a:r>
              </a:p>
            </p:txBody>
          </p:sp>
          <p:sp>
            <p:nvSpPr>
              <p:cNvPr id="22" name="Right Brace 21">
                <a:extLst>
                  <a:ext uri="{FF2B5EF4-FFF2-40B4-BE49-F238E27FC236}">
                    <a16:creationId xmlns:a16="http://schemas.microsoft.com/office/drawing/2014/main" id="{36F16D60-EACB-5C0F-2DDC-9D2A782A5B71}"/>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38" name="Rectangle 37">
                <a:extLst>
                  <a:ext uri="{FF2B5EF4-FFF2-40B4-BE49-F238E27FC236}">
                    <a16:creationId xmlns:a16="http://schemas.microsoft.com/office/drawing/2014/main" id="{02CBC848-7BEE-B2F3-638A-AC35899BB040}"/>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6" name="Picture 15">
              <a:extLst>
                <a:ext uri="{FF2B5EF4-FFF2-40B4-BE49-F238E27FC236}">
                  <a16:creationId xmlns:a16="http://schemas.microsoft.com/office/drawing/2014/main" id="{07A114E4-6300-F3B5-077B-89376538A3B7}"/>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2579" y="972962"/>
              <a:ext cx="1260329" cy="802028"/>
            </a:xfrm>
            <a:prstGeom prst="rect">
              <a:avLst/>
            </a:prstGeom>
            <a:ln>
              <a:solidFill>
                <a:schemeClr val="accent6"/>
              </a:solidFill>
            </a:ln>
          </p:spPr>
        </p:pic>
        <p:pic>
          <p:nvPicPr>
            <p:cNvPr id="17" name="Picture 16">
              <a:extLst>
                <a:ext uri="{FF2B5EF4-FFF2-40B4-BE49-F238E27FC236}">
                  <a16:creationId xmlns:a16="http://schemas.microsoft.com/office/drawing/2014/main" id="{5CBDB6E2-292E-CA28-5575-0FE123A8BAD9}"/>
                </a:ext>
                <a:ext uri="{C183D7F6-B498-43B3-948B-1728B52AA6E4}">
                  <adec:decorative xmlns:adec="http://schemas.microsoft.com/office/drawing/2017/decorative" val="1"/>
                </a:ext>
              </a:extLst>
            </p:cNvPr>
            <p:cNvPicPr>
              <a:picLocks noChangeAspect="1"/>
            </p:cNvPicPr>
            <p:nvPr userDrawn="1"/>
          </p:nvPicPr>
          <p:blipFill>
            <a:blip r:embed="rId7"/>
            <a:srcRect/>
            <a:stretch/>
          </p:blipFill>
          <p:spPr>
            <a:xfrm>
              <a:off x="-1635411" y="2002090"/>
              <a:ext cx="1265993" cy="943035"/>
            </a:xfrm>
            <a:prstGeom prst="rect">
              <a:avLst/>
            </a:prstGeom>
            <a:ln>
              <a:solidFill>
                <a:schemeClr val="accent6"/>
              </a:solidFill>
            </a:ln>
          </p:spPr>
        </p:pic>
      </p:grpSp>
      <p:sp>
        <p:nvSpPr>
          <p:cNvPr id="24" name="footnotes">
            <a:extLst>
              <a:ext uri="{FF2B5EF4-FFF2-40B4-BE49-F238E27FC236}">
                <a16:creationId xmlns:a16="http://schemas.microsoft.com/office/drawing/2014/main" id="{48A4F9D5-0251-C88F-BD31-7868F0D7F5BC}"/>
              </a:ext>
            </a:extLst>
          </p:cNvPr>
          <p:cNvSpPr>
            <a:spLocks noGrp="1"/>
          </p:cNvSpPr>
          <p:nvPr>
            <p:ph type="body" sz="quarter" idx="14" hasCustomPrompt="1"/>
          </p:nvPr>
        </p:nvSpPr>
        <p:spPr>
          <a:xfrm>
            <a:off x="2028000" y="6049950"/>
            <a:ext cx="6064966"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26" name="Text Placeholder 7">
            <a:extLst>
              <a:ext uri="{FF2B5EF4-FFF2-40B4-BE49-F238E27FC236}">
                <a16:creationId xmlns:a16="http://schemas.microsoft.com/office/drawing/2014/main" id="{026F8AA3-772E-FA4C-BFA6-5C7B5AAB2000}"/>
              </a:ext>
            </a:extLst>
          </p:cNvPr>
          <p:cNvSpPr>
            <a:spLocks noGrp="1"/>
          </p:cNvSpPr>
          <p:nvPr>
            <p:ph type="body" sz="quarter" idx="19"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809756998"/>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ubtitle, Content, Shape 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520017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615FBDCE-BC51-EED7-2C80-2CAEB69CC189}"/>
              </a:ext>
              <a:ext uri="{C183D7F6-B498-43B3-948B-1728B52AA6E4}">
                <adec:decorative xmlns:adec="http://schemas.microsoft.com/office/drawing/2017/decorative" val="1"/>
              </a:ext>
            </a:extLst>
          </p:cNvPr>
          <p:cNvSpPr>
            <a:spLocks noGrp="1"/>
          </p:cNvSpPr>
          <p:nvPr>
            <p:ph type="body" sz="quarter" idx="15"/>
          </p:nvPr>
        </p:nvSpPr>
        <p:spPr>
          <a:xfrm>
            <a:off x="-2" y="0"/>
            <a:ext cx="1774800" cy="6858000"/>
          </a:xfrm>
          <a:custGeom>
            <a:avLst/>
            <a:gdLst>
              <a:gd name="connsiteX0" fmla="*/ 0 w 8572495"/>
              <a:gd name="connsiteY0" fmla="*/ 0 h 6858000"/>
              <a:gd name="connsiteX1" fmla="*/ 2648907 w 8572495"/>
              <a:gd name="connsiteY1" fmla="*/ 0 h 6858000"/>
              <a:gd name="connsiteX2" fmla="*/ 6935157 w 8572495"/>
              <a:gd name="connsiteY2" fmla="*/ 1309879 h 6858000"/>
              <a:gd name="connsiteX3" fmla="*/ 8572495 w 8572495"/>
              <a:gd name="connsiteY3" fmla="*/ 3428994 h 6858000"/>
              <a:gd name="connsiteX4" fmla="*/ 8572495 w 8572495"/>
              <a:gd name="connsiteY4" fmla="*/ 3429006 h 6858000"/>
              <a:gd name="connsiteX5" fmla="*/ 6935157 w 8572495"/>
              <a:gd name="connsiteY5" fmla="*/ 5548121 h 6858000"/>
              <a:gd name="connsiteX6" fmla="*/ 2648907 w 8572495"/>
              <a:gd name="connsiteY6" fmla="*/ 6858000 h 6858000"/>
              <a:gd name="connsiteX7" fmla="*/ 0 w 8572495"/>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72495" h="6858000">
                <a:moveTo>
                  <a:pt x="0" y="0"/>
                </a:moveTo>
                <a:lnTo>
                  <a:pt x="2648907" y="0"/>
                </a:lnTo>
                <a:lnTo>
                  <a:pt x="6935157" y="1309879"/>
                </a:lnTo>
                <a:lnTo>
                  <a:pt x="8572495" y="3428994"/>
                </a:lnTo>
                <a:lnTo>
                  <a:pt x="8572495" y="3429006"/>
                </a:lnTo>
                <a:lnTo>
                  <a:pt x="6935157" y="5548121"/>
                </a:lnTo>
                <a:lnTo>
                  <a:pt x="2648907" y="6858000"/>
                </a:lnTo>
                <a:lnTo>
                  <a:pt x="0" y="6858000"/>
                </a:lnTo>
                <a:close/>
              </a:path>
            </a:pathLst>
          </a:custGeom>
          <a:solidFill>
            <a:srgbClr val="CF0000"/>
          </a:solidFill>
        </p:spPr>
        <p:txBody>
          <a:bodyPr wrap="square">
            <a:noAutofit/>
          </a:bodyPr>
          <a:lstStyle>
            <a:lvl1pPr>
              <a:defRPr sz="100">
                <a:solidFill>
                  <a:schemeClr val="tx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b="0" i="0">
                <a:solidFill>
                  <a:schemeClr val="tx1">
                    <a:alpha val="0"/>
                  </a:schemeClr>
                </a:solidFill>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760059D-1A3C-2034-6806-E9AC671FED19}"/>
              </a:ext>
            </a:extLst>
          </p:cNvPr>
          <p:cNvSpPr>
            <a:spLocks noGrp="1"/>
          </p:cNvSpPr>
          <p:nvPr>
            <p:ph type="title"/>
          </p:nvPr>
        </p:nvSpPr>
        <p:spPr>
          <a:xfrm>
            <a:off x="2028000" y="324362"/>
            <a:ext cx="9642788" cy="944637"/>
          </a:xfrm>
          <a:prstGeom prst="rect">
            <a:avLst/>
          </a:prstGeom>
        </p:spPr>
        <p:txBody>
          <a:bodyPr/>
          <a:lstStyle/>
          <a:p>
            <a:r>
              <a:rPr lang="en-US"/>
              <a:t>Click to edit Master title style</a:t>
            </a:r>
          </a:p>
        </p:txBody>
      </p:sp>
      <p:sp>
        <p:nvSpPr>
          <p:cNvPr id="6" name="Subtitle 2">
            <a:extLst>
              <a:ext uri="{FF2B5EF4-FFF2-40B4-BE49-F238E27FC236}">
                <a16:creationId xmlns:a16="http://schemas.microsoft.com/office/drawing/2014/main" id="{EE5D32DD-E99F-5158-DC8A-701D406D20B7}"/>
              </a:ext>
            </a:extLst>
          </p:cNvPr>
          <p:cNvSpPr>
            <a:spLocks noGrp="1"/>
          </p:cNvSpPr>
          <p:nvPr>
            <p:ph type="body" sz="quarter" idx="18" hasCustomPrompt="1"/>
          </p:nvPr>
        </p:nvSpPr>
        <p:spPr>
          <a:xfrm>
            <a:off x="2028000" y="1270518"/>
            <a:ext cx="9642788"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9" name="Content Placeholder 2">
            <a:extLst>
              <a:ext uri="{FF2B5EF4-FFF2-40B4-BE49-F238E27FC236}">
                <a16:creationId xmlns:a16="http://schemas.microsoft.com/office/drawing/2014/main" id="{047E4DA5-3126-9769-2951-8ED31502EF2B}"/>
              </a:ext>
            </a:extLst>
          </p:cNvPr>
          <p:cNvSpPr>
            <a:spLocks noGrp="1"/>
          </p:cNvSpPr>
          <p:nvPr>
            <p:ph idx="1"/>
          </p:nvPr>
        </p:nvSpPr>
        <p:spPr>
          <a:xfrm>
            <a:off x="2028000" y="1773000"/>
            <a:ext cx="9642788" cy="4276950"/>
          </a:xfrm>
          <a:prstGeom prst="rect">
            <a:avLst/>
          </a:prstGeom>
        </p:spPr>
        <p:txBody>
          <a:bodyPr/>
          <a:lstStyle>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B1E4AF06-46BE-A63C-B795-D43C4E8506B3}"/>
              </a:ext>
            </a:extLst>
          </p:cNvPr>
          <p:cNvSpPr>
            <a:spLocks noGrp="1"/>
          </p:cNvSpPr>
          <p:nvPr>
            <p:ph type="sldNum" sz="quarter" idx="17"/>
          </p:nvPr>
        </p:nvSpPr>
        <p:spPr/>
        <p:txBody>
          <a:bodyPr/>
          <a:lstStyle>
            <a:lvl1pPr>
              <a:defRPr>
                <a:solidFill>
                  <a:schemeClr val="bg1"/>
                </a:solidFill>
              </a:defRPr>
            </a:lvl1pPr>
          </a:lstStyle>
          <a:p>
            <a:fld id="{1C1606C5-D483-4832-A0E9-CF578A9B5883}" type="slidenum">
              <a:rPr lang="en-US" smtClean="0"/>
              <a:pPr/>
              <a:t>‹#›</a:t>
            </a:fld>
            <a:endParaRPr lang="en-US"/>
          </a:p>
        </p:txBody>
      </p:sp>
      <p:grpSp>
        <p:nvGrpSpPr>
          <p:cNvPr id="3" name="Group 2">
            <a:extLst>
              <a:ext uri="{FF2B5EF4-FFF2-40B4-BE49-F238E27FC236}">
                <a16:creationId xmlns:a16="http://schemas.microsoft.com/office/drawing/2014/main" id="{1A06165B-F847-58F2-A684-CF5D270AAF29}"/>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8" name="Content Placeholder 15">
              <a:extLst>
                <a:ext uri="{FF2B5EF4-FFF2-40B4-BE49-F238E27FC236}">
                  <a16:creationId xmlns:a16="http://schemas.microsoft.com/office/drawing/2014/main" id="{9323E5FE-7D39-22A3-6BDD-69FDA68D5A16}"/>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11" name="TextBox 10">
              <a:extLst>
                <a:ext uri="{FF2B5EF4-FFF2-40B4-BE49-F238E27FC236}">
                  <a16:creationId xmlns:a16="http://schemas.microsoft.com/office/drawing/2014/main" id="{D65EEF32-0632-FB0C-79A5-3D5954E7E959}"/>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dark background)</a:t>
              </a:r>
            </a:p>
            <a:p>
              <a:pPr algn="l">
                <a:buNone/>
              </a:pPr>
              <a:endParaRPr lang="en-US" sz="1200" kern="100" spc="-30"/>
            </a:p>
          </p:txBody>
        </p:sp>
        <p:pic>
          <p:nvPicPr>
            <p:cNvPr id="12" name="Picture 11" descr="A screenshot of a color chart&#10;&#10;Description automatically generated">
              <a:extLst>
                <a:ext uri="{FF2B5EF4-FFF2-40B4-BE49-F238E27FC236}">
                  <a16:creationId xmlns:a16="http://schemas.microsoft.com/office/drawing/2014/main" id="{2FACE921-5A41-4C17-E432-C9C81F7D4A12}"/>
                </a:ext>
              </a:extLst>
            </p:cNvPr>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3" name="Rectangle 12">
              <a:extLst>
                <a:ext uri="{FF2B5EF4-FFF2-40B4-BE49-F238E27FC236}">
                  <a16:creationId xmlns:a16="http://schemas.microsoft.com/office/drawing/2014/main" id="{557288AE-7AC3-6153-35BF-15E9D0D215D5}"/>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42674507-A2C1-30F0-D906-52039AE0ED23}"/>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a:extLst>
                <a:ext uri="{FF2B5EF4-FFF2-40B4-BE49-F238E27FC236}">
                  <a16:creationId xmlns:a16="http://schemas.microsoft.com/office/drawing/2014/main" id="{F7B6A092-7A64-D7B6-42CC-54CC9DAAF29E}"/>
                </a:ext>
              </a:extLst>
            </p:cNvPr>
            <p:cNvGrpSpPr/>
            <p:nvPr userDrawn="1"/>
          </p:nvGrpSpPr>
          <p:grpSpPr>
            <a:xfrm>
              <a:off x="-2740233" y="3819615"/>
              <a:ext cx="2254459" cy="2600236"/>
              <a:chOff x="-3323173" y="3918039"/>
              <a:chExt cx="2815981" cy="3247881"/>
            </a:xfrm>
          </p:grpSpPr>
          <p:sp>
            <p:nvSpPr>
              <p:cNvPr id="18" name="Rectangle 17">
                <a:extLst>
                  <a:ext uri="{FF2B5EF4-FFF2-40B4-BE49-F238E27FC236}">
                    <a16:creationId xmlns:a16="http://schemas.microsoft.com/office/drawing/2014/main" id="{AB8D6548-46FB-338C-AEFC-89FDB80A3C06}"/>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9" name="Rectangle 18">
                <a:extLst>
                  <a:ext uri="{FF2B5EF4-FFF2-40B4-BE49-F238E27FC236}">
                    <a16:creationId xmlns:a16="http://schemas.microsoft.com/office/drawing/2014/main" id="{3D622291-58B5-3932-DF7D-0698157167F0}"/>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0" name="Rectangle 19">
                <a:extLst>
                  <a:ext uri="{FF2B5EF4-FFF2-40B4-BE49-F238E27FC236}">
                    <a16:creationId xmlns:a16="http://schemas.microsoft.com/office/drawing/2014/main" id="{AC72DEB5-01B2-C7F4-F1DF-5572F94D9858}"/>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1" name="TextBox 20">
                <a:extLst>
                  <a:ext uri="{FF2B5EF4-FFF2-40B4-BE49-F238E27FC236}">
                    <a16:creationId xmlns:a16="http://schemas.microsoft.com/office/drawing/2014/main" id="{63F9CD27-ABCC-1B32-1FC9-0992E36E4398}"/>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Dark Background Colors</a:t>
                </a:r>
              </a:p>
            </p:txBody>
          </p:sp>
          <p:sp>
            <p:nvSpPr>
              <p:cNvPr id="22" name="Right Brace 21">
                <a:extLst>
                  <a:ext uri="{FF2B5EF4-FFF2-40B4-BE49-F238E27FC236}">
                    <a16:creationId xmlns:a16="http://schemas.microsoft.com/office/drawing/2014/main" id="{599F843A-B966-593E-4E88-2AB573694202}"/>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3" name="Rectangle 22">
                <a:extLst>
                  <a:ext uri="{FF2B5EF4-FFF2-40B4-BE49-F238E27FC236}">
                    <a16:creationId xmlns:a16="http://schemas.microsoft.com/office/drawing/2014/main" id="{BCC9C0F5-FDE2-CCA6-6DE9-782BD30C712A}"/>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6" name="Picture 15">
              <a:extLst>
                <a:ext uri="{FF2B5EF4-FFF2-40B4-BE49-F238E27FC236}">
                  <a16:creationId xmlns:a16="http://schemas.microsoft.com/office/drawing/2014/main" id="{74D6E39F-B6F3-B632-B75D-181329A80ACB}"/>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2579" y="972962"/>
              <a:ext cx="1260329" cy="802028"/>
            </a:xfrm>
            <a:prstGeom prst="rect">
              <a:avLst/>
            </a:prstGeom>
            <a:ln>
              <a:solidFill>
                <a:schemeClr val="accent6"/>
              </a:solidFill>
            </a:ln>
          </p:spPr>
        </p:pic>
        <p:pic>
          <p:nvPicPr>
            <p:cNvPr id="17" name="Picture 16">
              <a:extLst>
                <a:ext uri="{FF2B5EF4-FFF2-40B4-BE49-F238E27FC236}">
                  <a16:creationId xmlns:a16="http://schemas.microsoft.com/office/drawing/2014/main" id="{55FD3C84-7022-EA02-E2CA-B13D169EACDF}"/>
                </a:ext>
                <a:ext uri="{C183D7F6-B498-43B3-948B-1728B52AA6E4}">
                  <adec:decorative xmlns:adec="http://schemas.microsoft.com/office/drawing/2017/decorative" val="1"/>
                </a:ext>
              </a:extLst>
            </p:cNvPr>
            <p:cNvPicPr>
              <a:picLocks noChangeAspect="1"/>
            </p:cNvPicPr>
            <p:nvPr userDrawn="1"/>
          </p:nvPicPr>
          <p:blipFill>
            <a:blip r:embed="rId7"/>
            <a:srcRect/>
            <a:stretch/>
          </p:blipFill>
          <p:spPr>
            <a:xfrm>
              <a:off x="-1635411" y="2002090"/>
              <a:ext cx="1265993" cy="943035"/>
            </a:xfrm>
            <a:prstGeom prst="rect">
              <a:avLst/>
            </a:prstGeom>
            <a:ln>
              <a:solidFill>
                <a:schemeClr val="accent6"/>
              </a:solidFill>
            </a:ln>
          </p:spPr>
        </p:pic>
      </p:grpSp>
      <p:sp>
        <p:nvSpPr>
          <p:cNvPr id="26" name="footnotes">
            <a:extLst>
              <a:ext uri="{FF2B5EF4-FFF2-40B4-BE49-F238E27FC236}">
                <a16:creationId xmlns:a16="http://schemas.microsoft.com/office/drawing/2014/main" id="{E47BACD1-41FE-0945-9793-F0C7567DEAAF}"/>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28" name="Text Placeholder 7">
            <a:extLst>
              <a:ext uri="{FF2B5EF4-FFF2-40B4-BE49-F238E27FC236}">
                <a16:creationId xmlns:a16="http://schemas.microsoft.com/office/drawing/2014/main" id="{D66E73E3-1576-EF4A-905B-36893FCB8DC1}"/>
              </a:ext>
            </a:extLst>
          </p:cNvPr>
          <p:cNvSpPr>
            <a:spLocks noGrp="1"/>
          </p:cNvSpPr>
          <p:nvPr>
            <p:ph type="body" sz="quarter" idx="19"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938749086"/>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Title, Shape - Light Back A">
    <p:bg>
      <p:bgPr>
        <a:solidFill>
          <a:srgbClr val="63B6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99742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Shape">
            <a:extLst>
              <a:ext uri="{FF2B5EF4-FFF2-40B4-BE49-F238E27FC236}">
                <a16:creationId xmlns:a16="http://schemas.microsoft.com/office/drawing/2014/main" id="{C25688E7-C18E-3EDB-B197-51E41D0F80D9}"/>
              </a:ext>
              <a:ext uri="{C183D7F6-B498-43B3-948B-1728B52AA6E4}">
                <adec:decorative xmlns:adec="http://schemas.microsoft.com/office/drawing/2017/decorative" val="1"/>
              </a:ext>
            </a:extLst>
          </p:cNvPr>
          <p:cNvSpPr/>
          <p:nvPr userDrawn="1"/>
        </p:nvSpPr>
        <p:spPr>
          <a:xfrm>
            <a:off x="1891846" y="0"/>
            <a:ext cx="10300156" cy="6858000"/>
          </a:xfrm>
          <a:custGeom>
            <a:avLst/>
            <a:gdLst>
              <a:gd name="connsiteX0" fmla="*/ 0 w 12192001"/>
              <a:gd name="connsiteY0" fmla="*/ 0 h 6858000"/>
              <a:gd name="connsiteX1" fmla="*/ 12192001 w 12192001"/>
              <a:gd name="connsiteY1" fmla="*/ 0 h 6858000"/>
              <a:gd name="connsiteX2" fmla="*/ 12192001 w 12192001"/>
              <a:gd name="connsiteY2" fmla="*/ 6858000 h 6858000"/>
              <a:gd name="connsiteX3" fmla="*/ 1891846 w 12192001"/>
              <a:gd name="connsiteY3" fmla="*/ 6858000 h 6858000"/>
              <a:gd name="connsiteX4" fmla="*/ 3756000 w 12192001"/>
              <a:gd name="connsiteY4" fmla="*/ 5157138 h 6858000"/>
              <a:gd name="connsiteX5" fmla="*/ 3756000 w 12192001"/>
              <a:gd name="connsiteY5" fmla="*/ 1700864 h 6858000"/>
              <a:gd name="connsiteX6" fmla="*/ 1891845 w 12192001"/>
              <a:gd name="connsiteY6" fmla="*/ 1 h 6858000"/>
              <a:gd name="connsiteX7" fmla="*/ 0 w 12192001"/>
              <a:gd name="connsiteY7" fmla="*/ 1 h 6858000"/>
              <a:gd name="connsiteX0" fmla="*/ 0 w 12192001"/>
              <a:gd name="connsiteY0" fmla="*/ 1 h 6858000"/>
              <a:gd name="connsiteX1" fmla="*/ 12192001 w 12192001"/>
              <a:gd name="connsiteY1" fmla="*/ 0 h 6858000"/>
              <a:gd name="connsiteX2" fmla="*/ 12192001 w 12192001"/>
              <a:gd name="connsiteY2" fmla="*/ 6858000 h 6858000"/>
              <a:gd name="connsiteX3" fmla="*/ 1891846 w 12192001"/>
              <a:gd name="connsiteY3" fmla="*/ 6858000 h 6858000"/>
              <a:gd name="connsiteX4" fmla="*/ 3756000 w 12192001"/>
              <a:gd name="connsiteY4" fmla="*/ 5157138 h 6858000"/>
              <a:gd name="connsiteX5" fmla="*/ 3756000 w 12192001"/>
              <a:gd name="connsiteY5" fmla="*/ 1700864 h 6858000"/>
              <a:gd name="connsiteX6" fmla="*/ 1891845 w 12192001"/>
              <a:gd name="connsiteY6" fmla="*/ 1 h 6858000"/>
              <a:gd name="connsiteX7" fmla="*/ 0 w 12192001"/>
              <a:gd name="connsiteY7" fmla="*/ 1 h 6858000"/>
              <a:gd name="connsiteX0" fmla="*/ 0 w 10300156"/>
              <a:gd name="connsiteY0" fmla="*/ 1 h 6858000"/>
              <a:gd name="connsiteX1" fmla="*/ 10300156 w 10300156"/>
              <a:gd name="connsiteY1" fmla="*/ 0 h 6858000"/>
              <a:gd name="connsiteX2" fmla="*/ 10300156 w 10300156"/>
              <a:gd name="connsiteY2" fmla="*/ 6858000 h 6858000"/>
              <a:gd name="connsiteX3" fmla="*/ 1 w 10300156"/>
              <a:gd name="connsiteY3" fmla="*/ 6858000 h 6858000"/>
              <a:gd name="connsiteX4" fmla="*/ 1864155 w 10300156"/>
              <a:gd name="connsiteY4" fmla="*/ 5157138 h 6858000"/>
              <a:gd name="connsiteX5" fmla="*/ 1864155 w 10300156"/>
              <a:gd name="connsiteY5" fmla="*/ 1700864 h 6858000"/>
              <a:gd name="connsiteX6" fmla="*/ 0 w 10300156"/>
              <a:gd name="connsiteY6"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0156" h="6858000">
                <a:moveTo>
                  <a:pt x="0" y="1"/>
                </a:moveTo>
                <a:lnTo>
                  <a:pt x="10300156" y="0"/>
                </a:lnTo>
                <a:lnTo>
                  <a:pt x="10300156" y="6858000"/>
                </a:lnTo>
                <a:lnTo>
                  <a:pt x="1" y="6858000"/>
                </a:lnTo>
                <a:lnTo>
                  <a:pt x="1864155" y="5157138"/>
                </a:lnTo>
                <a:lnTo>
                  <a:pt x="1864155" y="1700864"/>
                </a:lnTo>
                <a:lnTo>
                  <a:pt x="0" y="1"/>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Forever Forma Body Text" pitchFamily="2" charset="0"/>
            </a:endParaRPr>
          </a:p>
        </p:txBody>
      </p:sp>
      <p:sp>
        <p:nvSpPr>
          <p:cNvPr id="6" name="Title 5">
            <a:extLst>
              <a:ext uri="{FF2B5EF4-FFF2-40B4-BE49-F238E27FC236}">
                <a16:creationId xmlns:a16="http://schemas.microsoft.com/office/drawing/2014/main" id="{6C8A07A5-791C-35DD-7587-407879A43057}"/>
              </a:ext>
            </a:extLst>
          </p:cNvPr>
          <p:cNvSpPr>
            <a:spLocks noGrp="1"/>
          </p:cNvSpPr>
          <p:nvPr>
            <p:ph type="title"/>
          </p:nvPr>
        </p:nvSpPr>
        <p:spPr>
          <a:xfrm>
            <a:off x="521208" y="1269000"/>
            <a:ext cx="2982792" cy="4320000"/>
          </a:xfrm>
          <a:prstGeom prst="rect">
            <a:avLst/>
          </a:prstGeom>
        </p:spPr>
        <p:txBody>
          <a:bodyPr anchor="ctr" anchorCtr="0"/>
          <a:lstStyle/>
          <a:p>
            <a:r>
              <a:rPr lang="en-US"/>
              <a:t>Click to edit Master title style</a:t>
            </a:r>
          </a:p>
        </p:txBody>
      </p:sp>
      <p:sp>
        <p:nvSpPr>
          <p:cNvPr id="4" name="Slide Number Placeholder 3">
            <a:extLst>
              <a:ext uri="{FF2B5EF4-FFF2-40B4-BE49-F238E27FC236}">
                <a16:creationId xmlns:a16="http://schemas.microsoft.com/office/drawing/2014/main" id="{A9F40096-D548-3E3A-1132-E6A716C6E5EB}"/>
              </a:ext>
              <a:ext uri="{C183D7F6-B498-43B3-948B-1728B52AA6E4}">
                <adec:decorative xmlns:adec="http://schemas.microsoft.com/office/drawing/2017/decorative" val="1"/>
              </a:ext>
            </a:extLst>
          </p:cNvPr>
          <p:cNvSpPr>
            <a:spLocks noGrp="1"/>
          </p:cNvSpPr>
          <p:nvPr>
            <p:ph type="sldNum" sz="quarter" idx="14"/>
          </p:nvPr>
        </p:nvSpPr>
        <p:spPr/>
        <p:txBody>
          <a:bodyPr/>
          <a:lstStyle/>
          <a:p>
            <a:fld id="{1C1606C5-D483-4832-A0E9-CF578A9B5883}" type="slidenum">
              <a:rPr lang="en-US" smtClean="0"/>
              <a:pPr/>
              <a:t>‹#›</a:t>
            </a:fld>
            <a:endParaRPr lang="en-US"/>
          </a:p>
        </p:txBody>
      </p:sp>
      <p:pic>
        <p:nvPicPr>
          <p:cNvPr id="8" name="logo sm">
            <a:extLst>
              <a:ext uri="{FF2B5EF4-FFF2-40B4-BE49-F238E27FC236}">
                <a16:creationId xmlns:a16="http://schemas.microsoft.com/office/drawing/2014/main" id="{B55411C1-39C8-A6AB-6A3D-3C033C109DC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799200" y="6053050"/>
            <a:ext cx="2138400" cy="804950"/>
          </a:xfrm>
          <a:prstGeom prst="rect">
            <a:avLst/>
          </a:prstGeom>
        </p:spPr>
      </p:pic>
      <p:sp>
        <p:nvSpPr>
          <p:cNvPr id="9" name="footnotes">
            <a:extLst>
              <a:ext uri="{FF2B5EF4-FFF2-40B4-BE49-F238E27FC236}">
                <a16:creationId xmlns:a16="http://schemas.microsoft.com/office/drawing/2014/main" id="{30AA4B65-B8FE-EE34-08AE-586F650406A6}"/>
              </a:ext>
            </a:extLst>
          </p:cNvPr>
          <p:cNvSpPr>
            <a:spLocks noGrp="1"/>
          </p:cNvSpPr>
          <p:nvPr>
            <p:ph type="body" sz="quarter" idx="17" hasCustomPrompt="1"/>
          </p:nvPr>
        </p:nvSpPr>
        <p:spPr>
          <a:xfrm>
            <a:off x="3935999" y="6049950"/>
            <a:ext cx="5863201"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2" name="Group 1">
            <a:extLst>
              <a:ext uri="{FF2B5EF4-FFF2-40B4-BE49-F238E27FC236}">
                <a16:creationId xmlns:a16="http://schemas.microsoft.com/office/drawing/2014/main" id="{6552FEF5-BAD3-EAC6-DE8F-6892FC4C30B8}"/>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3" name="Content Placeholder 15">
              <a:extLst>
                <a:ext uri="{FF2B5EF4-FFF2-40B4-BE49-F238E27FC236}">
                  <a16:creationId xmlns:a16="http://schemas.microsoft.com/office/drawing/2014/main" id="{1DB4B12E-5B1D-2D8F-5C72-A16A7C495C99}"/>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10" name="TextBox 9">
              <a:extLst>
                <a:ext uri="{FF2B5EF4-FFF2-40B4-BE49-F238E27FC236}">
                  <a16:creationId xmlns:a16="http://schemas.microsoft.com/office/drawing/2014/main" id="{45ECC637-0858-30ED-1EE9-245FB5741319}"/>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light background)</a:t>
              </a:r>
            </a:p>
            <a:p>
              <a:pPr algn="l">
                <a:buNone/>
              </a:pPr>
              <a:endParaRPr lang="en-US" sz="1200" kern="100" spc="-30"/>
            </a:p>
          </p:txBody>
        </p:sp>
        <p:pic>
          <p:nvPicPr>
            <p:cNvPr id="11" name="Picture 10" descr="A screenshot of a color chart&#10;&#10;Description automatically generated">
              <a:extLst>
                <a:ext uri="{FF2B5EF4-FFF2-40B4-BE49-F238E27FC236}">
                  <a16:creationId xmlns:a16="http://schemas.microsoft.com/office/drawing/2014/main" id="{C68E827B-3108-0F25-638E-FF2BE258E1B8}"/>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2" name="Rectangle 11">
              <a:extLst>
                <a:ext uri="{FF2B5EF4-FFF2-40B4-BE49-F238E27FC236}">
                  <a16:creationId xmlns:a16="http://schemas.microsoft.com/office/drawing/2014/main" id="{D7902E5E-736C-5564-9C1F-437474A9FD53}"/>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BC301DEE-70B3-2081-E7E3-6CF75DDF5A05}"/>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 name="Group 13">
              <a:extLst>
                <a:ext uri="{FF2B5EF4-FFF2-40B4-BE49-F238E27FC236}">
                  <a16:creationId xmlns:a16="http://schemas.microsoft.com/office/drawing/2014/main" id="{1482A707-6C42-9BFC-8F9C-1BDB0D28D98B}"/>
                </a:ext>
              </a:extLst>
            </p:cNvPr>
            <p:cNvGrpSpPr/>
            <p:nvPr userDrawn="1"/>
          </p:nvGrpSpPr>
          <p:grpSpPr>
            <a:xfrm>
              <a:off x="-2740234" y="3819615"/>
              <a:ext cx="2227594" cy="2600236"/>
              <a:chOff x="-3323174" y="3918039"/>
              <a:chExt cx="2782425" cy="3247881"/>
            </a:xfrm>
          </p:grpSpPr>
          <p:sp>
            <p:nvSpPr>
              <p:cNvPr id="17" name="Rectangle 16">
                <a:extLst>
                  <a:ext uri="{FF2B5EF4-FFF2-40B4-BE49-F238E27FC236}">
                    <a16:creationId xmlns:a16="http://schemas.microsoft.com/office/drawing/2014/main" id="{B2370744-398A-5A2C-917A-DFA552C3FD26}"/>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8" name="Rectangle 17">
                <a:extLst>
                  <a:ext uri="{FF2B5EF4-FFF2-40B4-BE49-F238E27FC236}">
                    <a16:creationId xmlns:a16="http://schemas.microsoft.com/office/drawing/2014/main" id="{7760C3BC-4CCE-834C-21DC-378D9FAC1C46}"/>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9" name="Rectangle 18">
                <a:extLst>
                  <a:ext uri="{FF2B5EF4-FFF2-40B4-BE49-F238E27FC236}">
                    <a16:creationId xmlns:a16="http://schemas.microsoft.com/office/drawing/2014/main" id="{E94F603B-5B60-6802-C123-9B618DD25A0D}"/>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0" name="TextBox 19">
                <a:extLst>
                  <a:ext uri="{FF2B5EF4-FFF2-40B4-BE49-F238E27FC236}">
                    <a16:creationId xmlns:a16="http://schemas.microsoft.com/office/drawing/2014/main" id="{DFCFD9C2-6D0C-7C9B-B209-E9909F2483AD}"/>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Light Background Colors</a:t>
                </a:r>
              </a:p>
            </p:txBody>
          </p:sp>
          <p:sp>
            <p:nvSpPr>
              <p:cNvPr id="21" name="Right Brace 20">
                <a:extLst>
                  <a:ext uri="{FF2B5EF4-FFF2-40B4-BE49-F238E27FC236}">
                    <a16:creationId xmlns:a16="http://schemas.microsoft.com/office/drawing/2014/main" id="{45DE249E-D8B9-FD4B-015D-3E9EDAEAF24B}"/>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2" name="Rectangle 21">
                <a:extLst>
                  <a:ext uri="{FF2B5EF4-FFF2-40B4-BE49-F238E27FC236}">
                    <a16:creationId xmlns:a16="http://schemas.microsoft.com/office/drawing/2014/main" id="{BDCBE6DF-6F70-42EC-3365-671765672EE5}"/>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sp>
            <p:nvSpPr>
              <p:cNvPr id="23" name="Rectangle 22">
                <a:extLst>
                  <a:ext uri="{FF2B5EF4-FFF2-40B4-BE49-F238E27FC236}">
                    <a16:creationId xmlns:a16="http://schemas.microsoft.com/office/drawing/2014/main" id="{B8B40BBE-1A7C-520D-8759-05DD45BECC75}"/>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5" name="Picture 14">
              <a:extLst>
                <a:ext uri="{FF2B5EF4-FFF2-40B4-BE49-F238E27FC236}">
                  <a16:creationId xmlns:a16="http://schemas.microsoft.com/office/drawing/2014/main" id="{BAE4F584-CB2F-0804-55FE-6061471A50FD}"/>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16" name="Picture 15">
              <a:extLst>
                <a:ext uri="{FF2B5EF4-FFF2-40B4-BE49-F238E27FC236}">
                  <a16:creationId xmlns:a16="http://schemas.microsoft.com/office/drawing/2014/main" id="{77258C0F-049B-73D1-CAC5-84EF55A33A2C}"/>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
        <p:nvSpPr>
          <p:cNvPr id="26" name="Text Placeholder 7">
            <a:extLst>
              <a:ext uri="{FF2B5EF4-FFF2-40B4-BE49-F238E27FC236}">
                <a16:creationId xmlns:a16="http://schemas.microsoft.com/office/drawing/2014/main" id="{5295C4FE-24F4-F04B-9608-B679F5972151}"/>
              </a:ext>
            </a:extLst>
          </p:cNvPr>
          <p:cNvSpPr>
            <a:spLocks noGrp="1"/>
          </p:cNvSpPr>
          <p:nvPr>
            <p:ph type="body" sz="quarter" idx="32" hasCustomPrompt="1"/>
          </p:nvPr>
        </p:nvSpPr>
        <p:spPr>
          <a:xfrm>
            <a:off x="10836865" y="246565"/>
            <a:ext cx="1014771" cy="298870"/>
          </a:xfrm>
          <a:prstGeom prst="rect">
            <a:avLst/>
          </a:prstGeom>
          <a:solidFill>
            <a:srgbClr val="1D2550"/>
          </a:solidFill>
        </p:spPr>
        <p:txBody>
          <a:bodyPr wrap="none" lIns="75600" tIns="75600" rIns="75600" bIns="75600" anchor="t"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1040454420"/>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2 Content">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F586B625-D6E1-06F8-ADC3-9A0F0B9D39BE}"/>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543400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F586B625-D6E1-06F8-ADC3-9A0F0B9D39BE}"/>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33FC5BC2-96AE-8D74-F8B4-E565DD3A7034}"/>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6" name="Subtitle 2">
            <a:extLst>
              <a:ext uri="{FF2B5EF4-FFF2-40B4-BE49-F238E27FC236}">
                <a16:creationId xmlns:a16="http://schemas.microsoft.com/office/drawing/2014/main" id="{D1608DE5-8B90-3D37-9371-2174E71A4248}"/>
              </a:ext>
            </a:extLst>
          </p:cNvPr>
          <p:cNvSpPr>
            <a:spLocks noGrp="1"/>
          </p:cNvSpPr>
          <p:nvPr>
            <p:ph type="body" sz="quarter" idx="16" hasCustomPrompt="1"/>
          </p:nvPr>
        </p:nvSpPr>
        <p:spPr>
          <a:xfrm>
            <a:off x="521208" y="1270518"/>
            <a:ext cx="11149580"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3" name="Content Placeholder 2">
            <a:extLst>
              <a:ext uri="{FF2B5EF4-FFF2-40B4-BE49-F238E27FC236}">
                <a16:creationId xmlns:a16="http://schemas.microsoft.com/office/drawing/2014/main" id="{7B97EE82-108F-E33E-FCA1-952163EFB126}"/>
              </a:ext>
            </a:extLst>
          </p:cNvPr>
          <p:cNvSpPr>
            <a:spLocks noGrp="1"/>
          </p:cNvSpPr>
          <p:nvPr>
            <p:ph sz="half" idx="1"/>
          </p:nvPr>
        </p:nvSpPr>
        <p:spPr>
          <a:xfrm>
            <a:off x="521208" y="1774800"/>
            <a:ext cx="546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Content Placeholder 3">
            <a:extLst>
              <a:ext uri="{FF2B5EF4-FFF2-40B4-BE49-F238E27FC236}">
                <a16:creationId xmlns:a16="http://schemas.microsoft.com/office/drawing/2014/main" id="{84970725-E095-1266-38E5-68F19D3A7559}"/>
              </a:ext>
            </a:extLst>
          </p:cNvPr>
          <p:cNvSpPr>
            <a:spLocks noGrp="1"/>
          </p:cNvSpPr>
          <p:nvPr>
            <p:ph sz="half" idx="2"/>
          </p:nvPr>
        </p:nvSpPr>
        <p:spPr>
          <a:xfrm>
            <a:off x="6204000" y="1774800"/>
            <a:ext cx="5436000"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8" name="Slide Number Placeholder 7">
            <a:extLst>
              <a:ext uri="{FF2B5EF4-FFF2-40B4-BE49-F238E27FC236}">
                <a16:creationId xmlns:a16="http://schemas.microsoft.com/office/drawing/2014/main" id="{CBBB5236-25E0-CA99-CC75-9488BBADFCE3}"/>
              </a:ext>
              <a:ext uri="{C183D7F6-B498-43B3-948B-1728B52AA6E4}">
                <adec:decorative xmlns:adec="http://schemas.microsoft.com/office/drawing/2017/decorative" val="1"/>
              </a:ext>
            </a:extLst>
          </p:cNvPr>
          <p:cNvSpPr>
            <a:spLocks noGrp="1"/>
          </p:cNvSpPr>
          <p:nvPr>
            <p:ph type="sldNum" sz="quarter" idx="17"/>
          </p:nvPr>
        </p:nvSpPr>
        <p:spPr/>
        <p:txBody>
          <a:bodyPr/>
          <a:lstStyle/>
          <a:p>
            <a:fld id="{1C1606C5-D483-4832-A0E9-CF578A9B5883}" type="slidenum">
              <a:rPr lang="en-US" smtClean="0"/>
              <a:pPr/>
              <a:t>‹#›</a:t>
            </a:fld>
            <a:endParaRPr lang="en-US"/>
          </a:p>
        </p:txBody>
      </p:sp>
      <p:sp>
        <p:nvSpPr>
          <p:cNvPr id="11" name="footnotes">
            <a:extLst>
              <a:ext uri="{FF2B5EF4-FFF2-40B4-BE49-F238E27FC236}">
                <a16:creationId xmlns:a16="http://schemas.microsoft.com/office/drawing/2014/main" id="{8640BD06-9760-CB4A-B1B5-0D114A2FEB06}"/>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2" name="Text Placeholder 7">
            <a:extLst>
              <a:ext uri="{FF2B5EF4-FFF2-40B4-BE49-F238E27FC236}">
                <a16:creationId xmlns:a16="http://schemas.microsoft.com/office/drawing/2014/main" id="{AC77826B-E32A-234C-868D-300972187DF5}"/>
              </a:ext>
            </a:extLst>
          </p:cNvPr>
          <p:cNvSpPr>
            <a:spLocks noGrp="1"/>
          </p:cNvSpPr>
          <p:nvPr>
            <p:ph type="body" sz="quarter" idx="19"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194807745"/>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itle, Shape - Light Back B">
    <p:bg>
      <p:bgPr>
        <a:solidFill>
          <a:srgbClr val="FA69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1046387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Shape">
            <a:extLst>
              <a:ext uri="{FF2B5EF4-FFF2-40B4-BE49-F238E27FC236}">
                <a16:creationId xmlns:a16="http://schemas.microsoft.com/office/drawing/2014/main" id="{46671BC0-703D-83FB-368F-D22C5FD489B9}"/>
              </a:ext>
              <a:ext uri="{C183D7F6-B498-43B3-948B-1728B52AA6E4}">
                <adec:decorative xmlns:adec="http://schemas.microsoft.com/office/drawing/2017/decorative" val="1"/>
              </a:ext>
            </a:extLst>
          </p:cNvPr>
          <p:cNvSpPr/>
          <p:nvPr userDrawn="1"/>
        </p:nvSpPr>
        <p:spPr>
          <a:xfrm>
            <a:off x="2055733" y="0"/>
            <a:ext cx="10136268" cy="6858000"/>
          </a:xfrm>
          <a:custGeom>
            <a:avLst/>
            <a:gdLst>
              <a:gd name="connsiteX0" fmla="*/ 0 w 10136268"/>
              <a:gd name="connsiteY0" fmla="*/ 0 h 6858000"/>
              <a:gd name="connsiteX1" fmla="*/ 10136268 w 10136268"/>
              <a:gd name="connsiteY1" fmla="*/ 0 h 6858000"/>
              <a:gd name="connsiteX2" fmla="*/ 10136268 w 10136268"/>
              <a:gd name="connsiteY2" fmla="*/ 6858000 h 6858000"/>
              <a:gd name="connsiteX3" fmla="*/ 0 w 10136268"/>
              <a:gd name="connsiteY3" fmla="*/ 6858000 h 6858000"/>
              <a:gd name="connsiteX4" fmla="*/ 1942145 w 10136268"/>
              <a:gd name="connsiteY4" fmla="*/ 3429004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36268" h="6858000">
                <a:moveTo>
                  <a:pt x="0" y="0"/>
                </a:moveTo>
                <a:lnTo>
                  <a:pt x="10136268" y="0"/>
                </a:lnTo>
                <a:lnTo>
                  <a:pt x="10136268" y="6858000"/>
                </a:lnTo>
                <a:lnTo>
                  <a:pt x="0" y="6858000"/>
                </a:lnTo>
                <a:lnTo>
                  <a:pt x="1942145" y="3429004"/>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Forever Forma Body Text" pitchFamily="2" charset="0"/>
            </a:endParaRPr>
          </a:p>
        </p:txBody>
      </p:sp>
      <p:sp>
        <p:nvSpPr>
          <p:cNvPr id="4" name="Slide Number Placeholder 3">
            <a:extLst>
              <a:ext uri="{FF2B5EF4-FFF2-40B4-BE49-F238E27FC236}">
                <a16:creationId xmlns:a16="http://schemas.microsoft.com/office/drawing/2014/main" id="{A9F40096-D548-3E3A-1132-E6A716C6E5EB}"/>
              </a:ext>
              <a:ext uri="{C183D7F6-B498-43B3-948B-1728B52AA6E4}">
                <adec:decorative xmlns:adec="http://schemas.microsoft.com/office/drawing/2017/decorative" val="1"/>
              </a:ext>
            </a:extLst>
          </p:cNvPr>
          <p:cNvSpPr>
            <a:spLocks noGrp="1"/>
          </p:cNvSpPr>
          <p:nvPr>
            <p:ph type="sldNum" sz="quarter" idx="14"/>
          </p:nvPr>
        </p:nvSpPr>
        <p:spPr/>
        <p:txBody>
          <a:bodyPr/>
          <a:lstStyle>
            <a:lvl1pPr>
              <a:defRPr>
                <a:solidFill>
                  <a:schemeClr val="tx1"/>
                </a:solidFill>
              </a:defRPr>
            </a:lvl1pPr>
          </a:lstStyle>
          <a:p>
            <a:fld id="{1C1606C5-D483-4832-A0E9-CF578A9B5883}" type="slidenum">
              <a:rPr lang="en-US" smtClean="0"/>
              <a:pPr/>
              <a:t>‹#›</a:t>
            </a:fld>
            <a:endParaRPr lang="en-US"/>
          </a:p>
        </p:txBody>
      </p:sp>
      <p:sp>
        <p:nvSpPr>
          <p:cNvPr id="6" name="Title 5">
            <a:extLst>
              <a:ext uri="{FF2B5EF4-FFF2-40B4-BE49-F238E27FC236}">
                <a16:creationId xmlns:a16="http://schemas.microsoft.com/office/drawing/2014/main" id="{B1D6F022-9FE6-4B78-376D-BEF1357BC212}"/>
              </a:ext>
            </a:extLst>
          </p:cNvPr>
          <p:cNvSpPr>
            <a:spLocks noGrp="1"/>
          </p:cNvSpPr>
          <p:nvPr>
            <p:ph type="title"/>
          </p:nvPr>
        </p:nvSpPr>
        <p:spPr>
          <a:xfrm>
            <a:off x="521208" y="1269000"/>
            <a:ext cx="2334792" cy="4320000"/>
          </a:xfrm>
          <a:prstGeom prst="rect">
            <a:avLst/>
          </a:prstGeom>
        </p:spPr>
        <p:txBody>
          <a:bodyPr anchor="ctr" anchorCtr="0"/>
          <a:lstStyle>
            <a:lvl1pPr>
              <a:defRPr>
                <a:solidFill>
                  <a:schemeClr val="tx1"/>
                </a:solidFill>
              </a:defRPr>
            </a:lvl1pPr>
          </a:lstStyle>
          <a:p>
            <a:r>
              <a:rPr lang="en-US"/>
              <a:t>Click to edit Master title style</a:t>
            </a:r>
          </a:p>
        </p:txBody>
      </p:sp>
      <p:pic>
        <p:nvPicPr>
          <p:cNvPr id="7" name="logo sm">
            <a:extLst>
              <a:ext uri="{FF2B5EF4-FFF2-40B4-BE49-F238E27FC236}">
                <a16:creationId xmlns:a16="http://schemas.microsoft.com/office/drawing/2014/main" id="{28D7AC3D-2975-E7EA-5B9D-10CBB4960CC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799200" y="6053050"/>
            <a:ext cx="2138400" cy="804950"/>
          </a:xfrm>
          <a:prstGeom prst="rect">
            <a:avLst/>
          </a:prstGeom>
        </p:spPr>
      </p:pic>
      <p:sp>
        <p:nvSpPr>
          <p:cNvPr id="9" name="footnotes">
            <a:extLst>
              <a:ext uri="{FF2B5EF4-FFF2-40B4-BE49-F238E27FC236}">
                <a16:creationId xmlns:a16="http://schemas.microsoft.com/office/drawing/2014/main" id="{5B2B67AD-5AC8-419A-0C30-56DF9D6B8391}"/>
              </a:ext>
            </a:extLst>
          </p:cNvPr>
          <p:cNvSpPr>
            <a:spLocks noGrp="1"/>
          </p:cNvSpPr>
          <p:nvPr>
            <p:ph type="body" sz="quarter" idx="17" hasCustomPrompt="1"/>
          </p:nvPr>
        </p:nvSpPr>
        <p:spPr>
          <a:xfrm>
            <a:off x="3935999" y="6049950"/>
            <a:ext cx="5863201"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2" name="Group 1">
            <a:extLst>
              <a:ext uri="{FF2B5EF4-FFF2-40B4-BE49-F238E27FC236}">
                <a16:creationId xmlns:a16="http://schemas.microsoft.com/office/drawing/2014/main" id="{40D11AE7-F5B9-C910-EAB8-CF54D347F4BC}"/>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3" name="Content Placeholder 15">
              <a:extLst>
                <a:ext uri="{FF2B5EF4-FFF2-40B4-BE49-F238E27FC236}">
                  <a16:creationId xmlns:a16="http://schemas.microsoft.com/office/drawing/2014/main" id="{6A4AC7EE-070A-D228-AD22-438457E54DB5}"/>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8" name="TextBox 7">
              <a:extLst>
                <a:ext uri="{FF2B5EF4-FFF2-40B4-BE49-F238E27FC236}">
                  <a16:creationId xmlns:a16="http://schemas.microsoft.com/office/drawing/2014/main" id="{E85F0FB4-2FB0-0344-96F5-D292740D6C68}"/>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light background)</a:t>
              </a:r>
            </a:p>
            <a:p>
              <a:pPr algn="l">
                <a:buNone/>
              </a:pPr>
              <a:endParaRPr lang="en-US" sz="1200" kern="100" spc="-30"/>
            </a:p>
          </p:txBody>
        </p:sp>
        <p:pic>
          <p:nvPicPr>
            <p:cNvPr id="11" name="Picture 10" descr="A screenshot of a color chart&#10;&#10;Description automatically generated">
              <a:extLst>
                <a:ext uri="{FF2B5EF4-FFF2-40B4-BE49-F238E27FC236}">
                  <a16:creationId xmlns:a16="http://schemas.microsoft.com/office/drawing/2014/main" id="{2DFB7B5B-161E-8300-3085-FFC21A658C3B}"/>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2" name="Rectangle 11">
              <a:extLst>
                <a:ext uri="{FF2B5EF4-FFF2-40B4-BE49-F238E27FC236}">
                  <a16:creationId xmlns:a16="http://schemas.microsoft.com/office/drawing/2014/main" id="{FFD4FA80-4181-442E-468E-02F500E513D5}"/>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7FBA5CE8-85DA-A712-329A-7AB5FABA6C7A}"/>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 name="Group 13">
              <a:extLst>
                <a:ext uri="{FF2B5EF4-FFF2-40B4-BE49-F238E27FC236}">
                  <a16:creationId xmlns:a16="http://schemas.microsoft.com/office/drawing/2014/main" id="{6E535CB5-5D90-CF4D-A39E-0258B20371BE}"/>
                </a:ext>
              </a:extLst>
            </p:cNvPr>
            <p:cNvGrpSpPr/>
            <p:nvPr userDrawn="1"/>
          </p:nvGrpSpPr>
          <p:grpSpPr>
            <a:xfrm>
              <a:off x="-2740234" y="3819615"/>
              <a:ext cx="2227594" cy="2600236"/>
              <a:chOff x="-3323174" y="3918039"/>
              <a:chExt cx="2782425" cy="3247881"/>
            </a:xfrm>
          </p:grpSpPr>
          <p:sp>
            <p:nvSpPr>
              <p:cNvPr id="17" name="Rectangle 16">
                <a:extLst>
                  <a:ext uri="{FF2B5EF4-FFF2-40B4-BE49-F238E27FC236}">
                    <a16:creationId xmlns:a16="http://schemas.microsoft.com/office/drawing/2014/main" id="{7E42163D-AAC7-0C76-3D25-20782FDA44D5}"/>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8" name="Rectangle 17">
                <a:extLst>
                  <a:ext uri="{FF2B5EF4-FFF2-40B4-BE49-F238E27FC236}">
                    <a16:creationId xmlns:a16="http://schemas.microsoft.com/office/drawing/2014/main" id="{E8B5D8A5-DAB8-B5BC-D589-515FE32C7FB9}"/>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9" name="Rectangle 18">
                <a:extLst>
                  <a:ext uri="{FF2B5EF4-FFF2-40B4-BE49-F238E27FC236}">
                    <a16:creationId xmlns:a16="http://schemas.microsoft.com/office/drawing/2014/main" id="{343404AF-D655-DF44-1CBF-DE0A07899594}"/>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0" name="TextBox 19">
                <a:extLst>
                  <a:ext uri="{FF2B5EF4-FFF2-40B4-BE49-F238E27FC236}">
                    <a16:creationId xmlns:a16="http://schemas.microsoft.com/office/drawing/2014/main" id="{6A703959-EA97-1E5B-FFFF-AF81CE4F4779}"/>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Light Background Colors</a:t>
                </a:r>
              </a:p>
            </p:txBody>
          </p:sp>
          <p:sp>
            <p:nvSpPr>
              <p:cNvPr id="21" name="Right Brace 20">
                <a:extLst>
                  <a:ext uri="{FF2B5EF4-FFF2-40B4-BE49-F238E27FC236}">
                    <a16:creationId xmlns:a16="http://schemas.microsoft.com/office/drawing/2014/main" id="{6BDDB110-2051-9A06-75AA-904122C6ECF6}"/>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2" name="Rectangle 21">
                <a:extLst>
                  <a:ext uri="{FF2B5EF4-FFF2-40B4-BE49-F238E27FC236}">
                    <a16:creationId xmlns:a16="http://schemas.microsoft.com/office/drawing/2014/main" id="{13305A82-E2D2-5908-A102-6AA0409F5CE9}"/>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sp>
            <p:nvSpPr>
              <p:cNvPr id="23" name="Rectangle 22">
                <a:extLst>
                  <a:ext uri="{FF2B5EF4-FFF2-40B4-BE49-F238E27FC236}">
                    <a16:creationId xmlns:a16="http://schemas.microsoft.com/office/drawing/2014/main" id="{9963384B-5521-DC66-478B-A06DD7455007}"/>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5" name="Picture 14">
              <a:extLst>
                <a:ext uri="{FF2B5EF4-FFF2-40B4-BE49-F238E27FC236}">
                  <a16:creationId xmlns:a16="http://schemas.microsoft.com/office/drawing/2014/main" id="{9D4D67F0-CF0F-CFE8-610B-4A1A26837B00}"/>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16" name="Picture 15">
              <a:extLst>
                <a:ext uri="{FF2B5EF4-FFF2-40B4-BE49-F238E27FC236}">
                  <a16:creationId xmlns:a16="http://schemas.microsoft.com/office/drawing/2014/main" id="{044D991A-B070-955E-D235-B05BCE72332E}"/>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
        <p:nvSpPr>
          <p:cNvPr id="25" name="Text Placeholder 7">
            <a:extLst>
              <a:ext uri="{FF2B5EF4-FFF2-40B4-BE49-F238E27FC236}">
                <a16:creationId xmlns:a16="http://schemas.microsoft.com/office/drawing/2014/main" id="{8C47F35C-9415-0048-A3F6-CF42C6BB8EE6}"/>
              </a:ext>
            </a:extLst>
          </p:cNvPr>
          <p:cNvSpPr>
            <a:spLocks noGrp="1"/>
          </p:cNvSpPr>
          <p:nvPr>
            <p:ph type="body" sz="quarter" idx="32" hasCustomPrompt="1"/>
          </p:nvPr>
        </p:nvSpPr>
        <p:spPr>
          <a:xfrm>
            <a:off x="10836865" y="246565"/>
            <a:ext cx="1014771" cy="298870"/>
          </a:xfrm>
          <a:prstGeom prst="rect">
            <a:avLst/>
          </a:prstGeom>
          <a:solidFill>
            <a:srgbClr val="1D2550"/>
          </a:solidFill>
        </p:spPr>
        <p:txBody>
          <a:bodyPr wrap="none" lIns="75600" tIns="75600" rIns="75600" bIns="75600" anchor="t"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001340011"/>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Title, Shape - Dark Back A">
    <p:bg>
      <p:bgPr>
        <a:solidFill>
          <a:srgbClr val="5E3930"/>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99742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Shape">
            <a:extLst>
              <a:ext uri="{FF2B5EF4-FFF2-40B4-BE49-F238E27FC236}">
                <a16:creationId xmlns:a16="http://schemas.microsoft.com/office/drawing/2014/main" id="{C25688E7-C18E-3EDB-B197-51E41D0F80D9}"/>
              </a:ext>
              <a:ext uri="{C183D7F6-B498-43B3-948B-1728B52AA6E4}">
                <adec:decorative xmlns:adec="http://schemas.microsoft.com/office/drawing/2017/decorative" val="1"/>
              </a:ext>
            </a:extLst>
          </p:cNvPr>
          <p:cNvSpPr/>
          <p:nvPr userDrawn="1"/>
        </p:nvSpPr>
        <p:spPr>
          <a:xfrm>
            <a:off x="1891844" y="0"/>
            <a:ext cx="10300156" cy="6858000"/>
          </a:xfrm>
          <a:custGeom>
            <a:avLst/>
            <a:gdLst>
              <a:gd name="connsiteX0" fmla="*/ 0 w 12192001"/>
              <a:gd name="connsiteY0" fmla="*/ 0 h 6858000"/>
              <a:gd name="connsiteX1" fmla="*/ 12192001 w 12192001"/>
              <a:gd name="connsiteY1" fmla="*/ 0 h 6858000"/>
              <a:gd name="connsiteX2" fmla="*/ 12192001 w 12192001"/>
              <a:gd name="connsiteY2" fmla="*/ 6858000 h 6858000"/>
              <a:gd name="connsiteX3" fmla="*/ 1891846 w 12192001"/>
              <a:gd name="connsiteY3" fmla="*/ 6858000 h 6858000"/>
              <a:gd name="connsiteX4" fmla="*/ 3756000 w 12192001"/>
              <a:gd name="connsiteY4" fmla="*/ 5157138 h 6858000"/>
              <a:gd name="connsiteX5" fmla="*/ 3756000 w 12192001"/>
              <a:gd name="connsiteY5" fmla="*/ 1700864 h 6858000"/>
              <a:gd name="connsiteX6" fmla="*/ 1891845 w 12192001"/>
              <a:gd name="connsiteY6" fmla="*/ 1 h 6858000"/>
              <a:gd name="connsiteX7" fmla="*/ 0 w 12192001"/>
              <a:gd name="connsiteY7" fmla="*/ 1 h 6858000"/>
              <a:gd name="connsiteX0" fmla="*/ 0 w 12192001"/>
              <a:gd name="connsiteY0" fmla="*/ 1 h 6858000"/>
              <a:gd name="connsiteX1" fmla="*/ 12192001 w 12192001"/>
              <a:gd name="connsiteY1" fmla="*/ 0 h 6858000"/>
              <a:gd name="connsiteX2" fmla="*/ 12192001 w 12192001"/>
              <a:gd name="connsiteY2" fmla="*/ 6858000 h 6858000"/>
              <a:gd name="connsiteX3" fmla="*/ 1891846 w 12192001"/>
              <a:gd name="connsiteY3" fmla="*/ 6858000 h 6858000"/>
              <a:gd name="connsiteX4" fmla="*/ 3756000 w 12192001"/>
              <a:gd name="connsiteY4" fmla="*/ 5157138 h 6858000"/>
              <a:gd name="connsiteX5" fmla="*/ 3756000 w 12192001"/>
              <a:gd name="connsiteY5" fmla="*/ 1700864 h 6858000"/>
              <a:gd name="connsiteX6" fmla="*/ 1891845 w 12192001"/>
              <a:gd name="connsiteY6" fmla="*/ 1 h 6858000"/>
              <a:gd name="connsiteX7" fmla="*/ 0 w 12192001"/>
              <a:gd name="connsiteY7" fmla="*/ 1 h 6858000"/>
              <a:gd name="connsiteX0" fmla="*/ 0 w 10300156"/>
              <a:gd name="connsiteY0" fmla="*/ 1 h 6858000"/>
              <a:gd name="connsiteX1" fmla="*/ 10300156 w 10300156"/>
              <a:gd name="connsiteY1" fmla="*/ 0 h 6858000"/>
              <a:gd name="connsiteX2" fmla="*/ 10300156 w 10300156"/>
              <a:gd name="connsiteY2" fmla="*/ 6858000 h 6858000"/>
              <a:gd name="connsiteX3" fmla="*/ 1 w 10300156"/>
              <a:gd name="connsiteY3" fmla="*/ 6858000 h 6858000"/>
              <a:gd name="connsiteX4" fmla="*/ 1864155 w 10300156"/>
              <a:gd name="connsiteY4" fmla="*/ 5157138 h 6858000"/>
              <a:gd name="connsiteX5" fmla="*/ 1864155 w 10300156"/>
              <a:gd name="connsiteY5" fmla="*/ 1700864 h 6858000"/>
              <a:gd name="connsiteX6" fmla="*/ 0 w 10300156"/>
              <a:gd name="connsiteY6"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0156" h="6858000">
                <a:moveTo>
                  <a:pt x="0" y="1"/>
                </a:moveTo>
                <a:lnTo>
                  <a:pt x="10300156" y="0"/>
                </a:lnTo>
                <a:lnTo>
                  <a:pt x="10300156" y="6858000"/>
                </a:lnTo>
                <a:lnTo>
                  <a:pt x="1" y="6858000"/>
                </a:lnTo>
                <a:lnTo>
                  <a:pt x="1864155" y="5157138"/>
                </a:lnTo>
                <a:lnTo>
                  <a:pt x="1864155" y="1700864"/>
                </a:lnTo>
                <a:lnTo>
                  <a:pt x="0" y="1"/>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Forever Forma Body Text" pitchFamily="2" charset="0"/>
            </a:endParaRPr>
          </a:p>
        </p:txBody>
      </p:sp>
      <p:sp>
        <p:nvSpPr>
          <p:cNvPr id="6" name="Title 5">
            <a:extLst>
              <a:ext uri="{FF2B5EF4-FFF2-40B4-BE49-F238E27FC236}">
                <a16:creationId xmlns:a16="http://schemas.microsoft.com/office/drawing/2014/main" id="{6C8A07A5-791C-35DD-7587-407879A43057}"/>
              </a:ext>
            </a:extLst>
          </p:cNvPr>
          <p:cNvSpPr>
            <a:spLocks noGrp="1"/>
          </p:cNvSpPr>
          <p:nvPr>
            <p:ph type="title"/>
          </p:nvPr>
        </p:nvSpPr>
        <p:spPr>
          <a:xfrm>
            <a:off x="521208" y="1269000"/>
            <a:ext cx="2982792" cy="4320000"/>
          </a:xfrm>
          <a:prstGeom prst="rect">
            <a:avLst/>
          </a:prstGeom>
        </p:spPr>
        <p:txBody>
          <a:bodyPr anchor="ctr" anchorCtr="0"/>
          <a:lstStyle>
            <a:lvl1pPr>
              <a:defRPr>
                <a:solidFill>
                  <a:schemeClr val="bg1"/>
                </a:solidFill>
              </a:defRPr>
            </a:lvl1pPr>
          </a:lstStyle>
          <a:p>
            <a:r>
              <a:rPr lang="en-US"/>
              <a:t>Click to edit Master title style</a:t>
            </a:r>
          </a:p>
        </p:txBody>
      </p:sp>
      <p:sp>
        <p:nvSpPr>
          <p:cNvPr id="4" name="Slide Number Placeholder 3">
            <a:extLst>
              <a:ext uri="{FF2B5EF4-FFF2-40B4-BE49-F238E27FC236}">
                <a16:creationId xmlns:a16="http://schemas.microsoft.com/office/drawing/2014/main" id="{A9F40096-D548-3E3A-1132-E6A716C6E5EB}"/>
              </a:ext>
              <a:ext uri="{C183D7F6-B498-43B3-948B-1728B52AA6E4}">
                <adec:decorative xmlns:adec="http://schemas.microsoft.com/office/drawing/2017/decorative" val="1"/>
              </a:ext>
            </a:extLst>
          </p:cNvPr>
          <p:cNvSpPr>
            <a:spLocks noGrp="1"/>
          </p:cNvSpPr>
          <p:nvPr>
            <p:ph type="sldNum" sz="quarter" idx="14"/>
          </p:nvPr>
        </p:nvSpPr>
        <p:spPr/>
        <p:txBody>
          <a:bodyPr/>
          <a:lstStyle>
            <a:lvl1pPr>
              <a:defRPr>
                <a:solidFill>
                  <a:schemeClr val="bg1"/>
                </a:solidFill>
              </a:defRPr>
            </a:lvl1pPr>
          </a:lstStyle>
          <a:p>
            <a:fld id="{1C1606C5-D483-4832-A0E9-CF578A9B5883}" type="slidenum">
              <a:rPr lang="en-US" smtClean="0"/>
              <a:pPr/>
              <a:t>‹#›</a:t>
            </a:fld>
            <a:endParaRPr lang="en-US"/>
          </a:p>
        </p:txBody>
      </p:sp>
      <p:pic>
        <p:nvPicPr>
          <p:cNvPr id="8" name="logo sm">
            <a:extLst>
              <a:ext uri="{FF2B5EF4-FFF2-40B4-BE49-F238E27FC236}">
                <a16:creationId xmlns:a16="http://schemas.microsoft.com/office/drawing/2014/main" id="{B55411C1-39C8-A6AB-6A3D-3C033C109DC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799200" y="6053050"/>
            <a:ext cx="2138400" cy="804950"/>
          </a:xfrm>
          <a:prstGeom prst="rect">
            <a:avLst/>
          </a:prstGeom>
        </p:spPr>
      </p:pic>
      <p:sp>
        <p:nvSpPr>
          <p:cNvPr id="9" name="footnotes">
            <a:extLst>
              <a:ext uri="{FF2B5EF4-FFF2-40B4-BE49-F238E27FC236}">
                <a16:creationId xmlns:a16="http://schemas.microsoft.com/office/drawing/2014/main" id="{30AA4B65-B8FE-EE34-08AE-586F650406A6}"/>
              </a:ext>
            </a:extLst>
          </p:cNvPr>
          <p:cNvSpPr>
            <a:spLocks noGrp="1"/>
          </p:cNvSpPr>
          <p:nvPr>
            <p:ph type="body" sz="quarter" idx="17" hasCustomPrompt="1"/>
          </p:nvPr>
        </p:nvSpPr>
        <p:spPr>
          <a:xfrm>
            <a:off x="3935999" y="6049950"/>
            <a:ext cx="5863201"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2" name="Group 1">
            <a:extLst>
              <a:ext uri="{FF2B5EF4-FFF2-40B4-BE49-F238E27FC236}">
                <a16:creationId xmlns:a16="http://schemas.microsoft.com/office/drawing/2014/main" id="{B6BEACD1-A837-8342-7099-F02C7CFEC33B}"/>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3" name="Content Placeholder 15">
              <a:extLst>
                <a:ext uri="{FF2B5EF4-FFF2-40B4-BE49-F238E27FC236}">
                  <a16:creationId xmlns:a16="http://schemas.microsoft.com/office/drawing/2014/main" id="{E374E5CE-0FB9-5441-0B5D-8917097DA4DC}"/>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10" name="TextBox 9">
              <a:extLst>
                <a:ext uri="{FF2B5EF4-FFF2-40B4-BE49-F238E27FC236}">
                  <a16:creationId xmlns:a16="http://schemas.microsoft.com/office/drawing/2014/main" id="{1BD47681-F9D0-AB93-8A8C-DFDF6C8180AF}"/>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dark background)</a:t>
              </a:r>
            </a:p>
            <a:p>
              <a:pPr algn="l">
                <a:buNone/>
              </a:pPr>
              <a:endParaRPr lang="en-US" sz="1200" kern="100" spc="-30"/>
            </a:p>
          </p:txBody>
        </p:sp>
        <p:pic>
          <p:nvPicPr>
            <p:cNvPr id="11" name="Picture 10" descr="A screenshot of a color chart&#10;&#10;Description automatically generated">
              <a:extLst>
                <a:ext uri="{FF2B5EF4-FFF2-40B4-BE49-F238E27FC236}">
                  <a16:creationId xmlns:a16="http://schemas.microsoft.com/office/drawing/2014/main" id="{DC01529A-C516-901E-1DB9-E1D9ADC15BBF}"/>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2" name="Rectangle 11">
              <a:extLst>
                <a:ext uri="{FF2B5EF4-FFF2-40B4-BE49-F238E27FC236}">
                  <a16:creationId xmlns:a16="http://schemas.microsoft.com/office/drawing/2014/main" id="{45131C33-8A90-5B77-9E13-E394D558E33C}"/>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7270DF0-07D1-865D-1D46-13363AF6E0C5}"/>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 name="Group 13">
              <a:extLst>
                <a:ext uri="{FF2B5EF4-FFF2-40B4-BE49-F238E27FC236}">
                  <a16:creationId xmlns:a16="http://schemas.microsoft.com/office/drawing/2014/main" id="{4D9662FD-FEFC-7E46-4CCE-BE05E252EBD8}"/>
                </a:ext>
              </a:extLst>
            </p:cNvPr>
            <p:cNvGrpSpPr/>
            <p:nvPr userDrawn="1"/>
          </p:nvGrpSpPr>
          <p:grpSpPr>
            <a:xfrm>
              <a:off x="-2740233" y="3819615"/>
              <a:ext cx="2254459" cy="2600236"/>
              <a:chOff x="-3323173" y="3918039"/>
              <a:chExt cx="2815981" cy="3247881"/>
            </a:xfrm>
          </p:grpSpPr>
          <p:sp>
            <p:nvSpPr>
              <p:cNvPr id="17" name="Rectangle 16">
                <a:extLst>
                  <a:ext uri="{FF2B5EF4-FFF2-40B4-BE49-F238E27FC236}">
                    <a16:creationId xmlns:a16="http://schemas.microsoft.com/office/drawing/2014/main" id="{B6488119-DF02-895F-0AF8-7A6B4A31F8A8}"/>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8" name="Rectangle 17">
                <a:extLst>
                  <a:ext uri="{FF2B5EF4-FFF2-40B4-BE49-F238E27FC236}">
                    <a16:creationId xmlns:a16="http://schemas.microsoft.com/office/drawing/2014/main" id="{B978DEEA-F55F-CDC0-063E-05CD8ACB75F6}"/>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9" name="Rectangle 18">
                <a:extLst>
                  <a:ext uri="{FF2B5EF4-FFF2-40B4-BE49-F238E27FC236}">
                    <a16:creationId xmlns:a16="http://schemas.microsoft.com/office/drawing/2014/main" id="{9D87E46B-50BC-8C02-C217-A6AF616F2165}"/>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0" name="TextBox 19">
                <a:extLst>
                  <a:ext uri="{FF2B5EF4-FFF2-40B4-BE49-F238E27FC236}">
                    <a16:creationId xmlns:a16="http://schemas.microsoft.com/office/drawing/2014/main" id="{E92B05A9-02DB-8FF0-3766-B47C1628A2D3}"/>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Dark Background Colors</a:t>
                </a:r>
              </a:p>
            </p:txBody>
          </p:sp>
          <p:sp>
            <p:nvSpPr>
              <p:cNvPr id="21" name="Right Brace 20">
                <a:extLst>
                  <a:ext uri="{FF2B5EF4-FFF2-40B4-BE49-F238E27FC236}">
                    <a16:creationId xmlns:a16="http://schemas.microsoft.com/office/drawing/2014/main" id="{51740941-89E5-FD3A-E1AF-70E15DD23B57}"/>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2" name="Rectangle 21">
                <a:extLst>
                  <a:ext uri="{FF2B5EF4-FFF2-40B4-BE49-F238E27FC236}">
                    <a16:creationId xmlns:a16="http://schemas.microsoft.com/office/drawing/2014/main" id="{EED515E5-0D3C-3A92-8B81-ED2E975BB74A}"/>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5" name="Picture 14">
              <a:extLst>
                <a:ext uri="{FF2B5EF4-FFF2-40B4-BE49-F238E27FC236}">
                  <a16:creationId xmlns:a16="http://schemas.microsoft.com/office/drawing/2014/main" id="{891835A0-9879-D6CB-5354-FE9CFA8AD5CE}"/>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16" name="Picture 15">
              <a:extLst>
                <a:ext uri="{FF2B5EF4-FFF2-40B4-BE49-F238E27FC236}">
                  <a16:creationId xmlns:a16="http://schemas.microsoft.com/office/drawing/2014/main" id="{8566D64F-2C83-98D2-A78E-5093B33C3B63}"/>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
        <p:nvSpPr>
          <p:cNvPr id="23" name="Text Placeholder 7">
            <a:extLst>
              <a:ext uri="{FF2B5EF4-FFF2-40B4-BE49-F238E27FC236}">
                <a16:creationId xmlns:a16="http://schemas.microsoft.com/office/drawing/2014/main" id="{33A70FD8-E247-840A-1B09-962B31C78F82}"/>
              </a:ext>
            </a:extLst>
          </p:cNvPr>
          <p:cNvSpPr>
            <a:spLocks noGrp="1"/>
          </p:cNvSpPr>
          <p:nvPr>
            <p:ph type="body" sz="quarter" idx="32" hasCustomPrompt="1"/>
          </p:nvPr>
        </p:nvSpPr>
        <p:spPr>
          <a:xfrm>
            <a:off x="10836865" y="246565"/>
            <a:ext cx="1014771" cy="298870"/>
          </a:xfrm>
          <a:prstGeom prst="rect">
            <a:avLst/>
          </a:prstGeom>
          <a:solidFill>
            <a:srgbClr val="1D2550"/>
          </a:solidFill>
        </p:spPr>
        <p:txBody>
          <a:bodyPr wrap="none" lIns="75600" tIns="75600" rIns="75600" bIns="75600" anchor="t"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4245130011"/>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Title, Shape - Dark Back B">
    <p:bg>
      <p:bgPr>
        <a:solidFill>
          <a:srgbClr val="CF0000"/>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1046387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Shape">
            <a:extLst>
              <a:ext uri="{FF2B5EF4-FFF2-40B4-BE49-F238E27FC236}">
                <a16:creationId xmlns:a16="http://schemas.microsoft.com/office/drawing/2014/main" id="{46671BC0-703D-83FB-368F-D22C5FD489B9}"/>
              </a:ext>
              <a:ext uri="{C183D7F6-B498-43B3-948B-1728B52AA6E4}">
                <adec:decorative xmlns:adec="http://schemas.microsoft.com/office/drawing/2017/decorative" val="1"/>
              </a:ext>
            </a:extLst>
          </p:cNvPr>
          <p:cNvSpPr/>
          <p:nvPr userDrawn="1"/>
        </p:nvSpPr>
        <p:spPr>
          <a:xfrm>
            <a:off x="2055733" y="0"/>
            <a:ext cx="10136268" cy="6858000"/>
          </a:xfrm>
          <a:custGeom>
            <a:avLst/>
            <a:gdLst>
              <a:gd name="connsiteX0" fmla="*/ 0 w 10136268"/>
              <a:gd name="connsiteY0" fmla="*/ 0 h 6858000"/>
              <a:gd name="connsiteX1" fmla="*/ 10136268 w 10136268"/>
              <a:gd name="connsiteY1" fmla="*/ 0 h 6858000"/>
              <a:gd name="connsiteX2" fmla="*/ 10136268 w 10136268"/>
              <a:gd name="connsiteY2" fmla="*/ 6858000 h 6858000"/>
              <a:gd name="connsiteX3" fmla="*/ 0 w 10136268"/>
              <a:gd name="connsiteY3" fmla="*/ 6858000 h 6858000"/>
              <a:gd name="connsiteX4" fmla="*/ 1942145 w 10136268"/>
              <a:gd name="connsiteY4" fmla="*/ 3429004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36268" h="6858000">
                <a:moveTo>
                  <a:pt x="0" y="0"/>
                </a:moveTo>
                <a:lnTo>
                  <a:pt x="10136268" y="0"/>
                </a:lnTo>
                <a:lnTo>
                  <a:pt x="10136268" y="6858000"/>
                </a:lnTo>
                <a:lnTo>
                  <a:pt x="0" y="6858000"/>
                </a:lnTo>
                <a:lnTo>
                  <a:pt x="1942145" y="3429004"/>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Forever Forma Body Text" pitchFamily="2" charset="0"/>
            </a:endParaRPr>
          </a:p>
        </p:txBody>
      </p:sp>
      <p:sp>
        <p:nvSpPr>
          <p:cNvPr id="4" name="Slide Number Placeholder 3">
            <a:extLst>
              <a:ext uri="{FF2B5EF4-FFF2-40B4-BE49-F238E27FC236}">
                <a16:creationId xmlns:a16="http://schemas.microsoft.com/office/drawing/2014/main" id="{A9F40096-D548-3E3A-1132-E6A716C6E5EB}"/>
              </a:ext>
              <a:ext uri="{C183D7F6-B498-43B3-948B-1728B52AA6E4}">
                <adec:decorative xmlns:adec="http://schemas.microsoft.com/office/drawing/2017/decorative" val="1"/>
              </a:ext>
            </a:extLst>
          </p:cNvPr>
          <p:cNvSpPr>
            <a:spLocks noGrp="1"/>
          </p:cNvSpPr>
          <p:nvPr>
            <p:ph type="sldNum" sz="quarter" idx="14"/>
          </p:nvPr>
        </p:nvSpPr>
        <p:spPr/>
        <p:txBody>
          <a:bodyPr/>
          <a:lstStyle>
            <a:lvl1pPr>
              <a:defRPr>
                <a:solidFill>
                  <a:schemeClr val="bg1"/>
                </a:solidFill>
              </a:defRPr>
            </a:lvl1pPr>
          </a:lstStyle>
          <a:p>
            <a:fld id="{1C1606C5-D483-4832-A0E9-CF578A9B5883}" type="slidenum">
              <a:rPr lang="en-US" smtClean="0"/>
              <a:pPr/>
              <a:t>‹#›</a:t>
            </a:fld>
            <a:endParaRPr lang="en-US"/>
          </a:p>
        </p:txBody>
      </p:sp>
      <p:sp>
        <p:nvSpPr>
          <p:cNvPr id="6" name="Title 5">
            <a:extLst>
              <a:ext uri="{FF2B5EF4-FFF2-40B4-BE49-F238E27FC236}">
                <a16:creationId xmlns:a16="http://schemas.microsoft.com/office/drawing/2014/main" id="{B1D6F022-9FE6-4B78-376D-BEF1357BC212}"/>
              </a:ext>
            </a:extLst>
          </p:cNvPr>
          <p:cNvSpPr>
            <a:spLocks noGrp="1"/>
          </p:cNvSpPr>
          <p:nvPr>
            <p:ph type="title"/>
          </p:nvPr>
        </p:nvSpPr>
        <p:spPr>
          <a:xfrm>
            <a:off x="521208" y="1269000"/>
            <a:ext cx="2334792" cy="4320000"/>
          </a:xfrm>
          <a:prstGeom prst="rect">
            <a:avLst/>
          </a:prstGeom>
        </p:spPr>
        <p:txBody>
          <a:bodyPr anchor="ctr" anchorCtr="0"/>
          <a:lstStyle>
            <a:lvl1pPr>
              <a:defRPr>
                <a:solidFill>
                  <a:schemeClr val="bg1"/>
                </a:solidFill>
              </a:defRPr>
            </a:lvl1pPr>
          </a:lstStyle>
          <a:p>
            <a:r>
              <a:rPr lang="en-US"/>
              <a:t>Click to edit Master title style</a:t>
            </a:r>
          </a:p>
        </p:txBody>
      </p:sp>
      <p:pic>
        <p:nvPicPr>
          <p:cNvPr id="7" name="logo sm">
            <a:extLst>
              <a:ext uri="{FF2B5EF4-FFF2-40B4-BE49-F238E27FC236}">
                <a16:creationId xmlns:a16="http://schemas.microsoft.com/office/drawing/2014/main" id="{28D7AC3D-2975-E7EA-5B9D-10CBB4960CC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799200" y="6053050"/>
            <a:ext cx="2138400" cy="804950"/>
          </a:xfrm>
          <a:prstGeom prst="rect">
            <a:avLst/>
          </a:prstGeom>
        </p:spPr>
      </p:pic>
      <p:sp>
        <p:nvSpPr>
          <p:cNvPr id="9" name="footnotes">
            <a:extLst>
              <a:ext uri="{FF2B5EF4-FFF2-40B4-BE49-F238E27FC236}">
                <a16:creationId xmlns:a16="http://schemas.microsoft.com/office/drawing/2014/main" id="{5B2B67AD-5AC8-419A-0C30-56DF9D6B8391}"/>
              </a:ext>
            </a:extLst>
          </p:cNvPr>
          <p:cNvSpPr>
            <a:spLocks noGrp="1"/>
          </p:cNvSpPr>
          <p:nvPr>
            <p:ph type="body" sz="quarter" idx="17" hasCustomPrompt="1"/>
          </p:nvPr>
        </p:nvSpPr>
        <p:spPr>
          <a:xfrm>
            <a:off x="3935999" y="6049950"/>
            <a:ext cx="5863201"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2" name="Group 1">
            <a:extLst>
              <a:ext uri="{FF2B5EF4-FFF2-40B4-BE49-F238E27FC236}">
                <a16:creationId xmlns:a16="http://schemas.microsoft.com/office/drawing/2014/main" id="{D6F0783A-8E0E-894F-0882-B72C0A7B0271}"/>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3" name="Content Placeholder 15">
              <a:extLst>
                <a:ext uri="{FF2B5EF4-FFF2-40B4-BE49-F238E27FC236}">
                  <a16:creationId xmlns:a16="http://schemas.microsoft.com/office/drawing/2014/main" id="{6D1ED4AD-B2EF-39F0-97AA-3B57C6EA4BAA}"/>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8" name="TextBox 7">
              <a:extLst>
                <a:ext uri="{FF2B5EF4-FFF2-40B4-BE49-F238E27FC236}">
                  <a16:creationId xmlns:a16="http://schemas.microsoft.com/office/drawing/2014/main" id="{F34023A3-851D-DC72-AE6D-9C2A10F18189}"/>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dark background)</a:t>
              </a:r>
            </a:p>
            <a:p>
              <a:pPr algn="l">
                <a:buNone/>
              </a:pPr>
              <a:endParaRPr lang="en-US" sz="1200" kern="100" spc="-30"/>
            </a:p>
          </p:txBody>
        </p:sp>
        <p:pic>
          <p:nvPicPr>
            <p:cNvPr id="11" name="Picture 10" descr="A screenshot of a color chart&#10;&#10;Description automatically generated">
              <a:extLst>
                <a:ext uri="{FF2B5EF4-FFF2-40B4-BE49-F238E27FC236}">
                  <a16:creationId xmlns:a16="http://schemas.microsoft.com/office/drawing/2014/main" id="{BFDF97D7-13CF-DC01-1175-E6091943BEAD}"/>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2" name="Rectangle 11">
              <a:extLst>
                <a:ext uri="{FF2B5EF4-FFF2-40B4-BE49-F238E27FC236}">
                  <a16:creationId xmlns:a16="http://schemas.microsoft.com/office/drawing/2014/main" id="{02975CA3-2087-74EC-1819-A58E1B24EA95}"/>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538DBD3-235B-6DB1-6E62-7145C624AEBA}"/>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 name="Group 13">
              <a:extLst>
                <a:ext uri="{FF2B5EF4-FFF2-40B4-BE49-F238E27FC236}">
                  <a16:creationId xmlns:a16="http://schemas.microsoft.com/office/drawing/2014/main" id="{EFBD5287-A671-E82A-7489-111979DE3A90}"/>
                </a:ext>
              </a:extLst>
            </p:cNvPr>
            <p:cNvGrpSpPr/>
            <p:nvPr userDrawn="1"/>
          </p:nvGrpSpPr>
          <p:grpSpPr>
            <a:xfrm>
              <a:off x="-2740233" y="3819615"/>
              <a:ext cx="2254459" cy="2600236"/>
              <a:chOff x="-3323173" y="3918039"/>
              <a:chExt cx="2815981" cy="3247881"/>
            </a:xfrm>
          </p:grpSpPr>
          <p:sp>
            <p:nvSpPr>
              <p:cNvPr id="17" name="Rectangle 16">
                <a:extLst>
                  <a:ext uri="{FF2B5EF4-FFF2-40B4-BE49-F238E27FC236}">
                    <a16:creationId xmlns:a16="http://schemas.microsoft.com/office/drawing/2014/main" id="{45A4E993-55B3-2D85-0F5B-1EB14C9B2F72}"/>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8" name="Rectangle 17">
                <a:extLst>
                  <a:ext uri="{FF2B5EF4-FFF2-40B4-BE49-F238E27FC236}">
                    <a16:creationId xmlns:a16="http://schemas.microsoft.com/office/drawing/2014/main" id="{19627226-4D85-895D-4413-69CA735D1E5B}"/>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9" name="Rectangle 18">
                <a:extLst>
                  <a:ext uri="{FF2B5EF4-FFF2-40B4-BE49-F238E27FC236}">
                    <a16:creationId xmlns:a16="http://schemas.microsoft.com/office/drawing/2014/main" id="{1D613096-FA07-5F7E-9D19-969CED9FD3CC}"/>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0" name="TextBox 19">
                <a:extLst>
                  <a:ext uri="{FF2B5EF4-FFF2-40B4-BE49-F238E27FC236}">
                    <a16:creationId xmlns:a16="http://schemas.microsoft.com/office/drawing/2014/main" id="{08D3DFA4-8F3D-53AD-5E5B-09C20B94D76D}"/>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Dark Background Colors</a:t>
                </a:r>
              </a:p>
            </p:txBody>
          </p:sp>
          <p:sp>
            <p:nvSpPr>
              <p:cNvPr id="21" name="Right Brace 20">
                <a:extLst>
                  <a:ext uri="{FF2B5EF4-FFF2-40B4-BE49-F238E27FC236}">
                    <a16:creationId xmlns:a16="http://schemas.microsoft.com/office/drawing/2014/main" id="{5A0FDA22-890F-D83B-BB4A-398A6C90EFE8}"/>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2" name="Rectangle 21">
                <a:extLst>
                  <a:ext uri="{FF2B5EF4-FFF2-40B4-BE49-F238E27FC236}">
                    <a16:creationId xmlns:a16="http://schemas.microsoft.com/office/drawing/2014/main" id="{A64520B5-1BEA-A087-6671-AF5F211EB1B5}"/>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5" name="Picture 14">
              <a:extLst>
                <a:ext uri="{FF2B5EF4-FFF2-40B4-BE49-F238E27FC236}">
                  <a16:creationId xmlns:a16="http://schemas.microsoft.com/office/drawing/2014/main" id="{E3CC9806-9838-E6FF-13D9-58286770BFD8}"/>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16" name="Picture 15">
              <a:extLst>
                <a:ext uri="{FF2B5EF4-FFF2-40B4-BE49-F238E27FC236}">
                  <a16:creationId xmlns:a16="http://schemas.microsoft.com/office/drawing/2014/main" id="{F3103CFE-58F8-FFF7-D64C-1254FC330E6C}"/>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
        <p:nvSpPr>
          <p:cNvPr id="23" name="Text Placeholder 7">
            <a:extLst>
              <a:ext uri="{FF2B5EF4-FFF2-40B4-BE49-F238E27FC236}">
                <a16:creationId xmlns:a16="http://schemas.microsoft.com/office/drawing/2014/main" id="{8AD3ABB2-5B58-32D3-CEAF-776F90383062}"/>
              </a:ext>
            </a:extLst>
          </p:cNvPr>
          <p:cNvSpPr>
            <a:spLocks noGrp="1"/>
          </p:cNvSpPr>
          <p:nvPr>
            <p:ph type="body" sz="quarter" idx="32" hasCustomPrompt="1"/>
          </p:nvPr>
        </p:nvSpPr>
        <p:spPr>
          <a:xfrm>
            <a:off x="10836865" y="246565"/>
            <a:ext cx="1014771" cy="298870"/>
          </a:xfrm>
          <a:prstGeom prst="rect">
            <a:avLst/>
          </a:prstGeom>
          <a:solidFill>
            <a:srgbClr val="1D2550"/>
          </a:solidFill>
        </p:spPr>
        <p:txBody>
          <a:bodyPr wrap="none" lIns="75600" tIns="75600" rIns="75600" bIns="75600" anchor="t"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96768390"/>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think-cell data - do not delete">
            <a:extLst>
              <a:ext uri="{FF2B5EF4-FFF2-40B4-BE49-F238E27FC236}">
                <a16:creationId xmlns:a16="http://schemas.microsoft.com/office/drawing/2014/main" id="{B3E3C8DB-3479-AE98-A7B7-5DAFDCAE7C15}"/>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1459476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think-cell data - do not delete">
                        <a:extLst>
                          <a:ext uri="{FF2B5EF4-FFF2-40B4-BE49-F238E27FC236}">
                            <a16:creationId xmlns:a16="http://schemas.microsoft.com/office/drawing/2014/main" id="{B3E3C8DB-3479-AE98-A7B7-5DAFDCAE7C15}"/>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B44540-BD69-8598-9011-2ADF437DAC6E}"/>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A9C59A75-5D68-1E40-38BC-0B52954932CF}"/>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7" name="footnotes">
            <a:extLst>
              <a:ext uri="{FF2B5EF4-FFF2-40B4-BE49-F238E27FC236}">
                <a16:creationId xmlns:a16="http://schemas.microsoft.com/office/drawing/2014/main" id="{4DB3D8AA-FDD2-434D-A2D9-A577C984EF79}"/>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9" name="Text Placeholder 7">
            <a:extLst>
              <a:ext uri="{FF2B5EF4-FFF2-40B4-BE49-F238E27FC236}">
                <a16:creationId xmlns:a16="http://schemas.microsoft.com/office/drawing/2014/main" id="{9DD6603E-7213-234E-A22E-B48223FEEE06}"/>
              </a:ext>
            </a:extLst>
          </p:cNvPr>
          <p:cNvSpPr>
            <a:spLocks noGrp="1"/>
          </p:cNvSpPr>
          <p:nvPr>
            <p:ph type="body" sz="quarter" idx="19"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135782736"/>
      </p:ext>
    </p:extLst>
  </p:cSld>
  <p:clrMapOvr>
    <a:masterClrMapping/>
  </p:clrMapOvr>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graphicFrame>
        <p:nvGraphicFramePr>
          <p:cNvPr id="4" name="think-cell data - do not delete">
            <a:extLst>
              <a:ext uri="{FF2B5EF4-FFF2-40B4-BE49-F238E27FC236}">
                <a16:creationId xmlns:a16="http://schemas.microsoft.com/office/drawing/2014/main" id="{25F823D4-734A-C8DD-8496-79009477396D}"/>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772431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think-cell data - do not delete">
                        <a:extLst>
                          <a:ext uri="{FF2B5EF4-FFF2-40B4-BE49-F238E27FC236}">
                            <a16:creationId xmlns:a16="http://schemas.microsoft.com/office/drawing/2014/main" id="{25F823D4-734A-C8DD-8496-79009477396D}"/>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B44540-BD69-8598-9011-2ADF437DAC6E}"/>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3" name="Subtitle 2">
            <a:extLst>
              <a:ext uri="{FF2B5EF4-FFF2-40B4-BE49-F238E27FC236}">
                <a16:creationId xmlns:a16="http://schemas.microsoft.com/office/drawing/2014/main" id="{BAA0F187-73A7-1BDF-0558-084D178076E4}"/>
              </a:ext>
            </a:extLst>
          </p:cNvPr>
          <p:cNvSpPr>
            <a:spLocks noGrp="1"/>
          </p:cNvSpPr>
          <p:nvPr>
            <p:ph type="body" sz="quarter" idx="16" hasCustomPrompt="1"/>
          </p:nvPr>
        </p:nvSpPr>
        <p:spPr>
          <a:xfrm>
            <a:off x="521208" y="1270518"/>
            <a:ext cx="11149580"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5" name="Slide Number Placeholder 4">
            <a:extLst>
              <a:ext uri="{FF2B5EF4-FFF2-40B4-BE49-F238E27FC236}">
                <a16:creationId xmlns:a16="http://schemas.microsoft.com/office/drawing/2014/main" id="{A9C59A75-5D68-1E40-38BC-0B52954932CF}"/>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9" name="footnotes">
            <a:extLst>
              <a:ext uri="{FF2B5EF4-FFF2-40B4-BE49-F238E27FC236}">
                <a16:creationId xmlns:a16="http://schemas.microsoft.com/office/drawing/2014/main" id="{257194BC-8F56-3C4A-A300-FDD4A52490D9}"/>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1" name="Text Placeholder 7">
            <a:extLst>
              <a:ext uri="{FF2B5EF4-FFF2-40B4-BE49-F238E27FC236}">
                <a16:creationId xmlns:a16="http://schemas.microsoft.com/office/drawing/2014/main" id="{EA9FF71B-FE85-F14D-AACB-DDBCAFFCBCF7}"/>
              </a:ext>
            </a:extLst>
          </p:cNvPr>
          <p:cNvSpPr>
            <a:spLocks noGrp="1"/>
          </p:cNvSpPr>
          <p:nvPr>
            <p:ph type="body" sz="quarter" idx="19"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440581718"/>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4" name="think-cell data - do not delete">
            <a:extLst>
              <a:ext uri="{FF2B5EF4-FFF2-40B4-BE49-F238E27FC236}">
                <a16:creationId xmlns:a16="http://schemas.microsoft.com/office/drawing/2014/main" id="{1A05214F-878C-FF78-65EF-DA2F1298659E}"/>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772431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think-cell data - do not delete">
                        <a:extLst>
                          <a:ext uri="{FF2B5EF4-FFF2-40B4-BE49-F238E27FC236}">
                            <a16:creationId xmlns:a16="http://schemas.microsoft.com/office/drawing/2014/main" id="{1A05214F-878C-FF78-65EF-DA2F1298659E}"/>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AD2B48C-2466-076C-80B3-A6DE83135308}"/>
              </a:ext>
              <a:ext uri="{C183D7F6-B498-43B3-948B-1728B52AA6E4}">
                <adec:decorative xmlns:adec="http://schemas.microsoft.com/office/drawing/2017/decorative" val="0"/>
              </a:ext>
            </a:extLst>
          </p:cNvPr>
          <p:cNvSpPr>
            <a:spLocks noGrp="1"/>
          </p:cNvSpPr>
          <p:nvPr>
            <p:ph type="title"/>
          </p:nvPr>
        </p:nvSpPr>
        <p:spPr>
          <a:xfrm>
            <a:off x="1460499" y="-467833"/>
            <a:ext cx="10223499" cy="432000"/>
          </a:xfrm>
          <a:prstGeom prst="rect">
            <a:avLst/>
          </a:prstGeom>
        </p:spPr>
        <p:txBody>
          <a:bodyPr/>
          <a:lstStyle>
            <a:lvl1pPr>
              <a:defRPr sz="1800"/>
            </a:lvl1pPr>
          </a:lstStyle>
          <a:p>
            <a:r>
              <a:rPr lang="en-US"/>
              <a:t>Click to edit Master title style</a:t>
            </a:r>
          </a:p>
        </p:txBody>
      </p:sp>
      <p:sp>
        <p:nvSpPr>
          <p:cNvPr id="3" name="TextBox 2">
            <a:extLst>
              <a:ext uri="{FF2B5EF4-FFF2-40B4-BE49-F238E27FC236}">
                <a16:creationId xmlns:a16="http://schemas.microsoft.com/office/drawing/2014/main" id="{0FEC182F-8D48-3026-24D1-81577AE0215B}"/>
              </a:ext>
              <a:ext uri="{C183D7F6-B498-43B3-948B-1728B52AA6E4}">
                <adec:decorative xmlns:adec="http://schemas.microsoft.com/office/drawing/2017/decorative" val="1"/>
              </a:ext>
            </a:extLst>
          </p:cNvPr>
          <p:cNvSpPr txBox="1"/>
          <p:nvPr userDrawn="1"/>
        </p:nvSpPr>
        <p:spPr>
          <a:xfrm>
            <a:off x="0" y="-457400"/>
            <a:ext cx="1344000" cy="432000"/>
          </a:xfrm>
          <a:prstGeom prst="rect">
            <a:avLst/>
          </a:prstGeom>
          <a:noFill/>
        </p:spPr>
        <p:txBody>
          <a:bodyPr wrap="square" lIns="0" tIns="0" rIns="0" bIns="0" rtlCol="0">
            <a:noAutofit/>
          </a:bodyPr>
          <a:lstStyle/>
          <a:p>
            <a:pPr algn="l"/>
            <a:r>
              <a:rPr lang="en-US" sz="1200" b="0" i="0" kern="100" spc="-30">
                <a:latin typeface="Forever Forma Body Text" pitchFamily="2" charset="0"/>
              </a:rPr>
              <a:t>Title required for WCAG accessibility</a:t>
            </a:r>
          </a:p>
        </p:txBody>
      </p:sp>
      <p:sp>
        <p:nvSpPr>
          <p:cNvPr id="6" name="Slide Number Placeholder 5">
            <a:extLst>
              <a:ext uri="{FF2B5EF4-FFF2-40B4-BE49-F238E27FC236}">
                <a16:creationId xmlns:a16="http://schemas.microsoft.com/office/drawing/2014/main" id="{0DCB6134-1B10-2649-C015-2FC1F5370A08}"/>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9" name="footnotes">
            <a:extLst>
              <a:ext uri="{FF2B5EF4-FFF2-40B4-BE49-F238E27FC236}">
                <a16:creationId xmlns:a16="http://schemas.microsoft.com/office/drawing/2014/main" id="{BC614099-F958-C742-8908-B7A7E28F1E19}"/>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1" name="Text Placeholder 7">
            <a:extLst>
              <a:ext uri="{FF2B5EF4-FFF2-40B4-BE49-F238E27FC236}">
                <a16:creationId xmlns:a16="http://schemas.microsoft.com/office/drawing/2014/main" id="{7A55C8D7-29B9-574F-B725-6EB40E89F8A1}"/>
              </a:ext>
            </a:extLst>
          </p:cNvPr>
          <p:cNvSpPr>
            <a:spLocks noGrp="1"/>
          </p:cNvSpPr>
          <p:nvPr>
            <p:ph type="body" sz="quarter" idx="19"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815148986"/>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7DB518AD-5057-EF28-0A48-FAB23085412D}"/>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1623315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7DB518AD-5057-EF28-0A48-FAB23085412D}"/>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tle 12">
            <a:extLst>
              <a:ext uri="{FF2B5EF4-FFF2-40B4-BE49-F238E27FC236}">
                <a16:creationId xmlns:a16="http://schemas.microsoft.com/office/drawing/2014/main" id="{7F2B9C43-1D6F-7726-1CCE-0D1CE63CD27C}"/>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45" name="Media Placeholder 44">
            <a:extLst>
              <a:ext uri="{FF2B5EF4-FFF2-40B4-BE49-F238E27FC236}">
                <a16:creationId xmlns:a16="http://schemas.microsoft.com/office/drawing/2014/main" id="{FA45BFB3-67FB-D56E-F7EC-9EE4E9B366AA}"/>
              </a:ext>
            </a:extLst>
          </p:cNvPr>
          <p:cNvSpPr>
            <a:spLocks noGrp="1" noChangeAspect="1"/>
          </p:cNvSpPr>
          <p:nvPr>
            <p:ph type="media" sz="quarter" idx="11"/>
          </p:nvPr>
        </p:nvSpPr>
        <p:spPr>
          <a:xfrm>
            <a:off x="1812000" y="1304505"/>
            <a:ext cx="8568000" cy="47480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87E3522D-3F13-D300-F157-0D51CB0A292C}"/>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8" name="footnotes">
            <a:extLst>
              <a:ext uri="{FF2B5EF4-FFF2-40B4-BE49-F238E27FC236}">
                <a16:creationId xmlns:a16="http://schemas.microsoft.com/office/drawing/2014/main" id="{A11444B1-8C81-3442-97F7-D77602ABE348}"/>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9" name="Text Placeholder 7">
            <a:extLst>
              <a:ext uri="{FF2B5EF4-FFF2-40B4-BE49-F238E27FC236}">
                <a16:creationId xmlns:a16="http://schemas.microsoft.com/office/drawing/2014/main" id="{4132CDE3-9CFA-9C4C-8B14-6226CA0F83D3}"/>
              </a:ext>
            </a:extLst>
          </p:cNvPr>
          <p:cNvSpPr>
            <a:spLocks noGrp="1"/>
          </p:cNvSpPr>
          <p:nvPr>
            <p:ph type="body" sz="quarter" idx="19"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620223553"/>
      </p:ext>
    </p:extLst>
  </p:cSld>
  <p:clrMapOvr>
    <a:masterClrMapping/>
  </p:clrMapOvr>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Video Full Screen">
    <p:bg>
      <p:bgPr>
        <a:solidFill>
          <a:schemeClr val="tx1"/>
        </a:solidFill>
        <a:effectLst/>
      </p:bgPr>
    </p:bg>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7DB518AD-5057-EF28-0A48-FAB23085412D}"/>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1623315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2" name="think-cell data - do not delete">
                        <a:extLst>
                          <a:ext uri="{FF2B5EF4-FFF2-40B4-BE49-F238E27FC236}">
                            <a16:creationId xmlns:a16="http://schemas.microsoft.com/office/drawing/2014/main" id="{7DB518AD-5057-EF28-0A48-FAB23085412D}"/>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5" name="Media Placeholder 44">
            <a:extLst>
              <a:ext uri="{FF2B5EF4-FFF2-40B4-BE49-F238E27FC236}">
                <a16:creationId xmlns:a16="http://schemas.microsoft.com/office/drawing/2014/main" id="{FA45BFB3-67FB-D56E-F7EC-9EE4E9B366AA}"/>
              </a:ext>
            </a:extLst>
          </p:cNvPr>
          <p:cNvSpPr>
            <a:spLocks noGrp="1" noChangeAspect="1"/>
          </p:cNvSpPr>
          <p:nvPr>
            <p:ph type="media" sz="quarter" idx="11"/>
          </p:nvPr>
        </p:nvSpPr>
        <p:spPr>
          <a:xfrm>
            <a:off x="-1" y="30164"/>
            <a:ext cx="12298177" cy="6815132"/>
          </a:xfrm>
          <a:prstGeom prst="rect">
            <a:avLst/>
          </a:prstGeom>
        </p:spPr>
        <p:txBody>
          <a:bodyPr/>
          <a:lstStyle/>
          <a:p>
            <a:endParaRPr lang="en-US"/>
          </a:p>
        </p:txBody>
      </p:sp>
      <p:graphicFrame>
        <p:nvGraphicFramePr>
          <p:cNvPr id="4" name="think-cell data - do not delete">
            <a:extLst>
              <a:ext uri="{FF2B5EF4-FFF2-40B4-BE49-F238E27FC236}">
                <a16:creationId xmlns:a16="http://schemas.microsoft.com/office/drawing/2014/main" id="{C4533091-4963-6091-FCE7-2F8820ED9B3F}"/>
              </a:ext>
              <a:ext uri="{C183D7F6-B498-43B3-948B-1728B52AA6E4}">
                <adec:decorative xmlns:adec="http://schemas.microsoft.com/office/drawing/2017/decorative" val="1"/>
              </a:ext>
            </a:extLst>
          </p:cNvPr>
          <p:cNvGraphicFramePr>
            <a:graphicFrameLocks noChangeAspect="1"/>
          </p:cNvGraphicFramePr>
          <p:nvPr userDrawn="1">
            <p:custDataLst>
              <p:tags r:id="rId2"/>
            </p:custDataLst>
            <p:extLst>
              <p:ext uri="{D42A27DB-BD31-4B8C-83A1-F6EECF244321}">
                <p14:modId xmlns:p14="http://schemas.microsoft.com/office/powerpoint/2010/main" val="3626559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4" name="think-cell data - do not delete">
                        <a:extLst>
                          <a:ext uri="{FF2B5EF4-FFF2-40B4-BE49-F238E27FC236}">
                            <a16:creationId xmlns:a16="http://schemas.microsoft.com/office/drawing/2014/main" id="{C4533091-4963-6091-FCE7-2F8820ED9B3F}"/>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046F3B38-3489-7C0F-D23D-ABA9954D8B80}"/>
              </a:ext>
              <a:ext uri="{C183D7F6-B498-43B3-948B-1728B52AA6E4}">
                <adec:decorative xmlns:adec="http://schemas.microsoft.com/office/drawing/2017/decorative" val="0"/>
              </a:ext>
            </a:extLst>
          </p:cNvPr>
          <p:cNvSpPr txBox="1">
            <a:spLocks/>
          </p:cNvSpPr>
          <p:nvPr userDrawn="1"/>
        </p:nvSpPr>
        <p:spPr>
          <a:xfrm>
            <a:off x="1460499" y="-467833"/>
            <a:ext cx="10223499" cy="43200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1800" b="0" i="0" kern="100" spc="-30" baseline="0">
                <a:solidFill>
                  <a:schemeClr val="tx1"/>
                </a:solidFill>
                <a:latin typeface="Forever Forma Body Text" pitchFamily="2" charset="0"/>
                <a:ea typeface="+mj-ea"/>
                <a:cs typeface="+mj-cs"/>
              </a:defRPr>
            </a:lvl1pPr>
          </a:lstStyle>
          <a:p>
            <a:pPr>
              <a:buClrTx/>
              <a:buFontTx/>
            </a:pPr>
            <a:r>
              <a:rPr lang="en-US"/>
              <a:t>Click to edit Master title style</a:t>
            </a:r>
          </a:p>
        </p:txBody>
      </p:sp>
      <p:sp>
        <p:nvSpPr>
          <p:cNvPr id="7" name="TextBox 6">
            <a:extLst>
              <a:ext uri="{FF2B5EF4-FFF2-40B4-BE49-F238E27FC236}">
                <a16:creationId xmlns:a16="http://schemas.microsoft.com/office/drawing/2014/main" id="{3B5FCA46-1EFA-8479-B917-828FDA3B5B83}"/>
              </a:ext>
              <a:ext uri="{C183D7F6-B498-43B3-948B-1728B52AA6E4}">
                <adec:decorative xmlns:adec="http://schemas.microsoft.com/office/drawing/2017/decorative" val="1"/>
              </a:ext>
            </a:extLst>
          </p:cNvPr>
          <p:cNvSpPr txBox="1"/>
          <p:nvPr userDrawn="1"/>
        </p:nvSpPr>
        <p:spPr>
          <a:xfrm>
            <a:off x="0" y="-457400"/>
            <a:ext cx="1344000" cy="432000"/>
          </a:xfrm>
          <a:prstGeom prst="rect">
            <a:avLst/>
          </a:prstGeom>
          <a:noFill/>
        </p:spPr>
        <p:txBody>
          <a:bodyPr wrap="square" lIns="0" tIns="0" rIns="0" bIns="0" rtlCol="0">
            <a:noAutofit/>
          </a:bodyPr>
          <a:lstStyle/>
          <a:p>
            <a:pPr algn="l"/>
            <a:r>
              <a:rPr lang="en-US" sz="1200" b="0" i="0" kern="100" spc="-30">
                <a:latin typeface="Forever Forma Body Text" pitchFamily="2" charset="0"/>
              </a:rPr>
              <a:t>Title required for WCAG accessibility</a:t>
            </a:r>
          </a:p>
        </p:txBody>
      </p:sp>
      <p:sp>
        <p:nvSpPr>
          <p:cNvPr id="3" name="Text Placeholder 7">
            <a:extLst>
              <a:ext uri="{FF2B5EF4-FFF2-40B4-BE49-F238E27FC236}">
                <a16:creationId xmlns:a16="http://schemas.microsoft.com/office/drawing/2014/main" id="{30EE12E9-98EB-FE86-C673-DF00F765F603}"/>
              </a:ext>
            </a:extLst>
          </p:cNvPr>
          <p:cNvSpPr>
            <a:spLocks noGrp="1"/>
          </p:cNvSpPr>
          <p:nvPr>
            <p:ph type="body" sz="quarter" idx="19" hasCustomPrompt="1"/>
          </p:nvPr>
        </p:nvSpPr>
        <p:spPr>
          <a:xfrm>
            <a:off x="10669227" y="6313320"/>
            <a:ext cx="1014771" cy="298870"/>
          </a:xfrm>
          <a:prstGeom prst="rect">
            <a:avLst/>
          </a:prstGeom>
          <a:no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1854979995"/>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800F698-073E-E583-85F1-9E9C0A8D7BD6}"/>
              </a:ext>
            </a:extLst>
          </p:cNvPr>
          <p:cNvSpPr>
            <a:spLocks noGrp="1"/>
          </p:cNvSpPr>
          <p:nvPr>
            <p:ph type="dt" sz="half" idx="10"/>
          </p:nvPr>
        </p:nvSpPr>
        <p:spPr/>
        <p:txBody>
          <a:bodyPr/>
          <a:lstStyle/>
          <a:p>
            <a:fld id="{6DFA7DD4-2B52-4594-83A2-F1953135B047}" type="datetimeFigureOut">
              <a:rPr lang="en-US" smtClean="0"/>
              <a:t>1/15/2026</a:t>
            </a:fld>
            <a:endParaRPr lang="en-US"/>
          </a:p>
        </p:txBody>
      </p:sp>
      <p:sp>
        <p:nvSpPr>
          <p:cNvPr id="3" name="Footer Placeholder 2">
            <a:extLst>
              <a:ext uri="{FF2B5EF4-FFF2-40B4-BE49-F238E27FC236}">
                <a16:creationId xmlns:a16="http://schemas.microsoft.com/office/drawing/2014/main" id="{FB9D1AB8-2EB7-9EA4-0CF5-7D3AA60F61D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501BBE2-A006-9FCE-FDFD-4665B4756AA3}"/>
              </a:ext>
            </a:extLst>
          </p:cNvPr>
          <p:cNvSpPr>
            <a:spLocks noGrp="1"/>
          </p:cNvSpPr>
          <p:nvPr>
            <p:ph type="sldNum" sz="quarter" idx="12"/>
          </p:nvPr>
        </p:nvSpPr>
        <p:spPr/>
        <p:txBody>
          <a:bodyPr/>
          <a:lstStyle/>
          <a:p>
            <a:fld id="{016653AC-F910-4A84-BFBC-FC34D0CF9E24}" type="slidenum">
              <a:rPr lang="en-US" smtClean="0"/>
              <a:t>‹#›</a:t>
            </a:fld>
            <a:endParaRPr lang="en-US"/>
          </a:p>
        </p:txBody>
      </p:sp>
    </p:spTree>
    <p:extLst>
      <p:ext uri="{BB962C8B-B14F-4D97-AF65-F5344CB8AC3E}">
        <p14:creationId xmlns:p14="http://schemas.microsoft.com/office/powerpoint/2010/main" val="172021567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userDrawn="1">
  <p:cSld name="Thank you - Light Back Image C">
    <p:bg>
      <p:bgPr>
        <a:solidFill>
          <a:srgbClr val="FA69FF"/>
        </a:solidFill>
        <a:effectLst/>
      </p:bgPr>
    </p:bg>
    <p:spTree>
      <p:nvGrpSpPr>
        <p:cNvPr id="1" name=""/>
        <p:cNvGrpSpPr/>
        <p:nvPr/>
      </p:nvGrpSpPr>
      <p:grpSpPr>
        <a:xfrm>
          <a:off x="0" y="0"/>
          <a:ext cx="0" cy="0"/>
          <a:chOff x="0" y="0"/>
          <a:chExt cx="0" cy="0"/>
        </a:xfrm>
      </p:grpSpPr>
      <p:pic>
        <p:nvPicPr>
          <p:cNvPr id="4" name="logo sm" descr="Transamerica Logo">
            <a:extLst>
              <a:ext uri="{FF2B5EF4-FFF2-40B4-BE49-F238E27FC236}">
                <a16:creationId xmlns:a16="http://schemas.microsoft.com/office/drawing/2014/main" id="{8B3A96BC-EAB0-388B-D87F-E05E98F7850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0"/>
            <a:ext cx="4141724" cy="1559052"/>
          </a:xfrm>
          <a:prstGeom prst="rect">
            <a:avLst/>
          </a:prstGeom>
        </p:spPr>
      </p:pic>
      <p:sp>
        <p:nvSpPr>
          <p:cNvPr id="2" name="Title 1">
            <a:extLst>
              <a:ext uri="{FF2B5EF4-FFF2-40B4-BE49-F238E27FC236}">
                <a16:creationId xmlns:a16="http://schemas.microsoft.com/office/drawing/2014/main" id="{5A86874A-FA12-2517-B453-C324E0434187}"/>
              </a:ext>
            </a:extLst>
          </p:cNvPr>
          <p:cNvSpPr>
            <a:spLocks noGrp="1"/>
          </p:cNvSpPr>
          <p:nvPr>
            <p:ph type="ctrTitle" hasCustomPrompt="1"/>
          </p:nvPr>
        </p:nvSpPr>
        <p:spPr>
          <a:xfrm>
            <a:off x="521208" y="1559052"/>
            <a:ext cx="5573592" cy="3739896"/>
          </a:xfrm>
        </p:spPr>
        <p:txBody>
          <a:bodyPr vert="horz" wrap="square" anchor="ctr" anchorCtr="0">
            <a:noAutofit/>
          </a:bodyPr>
          <a:lstStyle>
            <a:lvl1pPr algn="l">
              <a:lnSpc>
                <a:spcPct val="85000"/>
              </a:lnSpc>
              <a:defRPr sz="4800" kern="100" spc="-120" baseline="0"/>
            </a:lvl1pPr>
          </a:lstStyle>
          <a:p>
            <a:r>
              <a:rPr lang="en-US"/>
              <a:t>Click to edit title</a:t>
            </a:r>
          </a:p>
        </p:txBody>
      </p:sp>
      <p:sp>
        <p:nvSpPr>
          <p:cNvPr id="5" name="Picture Placeholder 13">
            <a:extLst>
              <a:ext uri="{FF2B5EF4-FFF2-40B4-BE49-F238E27FC236}">
                <a16:creationId xmlns:a16="http://schemas.microsoft.com/office/drawing/2014/main" id="{8302C1AC-2558-C541-6E66-7DBAF7772CE8}"/>
              </a:ext>
              <a:ext uri="{C183D7F6-B498-43B3-948B-1728B52AA6E4}">
                <adec:decorative xmlns:adec="http://schemas.microsoft.com/office/drawing/2017/decorative" val="0"/>
              </a:ext>
            </a:extLst>
          </p:cNvPr>
          <p:cNvSpPr>
            <a:spLocks noGrp="1"/>
          </p:cNvSpPr>
          <p:nvPr>
            <p:ph type="pic" sz="quarter" idx="20" hasCustomPrompt="1"/>
          </p:nvPr>
        </p:nvSpPr>
        <p:spPr>
          <a:xfrm>
            <a:off x="6564000" y="0"/>
            <a:ext cx="5628000" cy="6858000"/>
          </a:xfrm>
          <a:custGeom>
            <a:avLst/>
            <a:gdLst>
              <a:gd name="connsiteX0" fmla="*/ 1948790 w 5706327"/>
              <a:gd name="connsiteY0" fmla="*/ 0 h 6858000"/>
              <a:gd name="connsiteX1" fmla="*/ 1948794 w 5706327"/>
              <a:gd name="connsiteY1" fmla="*/ 7 h 6858000"/>
              <a:gd name="connsiteX2" fmla="*/ 1948794 w 5706327"/>
              <a:gd name="connsiteY2" fmla="*/ 0 h 6858000"/>
              <a:gd name="connsiteX3" fmla="*/ 5706327 w 5706327"/>
              <a:gd name="connsiteY3" fmla="*/ 0 h 6858000"/>
              <a:gd name="connsiteX4" fmla="*/ 5706327 w 5706327"/>
              <a:gd name="connsiteY4" fmla="*/ 6858000 h 6858000"/>
              <a:gd name="connsiteX5" fmla="*/ 1948794 w 5706327"/>
              <a:gd name="connsiteY5" fmla="*/ 6858000 h 6858000"/>
              <a:gd name="connsiteX6" fmla="*/ 1948794 w 5706327"/>
              <a:gd name="connsiteY6" fmla="*/ 6857993 h 6858000"/>
              <a:gd name="connsiteX7" fmla="*/ 1948790 w 5706327"/>
              <a:gd name="connsiteY7" fmla="*/ 6858000 h 6858000"/>
              <a:gd name="connsiteX8" fmla="*/ 0 w 5706327"/>
              <a:gd name="connsiteY8" fmla="*/ 3429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06327" h="6858000">
                <a:moveTo>
                  <a:pt x="1948790" y="0"/>
                </a:moveTo>
                <a:lnTo>
                  <a:pt x="1948794" y="7"/>
                </a:lnTo>
                <a:lnTo>
                  <a:pt x="1948794" y="0"/>
                </a:lnTo>
                <a:lnTo>
                  <a:pt x="5706327" y="0"/>
                </a:lnTo>
                <a:lnTo>
                  <a:pt x="5706327" y="6858000"/>
                </a:lnTo>
                <a:lnTo>
                  <a:pt x="1948794" y="6858000"/>
                </a:lnTo>
                <a:lnTo>
                  <a:pt x="1948794" y="6857993"/>
                </a:lnTo>
                <a:lnTo>
                  <a:pt x="1948790" y="6858000"/>
                </a:lnTo>
                <a:lnTo>
                  <a:pt x="0" y="3429000"/>
                </a:lnTo>
                <a:close/>
              </a:path>
            </a:pathLst>
          </a:custGeom>
          <a:solidFill>
            <a:schemeClr val="bg1">
              <a:lumMod val="95000"/>
            </a:schemeClr>
          </a:solidFill>
        </p:spPr>
        <p:txBody>
          <a:bodyPr wrap="square" lIns="201600" tIns="201600" rIns="201600" bIns="201600">
            <a:noAutofit/>
          </a:bodyPr>
          <a:lstStyle>
            <a:lvl1pPr algn="r">
              <a:defRPr>
                <a:solidFill>
                  <a:schemeClr val="tx1"/>
                </a:solidFill>
              </a:defRPr>
            </a:lvl1pPr>
          </a:lstStyle>
          <a:p>
            <a:r>
              <a:rPr lang="en-US"/>
              <a:t>Click icon to insert an image</a:t>
            </a:r>
          </a:p>
        </p:txBody>
      </p:sp>
      <p:sp>
        <p:nvSpPr>
          <p:cNvPr id="26" name="footnotes">
            <a:extLst>
              <a:ext uri="{FF2B5EF4-FFF2-40B4-BE49-F238E27FC236}">
                <a16:creationId xmlns:a16="http://schemas.microsoft.com/office/drawing/2014/main" id="{2A95B7BF-45EE-EB42-80A2-9C8D4C4505D0}"/>
              </a:ext>
            </a:extLst>
          </p:cNvPr>
          <p:cNvSpPr>
            <a:spLocks noGrp="1"/>
          </p:cNvSpPr>
          <p:nvPr>
            <p:ph type="body" sz="quarter" idx="14" hasCustomPrompt="1"/>
          </p:nvPr>
        </p:nvSpPr>
        <p:spPr>
          <a:xfrm>
            <a:off x="521209" y="5554454"/>
            <a:ext cx="5696711" cy="1303545"/>
          </a:xfrm>
          <a:prstGeom prst="rect">
            <a:avLst/>
          </a:prstGeom>
        </p:spPr>
        <p:txBody>
          <a:bodyPr bIns="309600" anchor="b" anchorCtr="0"/>
          <a:lstStyle>
            <a:lvl1pPr>
              <a:lnSpc>
                <a:spcPct val="90000"/>
              </a:lnSpc>
              <a:spcBef>
                <a:spcPts val="0"/>
              </a:spcBef>
              <a:buNone/>
              <a:defRPr sz="1000">
                <a:solidFill>
                  <a:schemeClr val="tx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Transamerica Resources, Inc., is an Aegon company and is affiliated with various companies that include, but are not limited to, insurance companies and broker dealers. Transamerica Resources, Inc., does not offer insurance products or securities. The information provided is for educational purposes only and should not be construed as insurance, securities, ERISA, tax, investment, legal, medical or financial advice or guidance. Please consult your personal independent professionals for answers to your specific questions.</a:t>
            </a:r>
          </a:p>
          <a:p>
            <a:pPr lvl="0"/>
            <a:endParaRPr lang="en-US"/>
          </a:p>
          <a:p>
            <a:pPr lvl="0"/>
            <a:r>
              <a:rPr lang="en-US"/>
              <a:t>[TRACKING NUMBER]</a:t>
            </a:r>
          </a:p>
          <a:p>
            <a:pPr lvl="0"/>
            <a:r>
              <a:rPr lang="en-US"/>
              <a:t>©2025 Transamerica Corporation. All Rights Reserved.</a:t>
            </a:r>
          </a:p>
        </p:txBody>
      </p:sp>
      <p:sp>
        <p:nvSpPr>
          <p:cNvPr id="29" name="Text Placeholder 7">
            <a:extLst>
              <a:ext uri="{FF2B5EF4-FFF2-40B4-BE49-F238E27FC236}">
                <a16:creationId xmlns:a16="http://schemas.microsoft.com/office/drawing/2014/main" id="{08A4FCE2-5994-9940-9173-5493CBE40526}"/>
              </a:ext>
            </a:extLst>
          </p:cNvPr>
          <p:cNvSpPr>
            <a:spLocks noGrp="1"/>
          </p:cNvSpPr>
          <p:nvPr>
            <p:ph type="body" sz="quarter" idx="32" hasCustomPrompt="1"/>
          </p:nvPr>
        </p:nvSpPr>
        <p:spPr>
          <a:xfrm>
            <a:off x="521207" y="5142929"/>
            <a:ext cx="1014772" cy="298870"/>
          </a:xfrm>
          <a:prstGeom prst="rect">
            <a:avLst/>
          </a:prstGeom>
          <a:solidFill>
            <a:srgbClr val="1D2550"/>
          </a:solidFill>
        </p:spPr>
        <p:txBody>
          <a:bodyPr wrap="none" lIns="75600" tIns="75600" rIns="75600" bIns="75600" anchor="b" anchorCtr="0">
            <a:spAutoFit/>
          </a:bodyPr>
          <a:lstStyle>
            <a:lvl1pPr algn="l">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
        <p:nvSpPr>
          <p:cNvPr id="24" name="footnotes">
            <a:extLst>
              <a:ext uri="{FF2B5EF4-FFF2-40B4-BE49-F238E27FC236}">
                <a16:creationId xmlns:a16="http://schemas.microsoft.com/office/drawing/2014/main" id="{CF1CB72A-122D-D344-A6AB-8FE3E59F2A3C}"/>
              </a:ext>
            </a:extLst>
          </p:cNvPr>
          <p:cNvSpPr>
            <a:spLocks noGrp="1"/>
          </p:cNvSpPr>
          <p:nvPr>
            <p:ph type="body" sz="quarter" idx="33" hasCustomPrompt="1"/>
          </p:nvPr>
        </p:nvSpPr>
        <p:spPr>
          <a:xfrm>
            <a:off x="11430000" y="6248400"/>
            <a:ext cx="609600" cy="609600"/>
          </a:xfrm>
          <a:prstGeom prst="rect">
            <a:avLst/>
          </a:prstGeom>
          <a:effectLst>
            <a:outerShdw blurRad="50800" dist="12700" dir="5400000" algn="t" rotWithShape="0">
              <a:prstClr val="black"/>
            </a:outerShdw>
          </a:effectLst>
        </p:spPr>
        <p:txBody>
          <a:bodyPr bIns="309600" anchor="b" anchorCtr="0"/>
          <a:lstStyle>
            <a:lvl1pPr>
              <a:lnSpc>
                <a:spcPct val="90000"/>
              </a:lnSpc>
              <a:spcBef>
                <a:spcPts val="0"/>
              </a:spcBef>
              <a:buNone/>
              <a:defRPr sz="1000">
                <a:solidFill>
                  <a:schemeClr val="bg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01/25</a:t>
            </a:r>
          </a:p>
        </p:txBody>
      </p:sp>
    </p:spTree>
    <p:extLst>
      <p:ext uri="{BB962C8B-B14F-4D97-AF65-F5344CB8AC3E}">
        <p14:creationId xmlns:p14="http://schemas.microsoft.com/office/powerpoint/2010/main" val="1442583118"/>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2 Subheading, 2 Content">
    <p:spTree>
      <p:nvGrpSpPr>
        <p:cNvPr id="1" name=""/>
        <p:cNvGrpSpPr/>
        <p:nvPr/>
      </p:nvGrpSpPr>
      <p:grpSpPr>
        <a:xfrm>
          <a:off x="0" y="0"/>
          <a:ext cx="0" cy="0"/>
          <a:chOff x="0" y="0"/>
          <a:chExt cx="0" cy="0"/>
        </a:xfrm>
      </p:grpSpPr>
      <p:graphicFrame>
        <p:nvGraphicFramePr>
          <p:cNvPr id="5" name="think-cell data - do not delete">
            <a:extLst>
              <a:ext uri="{FF2B5EF4-FFF2-40B4-BE49-F238E27FC236}">
                <a16:creationId xmlns:a16="http://schemas.microsoft.com/office/drawing/2014/main" id="{3F2946B6-AC1F-81BA-7B2C-EF2B627C86F7}"/>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772431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think-cell data - do not delete">
                        <a:extLst>
                          <a:ext uri="{FF2B5EF4-FFF2-40B4-BE49-F238E27FC236}">
                            <a16:creationId xmlns:a16="http://schemas.microsoft.com/office/drawing/2014/main" id="{3F2946B6-AC1F-81BA-7B2C-EF2B627C86F7}"/>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C44DCA0-DD63-84D1-CAD4-CCAA9A5CBE61}"/>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13" name="Subtitle">
            <a:extLst>
              <a:ext uri="{FF2B5EF4-FFF2-40B4-BE49-F238E27FC236}">
                <a16:creationId xmlns:a16="http://schemas.microsoft.com/office/drawing/2014/main" id="{331B8B0D-8C19-56D6-3474-9A68EF24E63C}"/>
              </a:ext>
            </a:extLst>
          </p:cNvPr>
          <p:cNvSpPr>
            <a:spLocks noGrp="1"/>
          </p:cNvSpPr>
          <p:nvPr>
            <p:ph type="body" sz="quarter" idx="13" hasCustomPrompt="1"/>
          </p:nvPr>
        </p:nvSpPr>
        <p:spPr>
          <a:xfrm>
            <a:off x="521208" y="1414800"/>
            <a:ext cx="5466792" cy="324000"/>
          </a:xfrm>
          <a:prstGeom prst="rect">
            <a:avLst/>
          </a:prstGeom>
        </p:spPr>
        <p:txBody>
          <a:bodyPr>
            <a:noAutofit/>
          </a:bodyPr>
          <a:lstStyle>
            <a:lvl1pPr>
              <a:defRPr sz="2000" b="0" i="0">
                <a:latin typeface="+mj-lt"/>
              </a:defRPr>
            </a:lvl1pPr>
          </a:lstStyle>
          <a:p>
            <a:pPr lvl="0"/>
            <a:r>
              <a:rPr lang="en-US"/>
              <a:t>Click to edit subheading</a:t>
            </a:r>
          </a:p>
        </p:txBody>
      </p:sp>
      <p:sp>
        <p:nvSpPr>
          <p:cNvPr id="6" name="Content Placeholder 1">
            <a:extLst>
              <a:ext uri="{FF2B5EF4-FFF2-40B4-BE49-F238E27FC236}">
                <a16:creationId xmlns:a16="http://schemas.microsoft.com/office/drawing/2014/main" id="{639C1932-E720-A335-BA08-4187F3CA3D33}"/>
              </a:ext>
            </a:extLst>
          </p:cNvPr>
          <p:cNvSpPr>
            <a:spLocks noGrp="1"/>
          </p:cNvSpPr>
          <p:nvPr>
            <p:ph sz="half" idx="2"/>
          </p:nvPr>
        </p:nvSpPr>
        <p:spPr>
          <a:xfrm>
            <a:off x="521208" y="1774800"/>
            <a:ext cx="546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5" name="Subtitle 2">
            <a:extLst>
              <a:ext uri="{FF2B5EF4-FFF2-40B4-BE49-F238E27FC236}">
                <a16:creationId xmlns:a16="http://schemas.microsoft.com/office/drawing/2014/main" id="{6B8DF1BA-8C93-F66E-B919-D37909FD2284}"/>
              </a:ext>
            </a:extLst>
          </p:cNvPr>
          <p:cNvSpPr>
            <a:spLocks noGrp="1"/>
          </p:cNvSpPr>
          <p:nvPr>
            <p:ph type="body" sz="quarter" idx="17" hasCustomPrompt="1"/>
          </p:nvPr>
        </p:nvSpPr>
        <p:spPr>
          <a:xfrm>
            <a:off x="6204000" y="1414800"/>
            <a:ext cx="5466788" cy="324000"/>
          </a:xfrm>
          <a:prstGeom prst="rect">
            <a:avLst/>
          </a:prstGeom>
        </p:spPr>
        <p:txBody>
          <a:bodyPr>
            <a:noAutofit/>
          </a:bodyPr>
          <a:lstStyle>
            <a:lvl1pPr>
              <a:defRPr sz="2000" b="0" i="0">
                <a:latin typeface="+mj-lt"/>
              </a:defRPr>
            </a:lvl1pPr>
          </a:lstStyle>
          <a:p>
            <a:pPr lvl="0"/>
            <a:r>
              <a:rPr lang="en-US"/>
              <a:t>Click to edit subheading</a:t>
            </a:r>
          </a:p>
        </p:txBody>
      </p:sp>
      <p:sp>
        <p:nvSpPr>
          <p:cNvPr id="2" name="Content Placeholder 1">
            <a:extLst>
              <a:ext uri="{FF2B5EF4-FFF2-40B4-BE49-F238E27FC236}">
                <a16:creationId xmlns:a16="http://schemas.microsoft.com/office/drawing/2014/main" id="{373BF452-84F5-39DA-111E-74D078D1319D}"/>
              </a:ext>
            </a:extLst>
          </p:cNvPr>
          <p:cNvSpPr>
            <a:spLocks noGrp="1"/>
          </p:cNvSpPr>
          <p:nvPr>
            <p:ph sz="half" idx="19"/>
          </p:nvPr>
        </p:nvSpPr>
        <p:spPr>
          <a:xfrm>
            <a:off x="6203996" y="1774800"/>
            <a:ext cx="546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3" name="Slide Number Placeholder 2">
            <a:extLst>
              <a:ext uri="{FF2B5EF4-FFF2-40B4-BE49-F238E27FC236}">
                <a16:creationId xmlns:a16="http://schemas.microsoft.com/office/drawing/2014/main" id="{1DDFFF08-DC8A-A699-D304-5A119DF6CF1C}"/>
              </a:ext>
              <a:ext uri="{C183D7F6-B498-43B3-948B-1728B52AA6E4}">
                <adec:decorative xmlns:adec="http://schemas.microsoft.com/office/drawing/2017/decorative" val="1"/>
              </a:ext>
            </a:extLst>
          </p:cNvPr>
          <p:cNvSpPr>
            <a:spLocks noGrp="1"/>
          </p:cNvSpPr>
          <p:nvPr>
            <p:ph type="sldNum" sz="quarter" idx="18"/>
          </p:nvPr>
        </p:nvSpPr>
        <p:spPr/>
        <p:txBody>
          <a:bodyPr/>
          <a:lstStyle/>
          <a:p>
            <a:fld id="{1C1606C5-D483-4832-A0E9-CF578A9B5883}" type="slidenum">
              <a:rPr lang="en-US" smtClean="0"/>
              <a:pPr/>
              <a:t>‹#›</a:t>
            </a:fld>
            <a:endParaRPr lang="en-US"/>
          </a:p>
        </p:txBody>
      </p:sp>
      <p:sp>
        <p:nvSpPr>
          <p:cNvPr id="11" name="footnotes">
            <a:extLst>
              <a:ext uri="{FF2B5EF4-FFF2-40B4-BE49-F238E27FC236}">
                <a16:creationId xmlns:a16="http://schemas.microsoft.com/office/drawing/2014/main" id="{B1518579-C3A4-6345-8BF3-4CF902328ED1}"/>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2" name="Text Placeholder 7">
            <a:extLst>
              <a:ext uri="{FF2B5EF4-FFF2-40B4-BE49-F238E27FC236}">
                <a16:creationId xmlns:a16="http://schemas.microsoft.com/office/drawing/2014/main" id="{64C24224-8710-E945-8106-0BE4F0A28EB2}"/>
              </a:ext>
            </a:extLst>
          </p:cNvPr>
          <p:cNvSpPr>
            <a:spLocks noGrp="1"/>
          </p:cNvSpPr>
          <p:nvPr>
            <p:ph type="body" sz="quarter" idx="20"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449553711"/>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Divider Slide - Light Back - Image F">
    <p:bg>
      <p:bgPr>
        <a:solidFill>
          <a:srgbClr val="4CD300"/>
        </a:solidFill>
        <a:effectLst/>
      </p:bgPr>
    </p:bg>
    <p:spTree>
      <p:nvGrpSpPr>
        <p:cNvPr id="1" name=""/>
        <p:cNvGrpSpPr/>
        <p:nvPr/>
      </p:nvGrpSpPr>
      <p:grpSpPr>
        <a:xfrm>
          <a:off x="0" y="0"/>
          <a:ext cx="0" cy="0"/>
          <a:chOff x="0" y="0"/>
          <a:chExt cx="0" cy="0"/>
        </a:xfrm>
      </p:grpSpPr>
      <p:sp>
        <p:nvSpPr>
          <p:cNvPr id="23" name="Shape">
            <a:extLst>
              <a:ext uri="{FF2B5EF4-FFF2-40B4-BE49-F238E27FC236}">
                <a16:creationId xmlns:a16="http://schemas.microsoft.com/office/drawing/2014/main" id="{1AB32EF4-631A-1566-764E-879662A9AA2A}"/>
              </a:ext>
              <a:ext uri="{C183D7F6-B498-43B3-948B-1728B52AA6E4}">
                <adec:decorative xmlns:adec="http://schemas.microsoft.com/office/drawing/2017/decorative" val="1"/>
              </a:ext>
            </a:extLst>
          </p:cNvPr>
          <p:cNvSpPr txBox="1">
            <a:spLocks/>
          </p:cNvSpPr>
          <p:nvPr userDrawn="1"/>
        </p:nvSpPr>
        <p:spPr>
          <a:xfrm>
            <a:off x="5652001" y="0"/>
            <a:ext cx="6539997" cy="6858000"/>
          </a:xfrm>
          <a:custGeom>
            <a:avLst/>
            <a:gdLst>
              <a:gd name="connsiteX0" fmla="*/ 4463799 w 6662996"/>
              <a:gd name="connsiteY0" fmla="*/ 0 h 6459787"/>
              <a:gd name="connsiteX1" fmla="*/ 6662996 w 6662996"/>
              <a:gd name="connsiteY1" fmla="*/ 0 h 6459787"/>
              <a:gd name="connsiteX2" fmla="*/ 6662996 w 6662996"/>
              <a:gd name="connsiteY2" fmla="*/ 6459787 h 6459787"/>
              <a:gd name="connsiteX3" fmla="*/ 4463799 w 6662996"/>
              <a:gd name="connsiteY3" fmla="*/ 6459787 h 6459787"/>
              <a:gd name="connsiteX4" fmla="*/ 1233841 w 6662996"/>
              <a:gd name="connsiteY4" fmla="*/ 5225967 h 6459787"/>
              <a:gd name="connsiteX5" fmla="*/ 0 w 6662996"/>
              <a:gd name="connsiteY5" fmla="*/ 3229894 h 6459787"/>
              <a:gd name="connsiteX6" fmla="*/ 1233841 w 6662996"/>
              <a:gd name="connsiteY6" fmla="*/ 1233820 h 6459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2996" h="6459787">
                <a:moveTo>
                  <a:pt x="4463799" y="0"/>
                </a:moveTo>
                <a:lnTo>
                  <a:pt x="6662996" y="0"/>
                </a:lnTo>
                <a:lnTo>
                  <a:pt x="6662996" y="6459787"/>
                </a:lnTo>
                <a:lnTo>
                  <a:pt x="4463799" y="6459787"/>
                </a:lnTo>
                <a:lnTo>
                  <a:pt x="1233841" y="5225967"/>
                </a:lnTo>
                <a:lnTo>
                  <a:pt x="0" y="3229894"/>
                </a:lnTo>
                <a:lnTo>
                  <a:pt x="1233841" y="1233820"/>
                </a:lnTo>
                <a:close/>
              </a:path>
            </a:pathLst>
          </a:custGeom>
          <a:solidFill>
            <a:srgbClr val="FFFFFF"/>
          </a:solidFill>
        </p:spPr>
        <p:txBody>
          <a:bodyPr vert="horz" wrap="square" lIns="203200" tIns="201600" rIns="201600" bIns="201600" rtlCol="0" anchor="ctr" anchorCtr="0">
            <a:noAutofit/>
          </a:bodyPr>
          <a:lstStyle>
            <a:lvl1pPr marL="0" indent="0" algn="ctr"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endParaRPr lang="en-US" b="0" i="0">
              <a:latin typeface="Forever Forma Body Text" pitchFamily="2" charset="0"/>
            </a:endParaRPr>
          </a:p>
        </p:txBody>
      </p:sp>
      <p:sp>
        <p:nvSpPr>
          <p:cNvPr id="2" name="Title 1">
            <a:extLst>
              <a:ext uri="{FF2B5EF4-FFF2-40B4-BE49-F238E27FC236}">
                <a16:creationId xmlns:a16="http://schemas.microsoft.com/office/drawing/2014/main" id="{E52831A1-EEC4-3B4D-CB37-DEB46BB796BE}"/>
              </a:ext>
            </a:extLst>
          </p:cNvPr>
          <p:cNvSpPr>
            <a:spLocks noGrp="1"/>
          </p:cNvSpPr>
          <p:nvPr>
            <p:ph type="title" hasCustomPrompt="1"/>
          </p:nvPr>
        </p:nvSpPr>
        <p:spPr>
          <a:xfrm>
            <a:off x="521207" y="1989000"/>
            <a:ext cx="4890791" cy="2880001"/>
          </a:xfrm>
          <a:prstGeom prst="rect">
            <a:avLst/>
          </a:prstGeom>
        </p:spPr>
        <p:txBody>
          <a:bodyPr anchor="ctr" anchorCtr="0">
            <a:noAutofit/>
          </a:bodyPr>
          <a:lstStyle>
            <a:lvl1pPr>
              <a:lnSpc>
                <a:spcPct val="85000"/>
              </a:lnSpc>
              <a:defRPr sz="4800" kern="100" spc="-120" baseline="0">
                <a:solidFill>
                  <a:schemeClr val="tx1"/>
                </a:solidFill>
              </a:defRPr>
            </a:lvl1pPr>
          </a:lstStyle>
          <a:p>
            <a:r>
              <a:rPr lang="en-US"/>
              <a:t>Click to edit chapter title</a:t>
            </a:r>
          </a:p>
        </p:txBody>
      </p:sp>
      <p:sp>
        <p:nvSpPr>
          <p:cNvPr id="6" name="Picture Placeholder">
            <a:extLst>
              <a:ext uri="{FF2B5EF4-FFF2-40B4-BE49-F238E27FC236}">
                <a16:creationId xmlns:a16="http://schemas.microsoft.com/office/drawing/2014/main" id="{D41354F5-2BFC-F0DC-D422-A34F651E8E0D}"/>
              </a:ext>
              <a:ext uri="{C183D7F6-B498-43B3-948B-1728B52AA6E4}">
                <adec:decorative xmlns:adec="http://schemas.microsoft.com/office/drawing/2017/decorative" val="0"/>
              </a:ext>
            </a:extLst>
          </p:cNvPr>
          <p:cNvSpPr>
            <a:spLocks noGrp="1"/>
          </p:cNvSpPr>
          <p:nvPr>
            <p:ph type="pic" sz="quarter" idx="13" hasCustomPrompt="1"/>
          </p:nvPr>
        </p:nvSpPr>
        <p:spPr>
          <a:xfrm>
            <a:off x="5627999" y="2"/>
            <a:ext cx="6563999" cy="6857999"/>
          </a:xfrm>
          <a:custGeom>
            <a:avLst/>
            <a:gdLst>
              <a:gd name="connsiteX0" fmla="*/ 4397477 w 6563999"/>
              <a:gd name="connsiteY0" fmla="*/ 0 h 6857999"/>
              <a:gd name="connsiteX1" fmla="*/ 6563999 w 6563999"/>
              <a:gd name="connsiteY1" fmla="*/ 0 h 6857999"/>
              <a:gd name="connsiteX2" fmla="*/ 6563999 w 6563999"/>
              <a:gd name="connsiteY2" fmla="*/ 6857999 h 6857999"/>
              <a:gd name="connsiteX3" fmla="*/ 4397477 w 6563999"/>
              <a:gd name="connsiteY3" fmla="*/ 6857999 h 6857999"/>
              <a:gd name="connsiteX4" fmla="*/ 1215509 w 6563999"/>
              <a:gd name="connsiteY4" fmla="*/ 5548121 h 6857999"/>
              <a:gd name="connsiteX5" fmla="*/ 0 w 6563999"/>
              <a:gd name="connsiteY5" fmla="*/ 3429000 h 6857999"/>
              <a:gd name="connsiteX6" fmla="*/ 1215509 w 6563999"/>
              <a:gd name="connsiteY6" fmla="*/ 1309878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63999" h="6857999">
                <a:moveTo>
                  <a:pt x="4397477" y="0"/>
                </a:moveTo>
                <a:lnTo>
                  <a:pt x="6563999" y="0"/>
                </a:lnTo>
                <a:lnTo>
                  <a:pt x="6563999" y="6857999"/>
                </a:lnTo>
                <a:lnTo>
                  <a:pt x="4397477" y="6857999"/>
                </a:lnTo>
                <a:lnTo>
                  <a:pt x="1215509" y="5548121"/>
                </a:lnTo>
                <a:lnTo>
                  <a:pt x="0" y="3429000"/>
                </a:lnTo>
                <a:lnTo>
                  <a:pt x="1215509" y="1309878"/>
                </a:lnTo>
                <a:close/>
              </a:path>
            </a:pathLst>
          </a:custGeom>
          <a:solidFill>
            <a:schemeClr val="bg1">
              <a:lumMod val="95000"/>
            </a:schemeClr>
          </a:solidFill>
        </p:spPr>
        <p:txBody>
          <a:bodyPr wrap="square" lIns="203200" tIns="201600" rIns="201600" bIns="201600" anchor="ctr" anchorCtr="0">
            <a:noAutofit/>
          </a:bodyPr>
          <a:lstStyle>
            <a:lvl1pPr algn="ctr">
              <a:defRPr/>
            </a:lvl1pPr>
          </a:lstStyle>
          <a:p>
            <a:r>
              <a:rPr lang="en-US"/>
              <a:t>Click icon to insert an image</a:t>
            </a:r>
          </a:p>
        </p:txBody>
      </p:sp>
      <p:sp>
        <p:nvSpPr>
          <p:cNvPr id="22" name="Text Placeholder 7">
            <a:extLst>
              <a:ext uri="{FF2B5EF4-FFF2-40B4-BE49-F238E27FC236}">
                <a16:creationId xmlns:a16="http://schemas.microsoft.com/office/drawing/2014/main" id="{BE05A11D-7DA2-6827-D3E0-95E4E4E1D82E}"/>
              </a:ext>
            </a:extLst>
          </p:cNvPr>
          <p:cNvSpPr>
            <a:spLocks noGrp="1"/>
          </p:cNvSpPr>
          <p:nvPr>
            <p:ph type="body" sz="quarter" idx="33" hasCustomPrompt="1"/>
          </p:nvPr>
        </p:nvSpPr>
        <p:spPr>
          <a:xfrm>
            <a:off x="521207" y="6313320"/>
            <a:ext cx="1014772" cy="298870"/>
          </a:xfrm>
          <a:prstGeom prst="rect">
            <a:avLst/>
          </a:prstGeom>
          <a:solidFill>
            <a:srgbClr val="1D2550"/>
          </a:solidFill>
        </p:spPr>
        <p:txBody>
          <a:bodyPr wrap="none" lIns="75600" tIns="75600" rIns="75600" bIns="75600" anchor="b" anchorCtr="0">
            <a:spAutoFit/>
          </a:bodyPr>
          <a:lstStyle>
            <a:lvl1pPr algn="l">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668717109"/>
      </p:ext>
    </p:extLst>
  </p:cSld>
  <p:clrMapOvr>
    <a:masterClrMapping/>
  </p:clrMapOvr>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_Title, 2 Content">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D36BCD1C-33D6-F1AE-0319-FA5A2E02E217}"/>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543400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D36BCD1C-33D6-F1AE-0319-FA5A2E02E217}"/>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647D7EB4-7059-9F86-302A-A0A1E0582911}"/>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7B97EE82-108F-E33E-FCA1-952163EFB126}"/>
              </a:ext>
            </a:extLst>
          </p:cNvPr>
          <p:cNvSpPr>
            <a:spLocks noGrp="1"/>
          </p:cNvSpPr>
          <p:nvPr>
            <p:ph sz="half" idx="1"/>
          </p:nvPr>
        </p:nvSpPr>
        <p:spPr>
          <a:xfrm>
            <a:off x="521208" y="1414800"/>
            <a:ext cx="5466792" cy="463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Content Placeholder 3">
            <a:extLst>
              <a:ext uri="{FF2B5EF4-FFF2-40B4-BE49-F238E27FC236}">
                <a16:creationId xmlns:a16="http://schemas.microsoft.com/office/drawing/2014/main" id="{84970725-E095-1266-38E5-68F19D3A7559}"/>
              </a:ext>
            </a:extLst>
          </p:cNvPr>
          <p:cNvSpPr>
            <a:spLocks noGrp="1"/>
          </p:cNvSpPr>
          <p:nvPr>
            <p:ph sz="half" idx="2"/>
          </p:nvPr>
        </p:nvSpPr>
        <p:spPr>
          <a:xfrm>
            <a:off x="6204000" y="1414800"/>
            <a:ext cx="5466788" cy="463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6">
            <a:extLst>
              <a:ext uri="{FF2B5EF4-FFF2-40B4-BE49-F238E27FC236}">
                <a16:creationId xmlns:a16="http://schemas.microsoft.com/office/drawing/2014/main" id="{639FC5A9-B0A2-A729-A108-87F84341470B}"/>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9" name="footnotes">
            <a:extLst>
              <a:ext uri="{FF2B5EF4-FFF2-40B4-BE49-F238E27FC236}">
                <a16:creationId xmlns:a16="http://schemas.microsoft.com/office/drawing/2014/main" id="{A6D39C17-F283-E044-804E-58A1732C7665}"/>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0" name="Text Placeholder 7">
            <a:extLst>
              <a:ext uri="{FF2B5EF4-FFF2-40B4-BE49-F238E27FC236}">
                <a16:creationId xmlns:a16="http://schemas.microsoft.com/office/drawing/2014/main" id="{13814B80-708E-D448-839E-AC05CFB32396}"/>
              </a:ext>
            </a:extLst>
          </p:cNvPr>
          <p:cNvSpPr>
            <a:spLocks noGrp="1"/>
          </p:cNvSpPr>
          <p:nvPr>
            <p:ph type="body" sz="quarter" idx="19"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843773450"/>
      </p:ext>
    </p:extLst>
  </p:cSld>
  <p:clrMapOvr>
    <a:masterClrMapping/>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userDrawn="1">
  <p:cSld name="1_Title, Content, Shape - Light Back A">
    <p:bg>
      <p:bgPr>
        <a:solidFill>
          <a:srgbClr val="63B6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254176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hape">
            <a:extLst>
              <a:ext uri="{FF2B5EF4-FFF2-40B4-BE49-F238E27FC236}">
                <a16:creationId xmlns:a16="http://schemas.microsoft.com/office/drawing/2014/main" id="{344630B8-C98D-D3B9-67A1-E0937CD3CD02}"/>
              </a:ext>
              <a:ext uri="{C183D7F6-B498-43B3-948B-1728B52AA6E4}">
                <adec:decorative xmlns:adec="http://schemas.microsoft.com/office/drawing/2017/decorative" val="1"/>
              </a:ext>
            </a:extLst>
          </p:cNvPr>
          <p:cNvSpPr/>
          <p:nvPr userDrawn="1"/>
        </p:nvSpPr>
        <p:spPr>
          <a:xfrm>
            <a:off x="2928001" y="0"/>
            <a:ext cx="9264000" cy="6858000"/>
          </a:xfrm>
          <a:custGeom>
            <a:avLst/>
            <a:gdLst>
              <a:gd name="connsiteX0" fmla="*/ 0 w 10502900"/>
              <a:gd name="connsiteY0" fmla="*/ 0 h 6858000"/>
              <a:gd name="connsiteX1" fmla="*/ 10502900 w 10502900"/>
              <a:gd name="connsiteY1" fmla="*/ 0 h 6858000"/>
              <a:gd name="connsiteX2" fmla="*/ 10502900 w 10502900"/>
              <a:gd name="connsiteY2" fmla="*/ 6858000 h 6858000"/>
              <a:gd name="connsiteX3" fmla="*/ 1406333 w 10502900"/>
              <a:gd name="connsiteY3" fmla="*/ 6858000 h 6858000"/>
              <a:gd name="connsiteX4" fmla="*/ 3820073 w 10502900"/>
              <a:gd name="connsiteY4" fmla="*/ 5548121 h 6858000"/>
              <a:gd name="connsiteX5" fmla="*/ 4742125 w 10502900"/>
              <a:gd name="connsiteY5" fmla="*/ 3428998 h 6858000"/>
              <a:gd name="connsiteX6" fmla="*/ 3820073 w 10502900"/>
              <a:gd name="connsiteY6" fmla="*/ 1309879 h 6858000"/>
              <a:gd name="connsiteX7" fmla="*/ 1406333 w 10502900"/>
              <a:gd name="connsiteY7" fmla="*/ 1 h 6858000"/>
              <a:gd name="connsiteX8" fmla="*/ 0 w 10502900"/>
              <a:gd name="connsiteY8" fmla="*/ 1 h 6858000"/>
              <a:gd name="connsiteX0" fmla="*/ 0 w 10502900"/>
              <a:gd name="connsiteY0" fmla="*/ 1 h 6858000"/>
              <a:gd name="connsiteX1" fmla="*/ 10502900 w 10502900"/>
              <a:gd name="connsiteY1" fmla="*/ 0 h 6858000"/>
              <a:gd name="connsiteX2" fmla="*/ 10502900 w 10502900"/>
              <a:gd name="connsiteY2" fmla="*/ 6858000 h 6858000"/>
              <a:gd name="connsiteX3" fmla="*/ 1406333 w 10502900"/>
              <a:gd name="connsiteY3" fmla="*/ 6858000 h 6858000"/>
              <a:gd name="connsiteX4" fmla="*/ 3820073 w 10502900"/>
              <a:gd name="connsiteY4" fmla="*/ 5548121 h 6858000"/>
              <a:gd name="connsiteX5" fmla="*/ 4742125 w 10502900"/>
              <a:gd name="connsiteY5" fmla="*/ 3428998 h 6858000"/>
              <a:gd name="connsiteX6" fmla="*/ 3820073 w 10502900"/>
              <a:gd name="connsiteY6" fmla="*/ 1309879 h 6858000"/>
              <a:gd name="connsiteX7" fmla="*/ 1406333 w 10502900"/>
              <a:gd name="connsiteY7" fmla="*/ 1 h 6858000"/>
              <a:gd name="connsiteX8" fmla="*/ 0 w 10502900"/>
              <a:gd name="connsiteY8" fmla="*/ 1 h 6858000"/>
              <a:gd name="connsiteX0" fmla="*/ 0 w 9096567"/>
              <a:gd name="connsiteY0" fmla="*/ 1 h 6858000"/>
              <a:gd name="connsiteX1" fmla="*/ 9096567 w 9096567"/>
              <a:gd name="connsiteY1" fmla="*/ 0 h 6858000"/>
              <a:gd name="connsiteX2" fmla="*/ 9096567 w 9096567"/>
              <a:gd name="connsiteY2" fmla="*/ 6858000 h 6858000"/>
              <a:gd name="connsiteX3" fmla="*/ 0 w 9096567"/>
              <a:gd name="connsiteY3" fmla="*/ 6858000 h 6858000"/>
              <a:gd name="connsiteX4" fmla="*/ 2413740 w 9096567"/>
              <a:gd name="connsiteY4" fmla="*/ 5548121 h 6858000"/>
              <a:gd name="connsiteX5" fmla="*/ 3335792 w 9096567"/>
              <a:gd name="connsiteY5" fmla="*/ 3428998 h 6858000"/>
              <a:gd name="connsiteX6" fmla="*/ 2413740 w 9096567"/>
              <a:gd name="connsiteY6" fmla="*/ 1309879 h 6858000"/>
              <a:gd name="connsiteX7" fmla="*/ 0 w 9096567"/>
              <a:gd name="connsiteY7"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96567" h="6858000">
                <a:moveTo>
                  <a:pt x="0" y="1"/>
                </a:moveTo>
                <a:lnTo>
                  <a:pt x="9096567" y="0"/>
                </a:lnTo>
                <a:lnTo>
                  <a:pt x="9096567" y="6858000"/>
                </a:lnTo>
                <a:lnTo>
                  <a:pt x="0" y="6858000"/>
                </a:lnTo>
                <a:lnTo>
                  <a:pt x="2413740" y="5548121"/>
                </a:lnTo>
                <a:lnTo>
                  <a:pt x="3335792" y="3428998"/>
                </a:lnTo>
                <a:lnTo>
                  <a:pt x="2413740" y="1309879"/>
                </a:lnTo>
                <a:lnTo>
                  <a:pt x="0" y="1"/>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Forever Forma Body Text" pitchFamily="2" charset="0"/>
            </a:endParaRPr>
          </a:p>
        </p:txBody>
      </p:sp>
      <p:pic>
        <p:nvPicPr>
          <p:cNvPr id="8" name="logo sm" descr="Transamerica Logo">
            <a:extLst>
              <a:ext uri="{FF2B5EF4-FFF2-40B4-BE49-F238E27FC236}">
                <a16:creationId xmlns:a16="http://schemas.microsoft.com/office/drawing/2014/main" id="{F50AF79B-55C2-D55D-6201-BB3366488C4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799200" y="6053050"/>
            <a:ext cx="2138400" cy="804950"/>
          </a:xfrm>
          <a:prstGeom prst="rect">
            <a:avLst/>
          </a:prstGeom>
        </p:spPr>
      </p:pic>
      <p:sp>
        <p:nvSpPr>
          <p:cNvPr id="6" name="Title 5">
            <a:extLst>
              <a:ext uri="{FF2B5EF4-FFF2-40B4-BE49-F238E27FC236}">
                <a16:creationId xmlns:a16="http://schemas.microsoft.com/office/drawing/2014/main" id="{652D13E3-58BD-D104-4F90-BAC6FCDDB569}"/>
              </a:ext>
            </a:extLst>
          </p:cNvPr>
          <p:cNvSpPr>
            <a:spLocks noGrp="1"/>
          </p:cNvSpPr>
          <p:nvPr>
            <p:ph type="title"/>
          </p:nvPr>
        </p:nvSpPr>
        <p:spPr>
          <a:xfrm>
            <a:off x="521208" y="1269000"/>
            <a:ext cx="5106792" cy="4320000"/>
          </a:xfrm>
          <a:prstGeom prst="rect">
            <a:avLst/>
          </a:prstGeom>
        </p:spPr>
        <p:txBody>
          <a:bodyPr anchor="ctr" anchorCtr="0"/>
          <a:lstStyle/>
          <a:p>
            <a:r>
              <a:rPr lang="en-US"/>
              <a:t>Click to edit Master title style</a:t>
            </a:r>
          </a:p>
        </p:txBody>
      </p:sp>
      <p:sp>
        <p:nvSpPr>
          <p:cNvPr id="13" name="Text Placeholder 12">
            <a:extLst>
              <a:ext uri="{FF2B5EF4-FFF2-40B4-BE49-F238E27FC236}">
                <a16:creationId xmlns:a16="http://schemas.microsoft.com/office/drawing/2014/main" id="{98BA2B9A-D146-D79C-2973-FBA71B289A78}"/>
              </a:ext>
            </a:extLst>
          </p:cNvPr>
          <p:cNvSpPr>
            <a:spLocks noGrp="1"/>
          </p:cNvSpPr>
          <p:nvPr>
            <p:ph type="body" sz="quarter" idx="13"/>
          </p:nvPr>
        </p:nvSpPr>
        <p:spPr>
          <a:xfrm>
            <a:off x="6552000" y="1269000"/>
            <a:ext cx="5106792" cy="4320000"/>
          </a:xfrm>
          <a:prstGeom prst="rect">
            <a:avLst/>
          </a:prstGeom>
        </p:spPr>
        <p:txBody>
          <a:bodyPr anchor="ctr" anchorCtr="0"/>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Slide Number Placeholder 3">
            <a:extLst>
              <a:ext uri="{FF2B5EF4-FFF2-40B4-BE49-F238E27FC236}">
                <a16:creationId xmlns:a16="http://schemas.microsoft.com/office/drawing/2014/main" id="{A9F40096-D548-3E3A-1132-E6A716C6E5EB}"/>
              </a:ext>
              <a:ext uri="{C183D7F6-B498-43B3-948B-1728B52AA6E4}">
                <adec:decorative xmlns:adec="http://schemas.microsoft.com/office/drawing/2017/decorative" val="1"/>
              </a:ext>
            </a:extLst>
          </p:cNvPr>
          <p:cNvSpPr>
            <a:spLocks noGrp="1"/>
          </p:cNvSpPr>
          <p:nvPr>
            <p:ph type="sldNum" sz="quarter" idx="14"/>
          </p:nvPr>
        </p:nvSpPr>
        <p:spPr/>
        <p:txBody>
          <a:bodyPr/>
          <a:lstStyle/>
          <a:p>
            <a:fld id="{1C1606C5-D483-4832-A0E9-CF578A9B5883}" type="slidenum">
              <a:rPr lang="en-US" smtClean="0"/>
              <a:pPr/>
              <a:t>‹#›</a:t>
            </a:fld>
            <a:endParaRPr lang="en-US"/>
          </a:p>
        </p:txBody>
      </p:sp>
      <p:sp>
        <p:nvSpPr>
          <p:cNvPr id="7" name="footnotes">
            <a:extLst>
              <a:ext uri="{FF2B5EF4-FFF2-40B4-BE49-F238E27FC236}">
                <a16:creationId xmlns:a16="http://schemas.microsoft.com/office/drawing/2014/main" id="{DCA3043C-B828-E81E-3F43-ED0D5B85A799}"/>
              </a:ext>
            </a:extLst>
          </p:cNvPr>
          <p:cNvSpPr>
            <a:spLocks noGrp="1"/>
          </p:cNvSpPr>
          <p:nvPr>
            <p:ph type="body" sz="quarter" idx="15" hasCustomPrompt="1"/>
          </p:nvPr>
        </p:nvSpPr>
        <p:spPr>
          <a:xfrm>
            <a:off x="6552000" y="6049950"/>
            <a:ext cx="3247200"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25" name="Text Placeholder 7">
            <a:extLst>
              <a:ext uri="{FF2B5EF4-FFF2-40B4-BE49-F238E27FC236}">
                <a16:creationId xmlns:a16="http://schemas.microsoft.com/office/drawing/2014/main" id="{869CD14C-ACFE-0089-3EDC-C7AD3318ADD0}"/>
              </a:ext>
            </a:extLst>
          </p:cNvPr>
          <p:cNvSpPr>
            <a:spLocks noGrp="1"/>
          </p:cNvSpPr>
          <p:nvPr>
            <p:ph type="body" sz="quarter" idx="32" hasCustomPrompt="1"/>
          </p:nvPr>
        </p:nvSpPr>
        <p:spPr>
          <a:xfrm>
            <a:off x="10836865" y="246565"/>
            <a:ext cx="1014771" cy="298870"/>
          </a:xfrm>
          <a:prstGeom prst="rect">
            <a:avLst/>
          </a:prstGeom>
          <a:solidFill>
            <a:srgbClr val="1D2550"/>
          </a:solidFill>
        </p:spPr>
        <p:txBody>
          <a:bodyPr wrap="none" lIns="75600" tIns="75600" rIns="75600" bIns="75600" anchor="t"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188575259"/>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_Title, Content">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877FB60E-269D-2343-B232-06E0E3B65052}"/>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543400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877FB60E-269D-2343-B232-06E0E3B65052}"/>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1FC4E808-7203-4917-098B-02B3326D1865}"/>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E8DC4E14-4B7F-3052-254F-707D77C5CE26}"/>
              </a:ext>
            </a:extLst>
          </p:cNvPr>
          <p:cNvSpPr>
            <a:spLocks noGrp="1"/>
          </p:cNvSpPr>
          <p:nvPr>
            <p:ph idx="1"/>
          </p:nvPr>
        </p:nvSpPr>
        <p:spPr>
          <a:xfrm>
            <a:off x="521208" y="1412238"/>
            <a:ext cx="11149580" cy="4637712"/>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2" name="Slide Number Placeholder 11">
            <a:extLst>
              <a:ext uri="{FF2B5EF4-FFF2-40B4-BE49-F238E27FC236}">
                <a16:creationId xmlns:a16="http://schemas.microsoft.com/office/drawing/2014/main" id="{DF88F7BF-8BBB-5870-0AF6-9BEF5CC14584}"/>
              </a:ext>
              <a:ext uri="{C183D7F6-B498-43B3-948B-1728B52AA6E4}">
                <adec:decorative xmlns:adec="http://schemas.microsoft.com/office/drawing/2017/decorative" val="1"/>
              </a:ext>
            </a:extLst>
          </p:cNvPr>
          <p:cNvSpPr>
            <a:spLocks noGrp="1"/>
          </p:cNvSpPr>
          <p:nvPr>
            <p:ph type="sldNum" sz="quarter" idx="16"/>
          </p:nvPr>
        </p:nvSpPr>
        <p:spPr/>
        <p:txBody>
          <a:bodyPr bIns="309600"/>
          <a:lstStyle/>
          <a:p>
            <a:fld id="{1C1606C5-D483-4832-A0E9-CF578A9B5883}" type="slidenum">
              <a:rPr lang="en-US" smtClean="0"/>
              <a:pPr/>
              <a:t>‹#›</a:t>
            </a:fld>
            <a:endParaRPr lang="en-US"/>
          </a:p>
        </p:txBody>
      </p:sp>
      <p:sp>
        <p:nvSpPr>
          <p:cNvPr id="8" name="footnotes">
            <a:extLst>
              <a:ext uri="{FF2B5EF4-FFF2-40B4-BE49-F238E27FC236}">
                <a16:creationId xmlns:a16="http://schemas.microsoft.com/office/drawing/2014/main" id="{86D2E920-1478-BF4E-BF9B-40E30E354418}"/>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9" name="Text Placeholder 7">
            <a:extLst>
              <a:ext uri="{FF2B5EF4-FFF2-40B4-BE49-F238E27FC236}">
                <a16:creationId xmlns:a16="http://schemas.microsoft.com/office/drawing/2014/main" id="{BD41C567-C1EC-7043-BA46-29CF027385CF}"/>
              </a:ext>
            </a:extLst>
          </p:cNvPr>
          <p:cNvSpPr>
            <a:spLocks noGrp="1"/>
          </p:cNvSpPr>
          <p:nvPr>
            <p:ph type="body" sz="quarter" idx="19"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519917911"/>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3 Content">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21B19C6E-FCD2-6973-1596-E1E0CD0BA430}"/>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543400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21B19C6E-FCD2-6973-1596-E1E0CD0BA430}"/>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A14C2899-A934-081F-BC75-86BAF44CFE53}"/>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7B97EE82-108F-E33E-FCA1-952163EFB126}"/>
              </a:ext>
            </a:extLst>
          </p:cNvPr>
          <p:cNvSpPr>
            <a:spLocks noGrp="1"/>
          </p:cNvSpPr>
          <p:nvPr>
            <p:ph sz="half" idx="1"/>
          </p:nvPr>
        </p:nvSpPr>
        <p:spPr>
          <a:xfrm>
            <a:off x="521208" y="1414800"/>
            <a:ext cx="3558792" cy="463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4" name="Content Placeholder 2">
            <a:extLst>
              <a:ext uri="{FF2B5EF4-FFF2-40B4-BE49-F238E27FC236}">
                <a16:creationId xmlns:a16="http://schemas.microsoft.com/office/drawing/2014/main" id="{8A08A05F-F599-D65F-0774-0FDE3D73F400}"/>
              </a:ext>
            </a:extLst>
          </p:cNvPr>
          <p:cNvSpPr>
            <a:spLocks noGrp="1"/>
          </p:cNvSpPr>
          <p:nvPr>
            <p:ph sz="half" idx="16"/>
          </p:nvPr>
        </p:nvSpPr>
        <p:spPr>
          <a:xfrm>
            <a:off x="4316604" y="1414800"/>
            <a:ext cx="3558792" cy="463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1" name="Content Placeholder 3">
            <a:extLst>
              <a:ext uri="{FF2B5EF4-FFF2-40B4-BE49-F238E27FC236}">
                <a16:creationId xmlns:a16="http://schemas.microsoft.com/office/drawing/2014/main" id="{EBB2D415-F289-7C5C-4281-0729398A3964}"/>
              </a:ext>
            </a:extLst>
          </p:cNvPr>
          <p:cNvSpPr>
            <a:spLocks noGrp="1"/>
          </p:cNvSpPr>
          <p:nvPr>
            <p:ph sz="half" idx="13"/>
          </p:nvPr>
        </p:nvSpPr>
        <p:spPr>
          <a:xfrm>
            <a:off x="8112000" y="1414800"/>
            <a:ext cx="3558788" cy="463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Slide Number Placeholder 5">
            <a:extLst>
              <a:ext uri="{FF2B5EF4-FFF2-40B4-BE49-F238E27FC236}">
                <a16:creationId xmlns:a16="http://schemas.microsoft.com/office/drawing/2014/main" id="{128960BD-F0C7-CB79-37EA-DECF1205A71A}"/>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10" name="footnotes">
            <a:extLst>
              <a:ext uri="{FF2B5EF4-FFF2-40B4-BE49-F238E27FC236}">
                <a16:creationId xmlns:a16="http://schemas.microsoft.com/office/drawing/2014/main" id="{095E880A-4D81-1E45-BC2A-3791F6F0F440}"/>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2" name="Text Placeholder 7">
            <a:extLst>
              <a:ext uri="{FF2B5EF4-FFF2-40B4-BE49-F238E27FC236}">
                <a16:creationId xmlns:a16="http://schemas.microsoft.com/office/drawing/2014/main" id="{6F9B3FE7-460F-0A4A-91F8-4B2EE0269AD7}"/>
              </a:ext>
            </a:extLst>
          </p:cNvPr>
          <p:cNvSpPr>
            <a:spLocks noGrp="1"/>
          </p:cNvSpPr>
          <p:nvPr>
            <p:ph type="body" sz="quarter" idx="19"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1814551540"/>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3 Content">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15569BAF-680C-EB2B-B9A5-C6AA2407D54B}"/>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543400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15569BAF-680C-EB2B-B9A5-C6AA2407D54B}"/>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5C1E4060-4D83-76DD-1415-C18A2D22DED8}"/>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5" name="Subtitle 2">
            <a:extLst>
              <a:ext uri="{FF2B5EF4-FFF2-40B4-BE49-F238E27FC236}">
                <a16:creationId xmlns:a16="http://schemas.microsoft.com/office/drawing/2014/main" id="{8B0B60B6-D395-4EF1-4297-0B77BCD92F8A}"/>
              </a:ext>
            </a:extLst>
          </p:cNvPr>
          <p:cNvSpPr>
            <a:spLocks noGrp="1"/>
          </p:cNvSpPr>
          <p:nvPr>
            <p:ph type="body" sz="quarter" idx="16" hasCustomPrompt="1"/>
          </p:nvPr>
        </p:nvSpPr>
        <p:spPr>
          <a:xfrm>
            <a:off x="521208" y="1270518"/>
            <a:ext cx="11149580"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3" name="Content Placeholder 2">
            <a:extLst>
              <a:ext uri="{FF2B5EF4-FFF2-40B4-BE49-F238E27FC236}">
                <a16:creationId xmlns:a16="http://schemas.microsoft.com/office/drawing/2014/main" id="{7B97EE82-108F-E33E-FCA1-952163EFB126}"/>
              </a:ext>
            </a:extLst>
          </p:cNvPr>
          <p:cNvSpPr>
            <a:spLocks noGrp="1"/>
          </p:cNvSpPr>
          <p:nvPr>
            <p:ph sz="half" idx="1"/>
          </p:nvPr>
        </p:nvSpPr>
        <p:spPr>
          <a:xfrm>
            <a:off x="521208" y="1774800"/>
            <a:ext cx="3558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5" name="Content Placeholder 2">
            <a:extLst>
              <a:ext uri="{FF2B5EF4-FFF2-40B4-BE49-F238E27FC236}">
                <a16:creationId xmlns:a16="http://schemas.microsoft.com/office/drawing/2014/main" id="{B3BB040B-046C-E611-98DE-E997F5889100}"/>
              </a:ext>
            </a:extLst>
          </p:cNvPr>
          <p:cNvSpPr>
            <a:spLocks noGrp="1"/>
          </p:cNvSpPr>
          <p:nvPr>
            <p:ph sz="half" idx="18"/>
          </p:nvPr>
        </p:nvSpPr>
        <p:spPr>
          <a:xfrm>
            <a:off x="4316604" y="1774800"/>
            <a:ext cx="3558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1" name="Content Placeholder 3">
            <a:extLst>
              <a:ext uri="{FF2B5EF4-FFF2-40B4-BE49-F238E27FC236}">
                <a16:creationId xmlns:a16="http://schemas.microsoft.com/office/drawing/2014/main" id="{EBB2D415-F289-7C5C-4281-0729398A3964}"/>
              </a:ext>
            </a:extLst>
          </p:cNvPr>
          <p:cNvSpPr>
            <a:spLocks noGrp="1"/>
          </p:cNvSpPr>
          <p:nvPr>
            <p:ph sz="half" idx="13"/>
          </p:nvPr>
        </p:nvSpPr>
        <p:spPr>
          <a:xfrm>
            <a:off x="8112000" y="1774800"/>
            <a:ext cx="3558788"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6">
            <a:extLst>
              <a:ext uri="{FF2B5EF4-FFF2-40B4-BE49-F238E27FC236}">
                <a16:creationId xmlns:a16="http://schemas.microsoft.com/office/drawing/2014/main" id="{1677A015-CE51-197E-1602-0EA2F6226478}"/>
              </a:ext>
              <a:ext uri="{C183D7F6-B498-43B3-948B-1728B52AA6E4}">
                <adec:decorative xmlns:adec="http://schemas.microsoft.com/office/drawing/2017/decorative" val="1"/>
              </a:ext>
            </a:extLst>
          </p:cNvPr>
          <p:cNvSpPr>
            <a:spLocks noGrp="1"/>
          </p:cNvSpPr>
          <p:nvPr>
            <p:ph type="sldNum" sz="quarter" idx="17"/>
          </p:nvPr>
        </p:nvSpPr>
        <p:spPr/>
        <p:txBody>
          <a:bodyPr/>
          <a:lstStyle/>
          <a:p>
            <a:fld id="{1C1606C5-D483-4832-A0E9-CF578A9B5883}" type="slidenum">
              <a:rPr lang="en-US" smtClean="0"/>
              <a:pPr/>
              <a:t>‹#›</a:t>
            </a:fld>
            <a:endParaRPr lang="en-US"/>
          </a:p>
        </p:txBody>
      </p:sp>
      <p:sp>
        <p:nvSpPr>
          <p:cNvPr id="12" name="footnotes">
            <a:extLst>
              <a:ext uri="{FF2B5EF4-FFF2-40B4-BE49-F238E27FC236}">
                <a16:creationId xmlns:a16="http://schemas.microsoft.com/office/drawing/2014/main" id="{8DBC586A-F465-B046-AAD8-8FD2522407C1}"/>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3" name="Text Placeholder 7">
            <a:extLst>
              <a:ext uri="{FF2B5EF4-FFF2-40B4-BE49-F238E27FC236}">
                <a16:creationId xmlns:a16="http://schemas.microsoft.com/office/drawing/2014/main" id="{7DFCDCD5-4FB4-D943-8936-C6251A3EA7DF}"/>
              </a:ext>
            </a:extLst>
          </p:cNvPr>
          <p:cNvSpPr>
            <a:spLocks noGrp="1"/>
          </p:cNvSpPr>
          <p:nvPr>
            <p:ph type="body" sz="quarter" idx="19"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502294010"/>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3 Subheading, 3 Content">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A52B3549-8181-0A96-CDF7-B4367112C465}"/>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772431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A52B3549-8181-0A96-CDF7-B4367112C465}"/>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E71B424-BDB2-2268-094F-B0AE1BB4A800}"/>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15" name="Subtitle">
            <a:extLst>
              <a:ext uri="{FF2B5EF4-FFF2-40B4-BE49-F238E27FC236}">
                <a16:creationId xmlns:a16="http://schemas.microsoft.com/office/drawing/2014/main" id="{62823D89-483C-2ECD-F2D1-73981BD2E4EA}"/>
              </a:ext>
            </a:extLst>
          </p:cNvPr>
          <p:cNvSpPr>
            <a:spLocks noGrp="1"/>
          </p:cNvSpPr>
          <p:nvPr>
            <p:ph type="body" sz="quarter" idx="13" hasCustomPrompt="1"/>
          </p:nvPr>
        </p:nvSpPr>
        <p:spPr>
          <a:xfrm>
            <a:off x="521208" y="1414800"/>
            <a:ext cx="3558792" cy="324000"/>
          </a:xfrm>
          <a:prstGeom prst="rect">
            <a:avLst/>
          </a:prstGeom>
        </p:spPr>
        <p:txBody>
          <a:bodyPr>
            <a:noAutofit/>
          </a:bodyPr>
          <a:lstStyle>
            <a:lvl1pPr>
              <a:defRPr sz="2000" b="0" i="0">
                <a:latin typeface="+mj-lt"/>
              </a:defRPr>
            </a:lvl1pPr>
          </a:lstStyle>
          <a:p>
            <a:pPr lvl="0"/>
            <a:r>
              <a:rPr lang="en-US"/>
              <a:t>Click to edit subheading</a:t>
            </a:r>
          </a:p>
        </p:txBody>
      </p:sp>
      <p:sp>
        <p:nvSpPr>
          <p:cNvPr id="6" name="Content Placeholder 1">
            <a:extLst>
              <a:ext uri="{FF2B5EF4-FFF2-40B4-BE49-F238E27FC236}">
                <a16:creationId xmlns:a16="http://schemas.microsoft.com/office/drawing/2014/main" id="{F75B33A8-FAA2-0133-6BCA-F44F83E6176F}"/>
              </a:ext>
            </a:extLst>
          </p:cNvPr>
          <p:cNvSpPr>
            <a:spLocks noGrp="1"/>
          </p:cNvSpPr>
          <p:nvPr>
            <p:ph sz="half" idx="2"/>
          </p:nvPr>
        </p:nvSpPr>
        <p:spPr>
          <a:xfrm>
            <a:off x="521208" y="1774800"/>
            <a:ext cx="3558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2" name="Subtitle">
            <a:extLst>
              <a:ext uri="{FF2B5EF4-FFF2-40B4-BE49-F238E27FC236}">
                <a16:creationId xmlns:a16="http://schemas.microsoft.com/office/drawing/2014/main" id="{39FFDA01-0E69-8576-CD87-D86B699F6292}"/>
              </a:ext>
            </a:extLst>
          </p:cNvPr>
          <p:cNvSpPr>
            <a:spLocks noGrp="1"/>
          </p:cNvSpPr>
          <p:nvPr>
            <p:ph type="body" sz="quarter" idx="21" hasCustomPrompt="1"/>
          </p:nvPr>
        </p:nvSpPr>
        <p:spPr>
          <a:xfrm>
            <a:off x="4316604" y="1414800"/>
            <a:ext cx="3558792" cy="324000"/>
          </a:xfrm>
          <a:prstGeom prst="rect">
            <a:avLst/>
          </a:prstGeom>
        </p:spPr>
        <p:txBody>
          <a:bodyPr>
            <a:noAutofit/>
          </a:bodyPr>
          <a:lstStyle>
            <a:lvl1pPr>
              <a:defRPr sz="2000" b="0" i="0">
                <a:latin typeface="+mj-lt"/>
              </a:defRPr>
            </a:lvl1pPr>
          </a:lstStyle>
          <a:p>
            <a:pPr lvl="0"/>
            <a:r>
              <a:rPr lang="en-US"/>
              <a:t>Click to edit subheading</a:t>
            </a:r>
          </a:p>
        </p:txBody>
      </p:sp>
      <p:sp>
        <p:nvSpPr>
          <p:cNvPr id="13" name="Content Placeholder 1">
            <a:extLst>
              <a:ext uri="{FF2B5EF4-FFF2-40B4-BE49-F238E27FC236}">
                <a16:creationId xmlns:a16="http://schemas.microsoft.com/office/drawing/2014/main" id="{3328F5CA-269A-6C71-507E-693AFE3DA788}"/>
              </a:ext>
            </a:extLst>
          </p:cNvPr>
          <p:cNvSpPr>
            <a:spLocks noGrp="1"/>
          </p:cNvSpPr>
          <p:nvPr>
            <p:ph sz="half" idx="22"/>
          </p:nvPr>
        </p:nvSpPr>
        <p:spPr>
          <a:xfrm>
            <a:off x="4316604" y="1774800"/>
            <a:ext cx="3558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9" name="Subtitle 3">
            <a:extLst>
              <a:ext uri="{FF2B5EF4-FFF2-40B4-BE49-F238E27FC236}">
                <a16:creationId xmlns:a16="http://schemas.microsoft.com/office/drawing/2014/main" id="{A69FC165-B2C3-B2DC-96A0-A5120B0459F6}"/>
              </a:ext>
            </a:extLst>
          </p:cNvPr>
          <p:cNvSpPr>
            <a:spLocks noGrp="1"/>
          </p:cNvSpPr>
          <p:nvPr>
            <p:ph type="body" sz="quarter" idx="19" hasCustomPrompt="1"/>
          </p:nvPr>
        </p:nvSpPr>
        <p:spPr>
          <a:xfrm>
            <a:off x="8112000" y="1414800"/>
            <a:ext cx="3558788" cy="324000"/>
          </a:xfrm>
          <a:prstGeom prst="rect">
            <a:avLst/>
          </a:prstGeom>
        </p:spPr>
        <p:txBody>
          <a:bodyPr>
            <a:noAutofit/>
          </a:bodyPr>
          <a:lstStyle>
            <a:lvl1pPr>
              <a:defRPr sz="2000" b="0" i="0">
                <a:latin typeface="+mj-lt"/>
              </a:defRPr>
            </a:lvl1pPr>
          </a:lstStyle>
          <a:p>
            <a:pPr lvl="0"/>
            <a:r>
              <a:rPr lang="en-US"/>
              <a:t>Click to edit subheading</a:t>
            </a:r>
          </a:p>
        </p:txBody>
      </p:sp>
      <p:sp>
        <p:nvSpPr>
          <p:cNvPr id="18" name="Content Placeholder 3">
            <a:extLst>
              <a:ext uri="{FF2B5EF4-FFF2-40B4-BE49-F238E27FC236}">
                <a16:creationId xmlns:a16="http://schemas.microsoft.com/office/drawing/2014/main" id="{11C4BD18-7B3B-2848-2565-0B55EC5215D7}"/>
              </a:ext>
            </a:extLst>
          </p:cNvPr>
          <p:cNvSpPr>
            <a:spLocks noGrp="1"/>
          </p:cNvSpPr>
          <p:nvPr>
            <p:ph sz="half" idx="18"/>
          </p:nvPr>
        </p:nvSpPr>
        <p:spPr>
          <a:xfrm>
            <a:off x="8112000" y="1774800"/>
            <a:ext cx="3558788"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3" name="Slide Number Placeholder 2">
            <a:extLst>
              <a:ext uri="{FF2B5EF4-FFF2-40B4-BE49-F238E27FC236}">
                <a16:creationId xmlns:a16="http://schemas.microsoft.com/office/drawing/2014/main" id="{1A9B4F56-3A67-F5E4-3A03-9374FF5C3EC7}"/>
              </a:ext>
              <a:ext uri="{C183D7F6-B498-43B3-948B-1728B52AA6E4}">
                <adec:decorative xmlns:adec="http://schemas.microsoft.com/office/drawing/2017/decorative" val="1"/>
              </a:ext>
            </a:extLst>
          </p:cNvPr>
          <p:cNvSpPr>
            <a:spLocks noGrp="1"/>
          </p:cNvSpPr>
          <p:nvPr>
            <p:ph type="sldNum" sz="quarter" idx="20"/>
          </p:nvPr>
        </p:nvSpPr>
        <p:spPr/>
        <p:txBody>
          <a:bodyPr/>
          <a:lstStyle/>
          <a:p>
            <a:fld id="{1C1606C5-D483-4832-A0E9-CF578A9B5883}" type="slidenum">
              <a:rPr lang="en-US" smtClean="0"/>
              <a:pPr/>
              <a:t>‹#›</a:t>
            </a:fld>
            <a:endParaRPr lang="en-US"/>
          </a:p>
        </p:txBody>
      </p:sp>
      <p:sp>
        <p:nvSpPr>
          <p:cNvPr id="14" name="footnotes">
            <a:extLst>
              <a:ext uri="{FF2B5EF4-FFF2-40B4-BE49-F238E27FC236}">
                <a16:creationId xmlns:a16="http://schemas.microsoft.com/office/drawing/2014/main" id="{368E3CD6-82EC-C743-9FF7-3DD2005F6996}"/>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6" name="Text Placeholder 7">
            <a:extLst>
              <a:ext uri="{FF2B5EF4-FFF2-40B4-BE49-F238E27FC236}">
                <a16:creationId xmlns:a16="http://schemas.microsoft.com/office/drawing/2014/main" id="{C485DB5B-EF8F-3E4D-845B-3EDA8EC84D1F}"/>
              </a:ext>
            </a:extLst>
          </p:cNvPr>
          <p:cNvSpPr>
            <a:spLocks noGrp="1"/>
          </p:cNvSpPr>
          <p:nvPr>
            <p:ph type="body" sz="quarter" idx="23"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6848944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4 Content">
    <p:spTree>
      <p:nvGrpSpPr>
        <p:cNvPr id="1" name=""/>
        <p:cNvGrpSpPr/>
        <p:nvPr/>
      </p:nvGrpSpPr>
      <p:grpSpPr>
        <a:xfrm>
          <a:off x="0" y="0"/>
          <a:ext cx="0" cy="0"/>
          <a:chOff x="0" y="0"/>
          <a:chExt cx="0" cy="0"/>
        </a:xfrm>
      </p:grpSpPr>
      <p:graphicFrame>
        <p:nvGraphicFramePr>
          <p:cNvPr id="90" name="think-cell data - do not delete">
            <a:extLst>
              <a:ext uri="{FF2B5EF4-FFF2-40B4-BE49-F238E27FC236}">
                <a16:creationId xmlns:a16="http://schemas.microsoft.com/office/drawing/2014/main" id="{E8818429-C388-B7D5-0265-DF9D9C1030A5}"/>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973229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0" name="think-cell data - do not delete">
                        <a:extLst>
                          <a:ext uri="{FF2B5EF4-FFF2-40B4-BE49-F238E27FC236}">
                            <a16:creationId xmlns:a16="http://schemas.microsoft.com/office/drawing/2014/main" id="{E8818429-C388-B7D5-0265-DF9D9C1030A5}"/>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63CAB56-8C0D-6EB5-24F2-15D7836AA6CA}"/>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7B97EE82-108F-E33E-FCA1-952163EFB126}"/>
              </a:ext>
            </a:extLst>
          </p:cNvPr>
          <p:cNvSpPr>
            <a:spLocks noGrp="1"/>
          </p:cNvSpPr>
          <p:nvPr>
            <p:ph sz="half" idx="1"/>
          </p:nvPr>
        </p:nvSpPr>
        <p:spPr>
          <a:xfrm>
            <a:off x="521208" y="1414800"/>
            <a:ext cx="2406792" cy="463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Content Placeholder 2">
            <a:extLst>
              <a:ext uri="{FF2B5EF4-FFF2-40B4-BE49-F238E27FC236}">
                <a16:creationId xmlns:a16="http://schemas.microsoft.com/office/drawing/2014/main" id="{598B8EEC-2600-FB10-64B6-A466BF1E8D61}"/>
              </a:ext>
            </a:extLst>
          </p:cNvPr>
          <p:cNvSpPr>
            <a:spLocks noGrp="1"/>
          </p:cNvSpPr>
          <p:nvPr>
            <p:ph sz="half" idx="19"/>
          </p:nvPr>
        </p:nvSpPr>
        <p:spPr>
          <a:xfrm>
            <a:off x="3435471" y="1414800"/>
            <a:ext cx="2406792" cy="463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8" name="Content Placeholder 2">
            <a:extLst>
              <a:ext uri="{FF2B5EF4-FFF2-40B4-BE49-F238E27FC236}">
                <a16:creationId xmlns:a16="http://schemas.microsoft.com/office/drawing/2014/main" id="{30512B79-985C-F042-7532-B1D9285E9475}"/>
              </a:ext>
            </a:extLst>
          </p:cNvPr>
          <p:cNvSpPr>
            <a:spLocks noGrp="1"/>
          </p:cNvSpPr>
          <p:nvPr>
            <p:ph sz="half" idx="20"/>
          </p:nvPr>
        </p:nvSpPr>
        <p:spPr>
          <a:xfrm>
            <a:off x="6349734" y="1414800"/>
            <a:ext cx="2406792" cy="463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0" name="Content Placeholder 2">
            <a:extLst>
              <a:ext uri="{FF2B5EF4-FFF2-40B4-BE49-F238E27FC236}">
                <a16:creationId xmlns:a16="http://schemas.microsoft.com/office/drawing/2014/main" id="{FF977E2B-938E-4B5F-EA0C-48A3D503D579}"/>
              </a:ext>
            </a:extLst>
          </p:cNvPr>
          <p:cNvSpPr>
            <a:spLocks noGrp="1"/>
          </p:cNvSpPr>
          <p:nvPr>
            <p:ph sz="half" idx="21"/>
          </p:nvPr>
        </p:nvSpPr>
        <p:spPr>
          <a:xfrm>
            <a:off x="9263996" y="1414800"/>
            <a:ext cx="2406792" cy="463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6">
            <a:extLst>
              <a:ext uri="{FF2B5EF4-FFF2-40B4-BE49-F238E27FC236}">
                <a16:creationId xmlns:a16="http://schemas.microsoft.com/office/drawing/2014/main" id="{4CC0A89E-E2C9-833D-7637-2B5BF99642BA}"/>
              </a:ext>
              <a:ext uri="{C183D7F6-B498-43B3-948B-1728B52AA6E4}">
                <adec:decorative xmlns:adec="http://schemas.microsoft.com/office/drawing/2017/decorative" val="1"/>
              </a:ext>
            </a:extLst>
          </p:cNvPr>
          <p:cNvSpPr>
            <a:spLocks noGrp="1"/>
          </p:cNvSpPr>
          <p:nvPr>
            <p:ph type="sldNum" sz="quarter" idx="18"/>
          </p:nvPr>
        </p:nvSpPr>
        <p:spPr/>
        <p:txBody>
          <a:bodyPr/>
          <a:lstStyle/>
          <a:p>
            <a:fld id="{1C1606C5-D483-4832-A0E9-CF578A9B5883}" type="slidenum">
              <a:rPr lang="en-US" smtClean="0"/>
              <a:pPr/>
              <a:t>‹#›</a:t>
            </a:fld>
            <a:endParaRPr lang="en-US"/>
          </a:p>
        </p:txBody>
      </p:sp>
      <p:sp>
        <p:nvSpPr>
          <p:cNvPr id="11" name="footnotes">
            <a:extLst>
              <a:ext uri="{FF2B5EF4-FFF2-40B4-BE49-F238E27FC236}">
                <a16:creationId xmlns:a16="http://schemas.microsoft.com/office/drawing/2014/main" id="{6BB700E4-54E2-4D46-A759-DF7FABAF9F7C}"/>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2" name="Text Placeholder 7">
            <a:extLst>
              <a:ext uri="{FF2B5EF4-FFF2-40B4-BE49-F238E27FC236}">
                <a16:creationId xmlns:a16="http://schemas.microsoft.com/office/drawing/2014/main" id="{4F2806D6-B9E1-0A4A-886F-0D474559A517}"/>
              </a:ext>
            </a:extLst>
          </p:cNvPr>
          <p:cNvSpPr>
            <a:spLocks noGrp="1"/>
          </p:cNvSpPr>
          <p:nvPr>
            <p:ph type="body" sz="quarter" idx="22"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964817633"/>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title, 4 Content">
    <p:spTree>
      <p:nvGrpSpPr>
        <p:cNvPr id="1" name=""/>
        <p:cNvGrpSpPr/>
        <p:nvPr/>
      </p:nvGrpSpPr>
      <p:grpSpPr>
        <a:xfrm>
          <a:off x="0" y="0"/>
          <a:ext cx="0" cy="0"/>
          <a:chOff x="0" y="0"/>
          <a:chExt cx="0" cy="0"/>
        </a:xfrm>
      </p:grpSpPr>
      <p:graphicFrame>
        <p:nvGraphicFramePr>
          <p:cNvPr id="13" name="think-cell data - do not delete">
            <a:extLst>
              <a:ext uri="{FF2B5EF4-FFF2-40B4-BE49-F238E27FC236}">
                <a16:creationId xmlns:a16="http://schemas.microsoft.com/office/drawing/2014/main" id="{11E6F775-1596-5E4A-C305-9630A2C28693}"/>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30465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think-cell data - do not delete">
                        <a:extLst>
                          <a:ext uri="{FF2B5EF4-FFF2-40B4-BE49-F238E27FC236}">
                            <a16:creationId xmlns:a16="http://schemas.microsoft.com/office/drawing/2014/main" id="{11E6F775-1596-5E4A-C305-9630A2C28693}"/>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BD543664-2D88-0164-4F63-BE9A4EE685CB}"/>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5" name="Subtitle 2">
            <a:extLst>
              <a:ext uri="{FF2B5EF4-FFF2-40B4-BE49-F238E27FC236}">
                <a16:creationId xmlns:a16="http://schemas.microsoft.com/office/drawing/2014/main" id="{8B0B60B6-D395-4EF1-4297-0B77BCD92F8A}"/>
              </a:ext>
            </a:extLst>
          </p:cNvPr>
          <p:cNvSpPr>
            <a:spLocks noGrp="1"/>
          </p:cNvSpPr>
          <p:nvPr>
            <p:ph type="body" sz="quarter" idx="16" hasCustomPrompt="1"/>
          </p:nvPr>
        </p:nvSpPr>
        <p:spPr>
          <a:xfrm>
            <a:off x="521208" y="1270518"/>
            <a:ext cx="11149580"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3" name="Content Placeholder 2">
            <a:extLst>
              <a:ext uri="{FF2B5EF4-FFF2-40B4-BE49-F238E27FC236}">
                <a16:creationId xmlns:a16="http://schemas.microsoft.com/office/drawing/2014/main" id="{7B97EE82-108F-E33E-FCA1-952163EFB126}"/>
              </a:ext>
            </a:extLst>
          </p:cNvPr>
          <p:cNvSpPr>
            <a:spLocks noGrp="1"/>
          </p:cNvSpPr>
          <p:nvPr>
            <p:ph sz="half" idx="1"/>
          </p:nvPr>
        </p:nvSpPr>
        <p:spPr>
          <a:xfrm>
            <a:off x="521208" y="1774800"/>
            <a:ext cx="240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 name="Content Placeholder 2">
            <a:extLst>
              <a:ext uri="{FF2B5EF4-FFF2-40B4-BE49-F238E27FC236}">
                <a16:creationId xmlns:a16="http://schemas.microsoft.com/office/drawing/2014/main" id="{0DAB10E2-0651-E701-13EA-507B41DA05DB}"/>
              </a:ext>
            </a:extLst>
          </p:cNvPr>
          <p:cNvSpPr>
            <a:spLocks noGrp="1"/>
          </p:cNvSpPr>
          <p:nvPr>
            <p:ph sz="half" idx="19"/>
          </p:nvPr>
        </p:nvSpPr>
        <p:spPr>
          <a:xfrm>
            <a:off x="3435471" y="1774800"/>
            <a:ext cx="240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Content Placeholder 2">
            <a:extLst>
              <a:ext uri="{FF2B5EF4-FFF2-40B4-BE49-F238E27FC236}">
                <a16:creationId xmlns:a16="http://schemas.microsoft.com/office/drawing/2014/main" id="{2CD7B81C-2B3B-07A0-9F4C-7BE942EEF786}"/>
              </a:ext>
            </a:extLst>
          </p:cNvPr>
          <p:cNvSpPr>
            <a:spLocks noGrp="1"/>
          </p:cNvSpPr>
          <p:nvPr>
            <p:ph sz="half" idx="20"/>
          </p:nvPr>
        </p:nvSpPr>
        <p:spPr>
          <a:xfrm>
            <a:off x="6349734" y="1774800"/>
            <a:ext cx="240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2" name="Content Placeholder 2">
            <a:extLst>
              <a:ext uri="{FF2B5EF4-FFF2-40B4-BE49-F238E27FC236}">
                <a16:creationId xmlns:a16="http://schemas.microsoft.com/office/drawing/2014/main" id="{E50460C7-3EA9-9230-939B-C7B528491EFE}"/>
              </a:ext>
            </a:extLst>
          </p:cNvPr>
          <p:cNvSpPr>
            <a:spLocks noGrp="1"/>
          </p:cNvSpPr>
          <p:nvPr>
            <p:ph sz="half" idx="21"/>
          </p:nvPr>
        </p:nvSpPr>
        <p:spPr>
          <a:xfrm>
            <a:off x="9263996" y="1774800"/>
            <a:ext cx="240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9" name="Slide Number Placeholder 8">
            <a:extLst>
              <a:ext uri="{FF2B5EF4-FFF2-40B4-BE49-F238E27FC236}">
                <a16:creationId xmlns:a16="http://schemas.microsoft.com/office/drawing/2014/main" id="{2EBA96EF-9513-2878-46AE-5A9AC62EE7BD}"/>
              </a:ext>
              <a:ext uri="{C183D7F6-B498-43B3-948B-1728B52AA6E4}">
                <adec:decorative xmlns:adec="http://schemas.microsoft.com/office/drawing/2017/decorative" val="1"/>
              </a:ext>
            </a:extLst>
          </p:cNvPr>
          <p:cNvSpPr>
            <a:spLocks noGrp="1"/>
          </p:cNvSpPr>
          <p:nvPr>
            <p:ph type="sldNum" sz="quarter" idx="18"/>
          </p:nvPr>
        </p:nvSpPr>
        <p:spPr/>
        <p:txBody>
          <a:bodyPr/>
          <a:lstStyle/>
          <a:p>
            <a:fld id="{1C1606C5-D483-4832-A0E9-CF578A9B5883}" type="slidenum">
              <a:rPr lang="en-US" smtClean="0"/>
              <a:pPr/>
              <a:t>‹#›</a:t>
            </a:fld>
            <a:endParaRPr lang="en-US"/>
          </a:p>
        </p:txBody>
      </p:sp>
      <p:sp>
        <p:nvSpPr>
          <p:cNvPr id="14" name="footnotes">
            <a:extLst>
              <a:ext uri="{FF2B5EF4-FFF2-40B4-BE49-F238E27FC236}">
                <a16:creationId xmlns:a16="http://schemas.microsoft.com/office/drawing/2014/main" id="{5689222E-7B72-AB45-A466-6058A8C61F4C}"/>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5" name="Text Placeholder 7">
            <a:extLst>
              <a:ext uri="{FF2B5EF4-FFF2-40B4-BE49-F238E27FC236}">
                <a16:creationId xmlns:a16="http://schemas.microsoft.com/office/drawing/2014/main" id="{3E557B85-38CC-094F-8F4E-5823ED93D48D}"/>
              </a:ext>
            </a:extLst>
          </p:cNvPr>
          <p:cNvSpPr>
            <a:spLocks noGrp="1"/>
          </p:cNvSpPr>
          <p:nvPr>
            <p:ph type="body" sz="quarter" idx="22"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181044525"/>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4 Subheading, 4 Content">
    <p:spTree>
      <p:nvGrpSpPr>
        <p:cNvPr id="1" name=""/>
        <p:cNvGrpSpPr/>
        <p:nvPr/>
      </p:nvGrpSpPr>
      <p:grpSpPr>
        <a:xfrm>
          <a:off x="0" y="0"/>
          <a:ext cx="0" cy="0"/>
          <a:chOff x="0" y="0"/>
          <a:chExt cx="0" cy="0"/>
        </a:xfrm>
      </p:grpSpPr>
      <p:graphicFrame>
        <p:nvGraphicFramePr>
          <p:cNvPr id="10" name="think-cell data - do not delete">
            <a:extLst>
              <a:ext uri="{FF2B5EF4-FFF2-40B4-BE49-F238E27FC236}">
                <a16:creationId xmlns:a16="http://schemas.microsoft.com/office/drawing/2014/main" id="{A16CC507-302A-E9C0-6D9D-973A97B4D1EE}"/>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772431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0" name="think-cell data - do not delete">
                        <a:extLst>
                          <a:ext uri="{FF2B5EF4-FFF2-40B4-BE49-F238E27FC236}">
                            <a16:creationId xmlns:a16="http://schemas.microsoft.com/office/drawing/2014/main" id="{A16CC507-302A-E9C0-6D9D-973A97B4D1EE}"/>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Title 21">
            <a:extLst>
              <a:ext uri="{FF2B5EF4-FFF2-40B4-BE49-F238E27FC236}">
                <a16:creationId xmlns:a16="http://schemas.microsoft.com/office/drawing/2014/main" id="{75E58743-AE22-3B0A-5EC6-6D8FA6A1286F}"/>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15" name="Subtitle">
            <a:extLst>
              <a:ext uri="{FF2B5EF4-FFF2-40B4-BE49-F238E27FC236}">
                <a16:creationId xmlns:a16="http://schemas.microsoft.com/office/drawing/2014/main" id="{62823D89-483C-2ECD-F2D1-73981BD2E4EA}"/>
              </a:ext>
            </a:extLst>
          </p:cNvPr>
          <p:cNvSpPr>
            <a:spLocks noGrp="1"/>
          </p:cNvSpPr>
          <p:nvPr>
            <p:ph type="body" sz="quarter" idx="13" hasCustomPrompt="1"/>
          </p:nvPr>
        </p:nvSpPr>
        <p:spPr>
          <a:xfrm>
            <a:off x="521208" y="1414800"/>
            <a:ext cx="2406792" cy="324000"/>
          </a:xfrm>
          <a:prstGeom prst="rect">
            <a:avLst/>
          </a:prstGeom>
        </p:spPr>
        <p:txBody>
          <a:bodyPr>
            <a:noAutofit/>
          </a:bodyPr>
          <a:lstStyle>
            <a:lvl1pPr>
              <a:defRPr sz="2000" b="0" i="0">
                <a:latin typeface="+mj-lt"/>
              </a:defRPr>
            </a:lvl1pPr>
          </a:lstStyle>
          <a:p>
            <a:pPr lvl="0"/>
            <a:r>
              <a:rPr lang="en-US"/>
              <a:t>Edit subheading</a:t>
            </a:r>
          </a:p>
        </p:txBody>
      </p:sp>
      <p:sp>
        <p:nvSpPr>
          <p:cNvPr id="6" name="Content Placeholder 1">
            <a:extLst>
              <a:ext uri="{FF2B5EF4-FFF2-40B4-BE49-F238E27FC236}">
                <a16:creationId xmlns:a16="http://schemas.microsoft.com/office/drawing/2014/main" id="{F75B33A8-FAA2-0133-6BCA-F44F83E6176F}"/>
              </a:ext>
            </a:extLst>
          </p:cNvPr>
          <p:cNvSpPr>
            <a:spLocks noGrp="1"/>
          </p:cNvSpPr>
          <p:nvPr>
            <p:ph sz="half" idx="2"/>
          </p:nvPr>
        </p:nvSpPr>
        <p:spPr>
          <a:xfrm>
            <a:off x="521208" y="1774800"/>
            <a:ext cx="240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3" name="Subtitle">
            <a:extLst>
              <a:ext uri="{FF2B5EF4-FFF2-40B4-BE49-F238E27FC236}">
                <a16:creationId xmlns:a16="http://schemas.microsoft.com/office/drawing/2014/main" id="{402D1A02-0EB3-1BCB-C072-BF7CBE0C80EE}"/>
              </a:ext>
            </a:extLst>
          </p:cNvPr>
          <p:cNvSpPr>
            <a:spLocks noGrp="1"/>
          </p:cNvSpPr>
          <p:nvPr>
            <p:ph type="body" sz="quarter" idx="23" hasCustomPrompt="1"/>
          </p:nvPr>
        </p:nvSpPr>
        <p:spPr>
          <a:xfrm>
            <a:off x="3435472" y="1414800"/>
            <a:ext cx="2406792" cy="324000"/>
          </a:xfrm>
          <a:prstGeom prst="rect">
            <a:avLst/>
          </a:prstGeom>
        </p:spPr>
        <p:txBody>
          <a:bodyPr>
            <a:noAutofit/>
          </a:bodyPr>
          <a:lstStyle>
            <a:lvl1pPr>
              <a:defRPr sz="2000" b="0" i="0">
                <a:latin typeface="+mj-lt"/>
              </a:defRPr>
            </a:lvl1pPr>
          </a:lstStyle>
          <a:p>
            <a:pPr lvl="0"/>
            <a:r>
              <a:rPr lang="en-US"/>
              <a:t>Edit subheading</a:t>
            </a:r>
          </a:p>
        </p:txBody>
      </p:sp>
      <p:sp>
        <p:nvSpPr>
          <p:cNvPr id="11" name="Content Placeholder 1">
            <a:extLst>
              <a:ext uri="{FF2B5EF4-FFF2-40B4-BE49-F238E27FC236}">
                <a16:creationId xmlns:a16="http://schemas.microsoft.com/office/drawing/2014/main" id="{AD0199E7-31A8-43A7-5609-E4969FFCF644}"/>
              </a:ext>
            </a:extLst>
          </p:cNvPr>
          <p:cNvSpPr>
            <a:spLocks noGrp="1"/>
          </p:cNvSpPr>
          <p:nvPr>
            <p:ph sz="half" idx="26"/>
          </p:nvPr>
        </p:nvSpPr>
        <p:spPr>
          <a:xfrm>
            <a:off x="3435471" y="1774800"/>
            <a:ext cx="240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0" name="Subtitle">
            <a:extLst>
              <a:ext uri="{FF2B5EF4-FFF2-40B4-BE49-F238E27FC236}">
                <a16:creationId xmlns:a16="http://schemas.microsoft.com/office/drawing/2014/main" id="{2B252453-CF4A-3C5D-04E6-C7FFB1426E85}"/>
              </a:ext>
            </a:extLst>
          </p:cNvPr>
          <p:cNvSpPr>
            <a:spLocks noGrp="1"/>
          </p:cNvSpPr>
          <p:nvPr>
            <p:ph type="body" sz="quarter" idx="25" hasCustomPrompt="1"/>
          </p:nvPr>
        </p:nvSpPr>
        <p:spPr>
          <a:xfrm>
            <a:off x="6349736" y="1414800"/>
            <a:ext cx="2406792" cy="324000"/>
          </a:xfrm>
          <a:prstGeom prst="rect">
            <a:avLst/>
          </a:prstGeom>
        </p:spPr>
        <p:txBody>
          <a:bodyPr>
            <a:noAutofit/>
          </a:bodyPr>
          <a:lstStyle>
            <a:lvl1pPr>
              <a:defRPr sz="2000" b="0" i="0">
                <a:latin typeface="+mj-lt"/>
              </a:defRPr>
            </a:lvl1pPr>
          </a:lstStyle>
          <a:p>
            <a:pPr lvl="0"/>
            <a:r>
              <a:rPr lang="en-US"/>
              <a:t>Edit subheading</a:t>
            </a:r>
          </a:p>
        </p:txBody>
      </p:sp>
      <p:sp>
        <p:nvSpPr>
          <p:cNvPr id="12" name="Content Placeholder 1">
            <a:extLst>
              <a:ext uri="{FF2B5EF4-FFF2-40B4-BE49-F238E27FC236}">
                <a16:creationId xmlns:a16="http://schemas.microsoft.com/office/drawing/2014/main" id="{C1073322-FA58-0038-DC13-A4D257C917DD}"/>
              </a:ext>
            </a:extLst>
          </p:cNvPr>
          <p:cNvSpPr>
            <a:spLocks noGrp="1"/>
          </p:cNvSpPr>
          <p:nvPr>
            <p:ph sz="half" idx="27"/>
          </p:nvPr>
        </p:nvSpPr>
        <p:spPr>
          <a:xfrm>
            <a:off x="6349734" y="1774800"/>
            <a:ext cx="240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3" name="Subtitle 4">
            <a:extLst>
              <a:ext uri="{FF2B5EF4-FFF2-40B4-BE49-F238E27FC236}">
                <a16:creationId xmlns:a16="http://schemas.microsoft.com/office/drawing/2014/main" id="{121FB801-4E2A-ABDF-3254-442CE3D890DA}"/>
              </a:ext>
            </a:extLst>
          </p:cNvPr>
          <p:cNvSpPr>
            <a:spLocks noGrp="1"/>
          </p:cNvSpPr>
          <p:nvPr>
            <p:ph type="body" sz="quarter" idx="21" hasCustomPrompt="1"/>
          </p:nvPr>
        </p:nvSpPr>
        <p:spPr>
          <a:xfrm>
            <a:off x="9264000" y="1414800"/>
            <a:ext cx="2406788" cy="324000"/>
          </a:xfrm>
          <a:prstGeom prst="rect">
            <a:avLst/>
          </a:prstGeom>
        </p:spPr>
        <p:txBody>
          <a:bodyPr>
            <a:noAutofit/>
          </a:bodyPr>
          <a:lstStyle>
            <a:lvl1pPr>
              <a:defRPr sz="2000" b="0" i="0">
                <a:latin typeface="+mj-lt"/>
              </a:defRPr>
            </a:lvl1pPr>
          </a:lstStyle>
          <a:p>
            <a:pPr lvl="0"/>
            <a:r>
              <a:rPr lang="en-US"/>
              <a:t>Edit subheading</a:t>
            </a:r>
          </a:p>
        </p:txBody>
      </p:sp>
      <p:sp>
        <p:nvSpPr>
          <p:cNvPr id="16" name="Content Placeholder 1">
            <a:extLst>
              <a:ext uri="{FF2B5EF4-FFF2-40B4-BE49-F238E27FC236}">
                <a16:creationId xmlns:a16="http://schemas.microsoft.com/office/drawing/2014/main" id="{939B9045-B86F-B46C-C427-31068748426F}"/>
              </a:ext>
            </a:extLst>
          </p:cNvPr>
          <p:cNvSpPr>
            <a:spLocks noGrp="1"/>
          </p:cNvSpPr>
          <p:nvPr>
            <p:ph sz="half" idx="28"/>
          </p:nvPr>
        </p:nvSpPr>
        <p:spPr>
          <a:xfrm>
            <a:off x="9263996" y="1774800"/>
            <a:ext cx="240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8" name="Slide Number Placeholder 7">
            <a:extLst>
              <a:ext uri="{FF2B5EF4-FFF2-40B4-BE49-F238E27FC236}">
                <a16:creationId xmlns:a16="http://schemas.microsoft.com/office/drawing/2014/main" id="{18F17C0F-5720-1671-F62E-824A83BCC3F9}"/>
              </a:ext>
              <a:ext uri="{C183D7F6-B498-43B3-948B-1728B52AA6E4}">
                <adec:decorative xmlns:adec="http://schemas.microsoft.com/office/drawing/2017/decorative" val="1"/>
              </a:ext>
            </a:extLst>
          </p:cNvPr>
          <p:cNvSpPr>
            <a:spLocks noGrp="1"/>
          </p:cNvSpPr>
          <p:nvPr>
            <p:ph type="sldNum" sz="quarter" idx="22"/>
          </p:nvPr>
        </p:nvSpPr>
        <p:spPr/>
        <p:txBody>
          <a:bodyPr/>
          <a:lstStyle/>
          <a:p>
            <a:fld id="{1C1606C5-D483-4832-A0E9-CF578A9B5883}" type="slidenum">
              <a:rPr lang="en-US" smtClean="0"/>
              <a:pPr/>
              <a:t>‹#›</a:t>
            </a:fld>
            <a:endParaRPr lang="en-US"/>
          </a:p>
        </p:txBody>
      </p:sp>
      <p:sp>
        <p:nvSpPr>
          <p:cNvPr id="17" name="footnotes">
            <a:extLst>
              <a:ext uri="{FF2B5EF4-FFF2-40B4-BE49-F238E27FC236}">
                <a16:creationId xmlns:a16="http://schemas.microsoft.com/office/drawing/2014/main" id="{0AFFA1BF-02BA-2E41-9466-47A875621B7C}"/>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8" name="Text Placeholder 7">
            <a:extLst>
              <a:ext uri="{FF2B5EF4-FFF2-40B4-BE49-F238E27FC236}">
                <a16:creationId xmlns:a16="http://schemas.microsoft.com/office/drawing/2014/main" id="{1F7BA86E-075D-F745-B271-285E3D54AB26}"/>
              </a:ext>
            </a:extLst>
          </p:cNvPr>
          <p:cNvSpPr>
            <a:spLocks noGrp="1"/>
          </p:cNvSpPr>
          <p:nvPr>
            <p:ph type="body" sz="quarter" idx="19"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530947517"/>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2 Content - Left Callout">
    <p:spTree>
      <p:nvGrpSpPr>
        <p:cNvPr id="1" name=""/>
        <p:cNvGrpSpPr/>
        <p:nvPr/>
      </p:nvGrpSpPr>
      <p:grpSpPr>
        <a:xfrm>
          <a:off x="0" y="0"/>
          <a:ext cx="0" cy="0"/>
          <a:chOff x="0" y="0"/>
          <a:chExt cx="0" cy="0"/>
        </a:xfrm>
      </p:grpSpPr>
      <p:graphicFrame>
        <p:nvGraphicFramePr>
          <p:cNvPr id="7" name="think-cell data - do not delete">
            <a:extLst>
              <a:ext uri="{FF2B5EF4-FFF2-40B4-BE49-F238E27FC236}">
                <a16:creationId xmlns:a16="http://schemas.microsoft.com/office/drawing/2014/main" id="{227FEF2E-9950-51E4-68D8-5653B8A7658C}"/>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37845713"/>
              </p:ext>
            </p:extLst>
          </p:nvPr>
        </p:nvGraphicFramePr>
        <p:xfrm>
          <a:off x="153988" y="1539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7" name="think-cell data - do not delete">
                        <a:extLst>
                          <a:ext uri="{FF2B5EF4-FFF2-40B4-BE49-F238E27FC236}">
                            <a16:creationId xmlns:a16="http://schemas.microsoft.com/office/drawing/2014/main" id="{227FEF2E-9950-51E4-68D8-5653B8A7658C}"/>
                          </a:ext>
                          <a:ext uri="{C183D7F6-B498-43B3-948B-1728B52AA6E4}">
                            <adec:decorative xmlns:adec="http://schemas.microsoft.com/office/drawing/2017/decorative" val="1"/>
                          </a:ext>
                        </a:extLst>
                      </p:cNvPr>
                      <p:cNvPicPr/>
                      <p:nvPr/>
                    </p:nvPicPr>
                    <p:blipFill>
                      <a:blip r:embed="rId5"/>
                      <a:stretch>
                        <a:fillRect/>
                      </a:stretch>
                    </p:blipFill>
                    <p:spPr>
                      <a:xfrm>
                        <a:off x="153988" y="1539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A90613D0-1E0E-702F-477E-E261662BB46B}"/>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graphicFrame>
        <p:nvGraphicFramePr>
          <p:cNvPr id="2" name="think-cell data - do not delete">
            <a:extLst>
              <a:ext uri="{FF2B5EF4-FFF2-40B4-BE49-F238E27FC236}">
                <a16:creationId xmlns:a16="http://schemas.microsoft.com/office/drawing/2014/main" id="{FA771B91-D0D3-CAB7-66C7-896AFA6E3B2A}"/>
              </a:ext>
              <a:ext uri="{C183D7F6-B498-43B3-948B-1728B52AA6E4}">
                <adec:decorative xmlns:adec="http://schemas.microsoft.com/office/drawing/2017/decorative" val="1"/>
              </a:ext>
            </a:extLst>
          </p:cNvPr>
          <p:cNvGraphicFramePr>
            <a:graphicFrameLocks noChangeAspect="1"/>
          </p:cNvGraphicFramePr>
          <p:nvPr userDrawn="1">
            <p:custDataLst>
              <p:tags r:id="rId2"/>
            </p:custDataLst>
            <p:extLst>
              <p:ext uri="{D42A27DB-BD31-4B8C-83A1-F6EECF244321}">
                <p14:modId xmlns:p14="http://schemas.microsoft.com/office/powerpoint/2010/main" val="337845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2" name="think-cell data - do not delete">
                        <a:extLst>
                          <a:ext uri="{FF2B5EF4-FFF2-40B4-BE49-F238E27FC236}">
                            <a16:creationId xmlns:a16="http://schemas.microsoft.com/office/drawing/2014/main" id="{FA771B91-D0D3-CAB7-66C7-896AFA6E3B2A}"/>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2">
            <a:extLst>
              <a:ext uri="{FF2B5EF4-FFF2-40B4-BE49-F238E27FC236}">
                <a16:creationId xmlns:a16="http://schemas.microsoft.com/office/drawing/2014/main" id="{43D2CC6A-3B0B-B5CF-9B23-ED6BB3DB97D2}"/>
              </a:ext>
            </a:extLst>
          </p:cNvPr>
          <p:cNvSpPr>
            <a:spLocks noGrp="1"/>
          </p:cNvSpPr>
          <p:nvPr>
            <p:ph sz="half" idx="1"/>
          </p:nvPr>
        </p:nvSpPr>
        <p:spPr>
          <a:xfrm>
            <a:off x="521208" y="1414800"/>
            <a:ext cx="3558792" cy="463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3" name="Subtitle">
            <a:extLst>
              <a:ext uri="{FF2B5EF4-FFF2-40B4-BE49-F238E27FC236}">
                <a16:creationId xmlns:a16="http://schemas.microsoft.com/office/drawing/2014/main" id="{535513A0-29A9-7D3B-9CDD-6733A2B1A2B1}"/>
              </a:ext>
            </a:extLst>
          </p:cNvPr>
          <p:cNvSpPr>
            <a:spLocks noGrp="1"/>
          </p:cNvSpPr>
          <p:nvPr>
            <p:ph type="body" sz="quarter" idx="13" hasCustomPrompt="1"/>
          </p:nvPr>
        </p:nvSpPr>
        <p:spPr>
          <a:xfrm>
            <a:off x="4404000" y="1414800"/>
            <a:ext cx="7266788" cy="324000"/>
          </a:xfrm>
          <a:prstGeom prst="rect">
            <a:avLst/>
          </a:prstGeom>
        </p:spPr>
        <p:txBody>
          <a:bodyPr>
            <a:noAutofit/>
          </a:bodyPr>
          <a:lstStyle>
            <a:lvl1pPr>
              <a:defRPr sz="2000" b="0" i="0">
                <a:latin typeface="+mj-lt"/>
              </a:defRPr>
            </a:lvl1pPr>
          </a:lstStyle>
          <a:p>
            <a:pPr lvl="0"/>
            <a:r>
              <a:rPr lang="en-US"/>
              <a:t>Click to edit subheading</a:t>
            </a:r>
          </a:p>
        </p:txBody>
      </p:sp>
      <p:sp>
        <p:nvSpPr>
          <p:cNvPr id="10" name="Content Placeholder 3">
            <a:extLst>
              <a:ext uri="{FF2B5EF4-FFF2-40B4-BE49-F238E27FC236}">
                <a16:creationId xmlns:a16="http://schemas.microsoft.com/office/drawing/2014/main" id="{B0D2CA8A-2E63-60D9-815D-424F0324BB6B}"/>
              </a:ext>
            </a:extLst>
          </p:cNvPr>
          <p:cNvSpPr>
            <a:spLocks noGrp="1"/>
          </p:cNvSpPr>
          <p:nvPr>
            <p:ph sz="half" idx="2"/>
          </p:nvPr>
        </p:nvSpPr>
        <p:spPr>
          <a:xfrm>
            <a:off x="4404000" y="1774800"/>
            <a:ext cx="7266788"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3" name="Slide Number Placeholder 2">
            <a:extLst>
              <a:ext uri="{FF2B5EF4-FFF2-40B4-BE49-F238E27FC236}">
                <a16:creationId xmlns:a16="http://schemas.microsoft.com/office/drawing/2014/main" id="{78E32CC6-04C6-A1DF-EF98-BE4B1B7C525B}"/>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11" name="footnotes">
            <a:extLst>
              <a:ext uri="{FF2B5EF4-FFF2-40B4-BE49-F238E27FC236}">
                <a16:creationId xmlns:a16="http://schemas.microsoft.com/office/drawing/2014/main" id="{5929EDA2-8FCA-B34B-9B2E-788C8F6A1897}"/>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2" name="Text Placeholder 7">
            <a:extLst>
              <a:ext uri="{FF2B5EF4-FFF2-40B4-BE49-F238E27FC236}">
                <a16:creationId xmlns:a16="http://schemas.microsoft.com/office/drawing/2014/main" id="{C51478FD-39ED-4046-8002-3E54C9DF1146}"/>
              </a:ext>
            </a:extLst>
          </p:cNvPr>
          <p:cNvSpPr>
            <a:spLocks noGrp="1"/>
          </p:cNvSpPr>
          <p:nvPr>
            <p:ph type="body" sz="quarter" idx="19"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824682668"/>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 Image B">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E5D4DD8-351D-44AA-1072-4D8EFEF43228}"/>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957148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think-cell data - do not delete" hidden="1">
                        <a:extLst>
                          <a:ext uri="{FF2B5EF4-FFF2-40B4-BE49-F238E27FC236}">
                            <a16:creationId xmlns:a16="http://schemas.microsoft.com/office/drawing/2014/main" id="{EE5D4DD8-351D-44AA-1072-4D8EFEF43228}"/>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3" name="logo sm" descr="Transamerica Logo">
            <a:extLst>
              <a:ext uri="{FF2B5EF4-FFF2-40B4-BE49-F238E27FC236}">
                <a16:creationId xmlns:a16="http://schemas.microsoft.com/office/drawing/2014/main" id="{4E8EC9C4-E69A-436A-7A48-B88425A6CB3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0" y="0"/>
            <a:ext cx="4141724" cy="1559052"/>
          </a:xfrm>
          <a:prstGeom prst="rect">
            <a:avLst/>
          </a:prstGeom>
        </p:spPr>
      </p:pic>
      <p:sp>
        <p:nvSpPr>
          <p:cNvPr id="2" name="Title 1">
            <a:extLst>
              <a:ext uri="{FF2B5EF4-FFF2-40B4-BE49-F238E27FC236}">
                <a16:creationId xmlns:a16="http://schemas.microsoft.com/office/drawing/2014/main" id="{5A86874A-FA12-2517-B453-C324E0434187}"/>
              </a:ext>
            </a:extLst>
          </p:cNvPr>
          <p:cNvSpPr>
            <a:spLocks noGrp="1"/>
          </p:cNvSpPr>
          <p:nvPr>
            <p:ph type="ctrTitle" hasCustomPrompt="1"/>
          </p:nvPr>
        </p:nvSpPr>
        <p:spPr>
          <a:xfrm>
            <a:off x="521209" y="1566000"/>
            <a:ext cx="6294790" cy="1926000"/>
          </a:xfrm>
          <a:prstGeom prst="rect">
            <a:avLst/>
          </a:prstGeom>
        </p:spPr>
        <p:txBody>
          <a:bodyPr vert="horz" wrap="square" anchor="b" anchorCtr="0">
            <a:noAutofit/>
          </a:bodyPr>
          <a:lstStyle>
            <a:lvl1pPr algn="l">
              <a:lnSpc>
                <a:spcPct val="85000"/>
              </a:lnSpc>
              <a:defRPr sz="4800" kern="100" spc="-120" baseline="0"/>
            </a:lvl1pPr>
          </a:lstStyle>
          <a:p>
            <a:r>
              <a:rPr lang="en-US"/>
              <a:t>Click to edit title</a:t>
            </a:r>
          </a:p>
        </p:txBody>
      </p:sp>
      <p:sp>
        <p:nvSpPr>
          <p:cNvPr id="3" name="Subtitle 2">
            <a:extLst>
              <a:ext uri="{FF2B5EF4-FFF2-40B4-BE49-F238E27FC236}">
                <a16:creationId xmlns:a16="http://schemas.microsoft.com/office/drawing/2014/main" id="{D9322BA0-7900-6548-8C91-5C883FA22AAA}"/>
              </a:ext>
            </a:extLst>
          </p:cNvPr>
          <p:cNvSpPr>
            <a:spLocks noGrp="1"/>
          </p:cNvSpPr>
          <p:nvPr>
            <p:ph type="subTitle" idx="1"/>
          </p:nvPr>
        </p:nvSpPr>
        <p:spPr>
          <a:xfrm>
            <a:off x="521208" y="3708000"/>
            <a:ext cx="6294790" cy="432000"/>
          </a:xfrm>
          <a:prstGeom prst="rect">
            <a:avLst/>
          </a:prstGeom>
        </p:spPr>
        <p:txBody>
          <a:bodyPr anchor="t" anchorCtr="0">
            <a:noAutofit/>
          </a:bodyPr>
          <a:lstStyle>
            <a:lvl1pPr marL="0" indent="0" algn="l">
              <a:buNone/>
              <a:defRPr sz="2400" b="0" i="0">
                <a:latin typeface="Forever Forma Heading"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7">
            <a:extLst>
              <a:ext uri="{FF2B5EF4-FFF2-40B4-BE49-F238E27FC236}">
                <a16:creationId xmlns:a16="http://schemas.microsoft.com/office/drawing/2014/main" id="{BDAA084D-363D-B650-0E58-F7892FE1196E}"/>
              </a:ext>
            </a:extLst>
          </p:cNvPr>
          <p:cNvSpPr>
            <a:spLocks noGrp="1"/>
          </p:cNvSpPr>
          <p:nvPr>
            <p:ph type="body" sz="quarter" idx="17" hasCustomPrompt="1"/>
          </p:nvPr>
        </p:nvSpPr>
        <p:spPr>
          <a:xfrm>
            <a:off x="521208" y="4752000"/>
            <a:ext cx="6294791" cy="288000"/>
          </a:xfrm>
          <a:prstGeom prst="rect">
            <a:avLst/>
          </a:prstGeom>
        </p:spPr>
        <p:txBody>
          <a:bodyPr>
            <a:noAutofit/>
          </a:bodyPr>
          <a:lstStyle>
            <a:lvl1pPr>
              <a:spcBef>
                <a:spcPts val="0"/>
              </a:spcBef>
              <a:defRPr sz="1600" b="1"/>
            </a:lvl1pPr>
          </a:lstStyle>
          <a:p>
            <a:pPr lvl="0"/>
            <a:r>
              <a:rPr lang="en-US"/>
              <a:t>[Presenter name]</a:t>
            </a:r>
          </a:p>
        </p:txBody>
      </p:sp>
      <p:sp>
        <p:nvSpPr>
          <p:cNvPr id="8" name="Text Placeholder 7">
            <a:extLst>
              <a:ext uri="{FF2B5EF4-FFF2-40B4-BE49-F238E27FC236}">
                <a16:creationId xmlns:a16="http://schemas.microsoft.com/office/drawing/2014/main" id="{42BC1D38-D6E1-7E0C-EF78-D061302A3DF8}"/>
              </a:ext>
            </a:extLst>
          </p:cNvPr>
          <p:cNvSpPr>
            <a:spLocks noGrp="1"/>
          </p:cNvSpPr>
          <p:nvPr>
            <p:ph type="body" sz="quarter" idx="13" hasCustomPrompt="1"/>
          </p:nvPr>
        </p:nvSpPr>
        <p:spPr>
          <a:xfrm>
            <a:off x="521207" y="5040000"/>
            <a:ext cx="6294791" cy="252000"/>
          </a:xfrm>
          <a:prstGeom prst="rect">
            <a:avLst/>
          </a:prstGeom>
        </p:spPr>
        <p:txBody>
          <a:bodyPr>
            <a:noAutofit/>
          </a:bodyPr>
          <a:lstStyle>
            <a:lvl1pPr>
              <a:spcBef>
                <a:spcPts val="0"/>
              </a:spcBef>
              <a:defRPr sz="1600"/>
            </a:lvl1pPr>
          </a:lstStyle>
          <a:p>
            <a:pPr lvl="0"/>
            <a:r>
              <a:rPr lang="en-US"/>
              <a:t>[Month date year]</a:t>
            </a:r>
          </a:p>
        </p:txBody>
      </p:sp>
      <p:sp>
        <p:nvSpPr>
          <p:cNvPr id="10" name="Text Placeholder 7">
            <a:extLst>
              <a:ext uri="{FF2B5EF4-FFF2-40B4-BE49-F238E27FC236}">
                <a16:creationId xmlns:a16="http://schemas.microsoft.com/office/drawing/2014/main" id="{6667F62F-CC07-72CC-6EE6-BFC83E0447FA}"/>
              </a:ext>
            </a:extLst>
          </p:cNvPr>
          <p:cNvSpPr>
            <a:spLocks noGrp="1"/>
          </p:cNvSpPr>
          <p:nvPr>
            <p:ph type="body" sz="quarter" idx="18" hasCustomPrompt="1"/>
          </p:nvPr>
        </p:nvSpPr>
        <p:spPr>
          <a:xfrm>
            <a:off x="521207" y="5687840"/>
            <a:ext cx="1014772" cy="298870"/>
          </a:xfrm>
          <a:prstGeom prst="rect">
            <a:avLst/>
          </a:prstGeom>
          <a:solidFill>
            <a:srgbClr val="1D2550"/>
          </a:solidFill>
        </p:spPr>
        <p:txBody>
          <a:bodyPr wrap="none" lIns="75600" tIns="75600" rIns="75600" bIns="75600" anchor="t" anchorCtr="0">
            <a:spAutoFit/>
          </a:bodyPr>
          <a:lstStyle>
            <a:lvl1pP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
        <p:nvSpPr>
          <p:cNvPr id="11" name="Picture Placeholder 11">
            <a:extLst>
              <a:ext uri="{FF2B5EF4-FFF2-40B4-BE49-F238E27FC236}">
                <a16:creationId xmlns:a16="http://schemas.microsoft.com/office/drawing/2014/main" id="{E3E4B855-D6FE-45F4-28AB-00C307E09BF6}"/>
              </a:ext>
            </a:extLst>
          </p:cNvPr>
          <p:cNvSpPr>
            <a:spLocks noGrp="1"/>
          </p:cNvSpPr>
          <p:nvPr>
            <p:ph type="pic" sz="quarter" idx="19" hasCustomPrompt="1"/>
          </p:nvPr>
        </p:nvSpPr>
        <p:spPr>
          <a:xfrm>
            <a:off x="7032000" y="0"/>
            <a:ext cx="5160000" cy="6858000"/>
          </a:xfrm>
          <a:custGeom>
            <a:avLst/>
            <a:gdLst>
              <a:gd name="connsiteX0" fmla="*/ 1356017 w 4995290"/>
              <a:gd name="connsiteY0" fmla="*/ 0 h 6858000"/>
              <a:gd name="connsiteX1" fmla="*/ 4995290 w 4995290"/>
              <a:gd name="connsiteY1" fmla="*/ 0 h 6858000"/>
              <a:gd name="connsiteX2" fmla="*/ 4995290 w 4995290"/>
              <a:gd name="connsiteY2" fmla="*/ 6858000 h 6858000"/>
              <a:gd name="connsiteX3" fmla="*/ 1360213 w 4995290"/>
              <a:gd name="connsiteY3" fmla="*/ 6858000 h 6858000"/>
              <a:gd name="connsiteX4" fmla="*/ 0 w 4995290"/>
              <a:gd name="connsiteY4" fmla="*/ 5497788 h 6858000"/>
              <a:gd name="connsiteX5" fmla="*/ 0 w 4995290"/>
              <a:gd name="connsiteY5" fmla="*/ 135601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95290" h="6858000">
                <a:moveTo>
                  <a:pt x="1356017" y="0"/>
                </a:moveTo>
                <a:lnTo>
                  <a:pt x="4995290" y="0"/>
                </a:lnTo>
                <a:lnTo>
                  <a:pt x="4995290" y="6858000"/>
                </a:lnTo>
                <a:lnTo>
                  <a:pt x="1360213" y="6858000"/>
                </a:lnTo>
                <a:lnTo>
                  <a:pt x="0" y="5497788"/>
                </a:lnTo>
                <a:lnTo>
                  <a:pt x="0" y="1356017"/>
                </a:lnTo>
                <a:close/>
              </a:path>
            </a:pathLst>
          </a:custGeom>
          <a:solidFill>
            <a:schemeClr val="bg1">
              <a:lumMod val="95000"/>
            </a:schemeClr>
          </a:solidFill>
        </p:spPr>
        <p:txBody>
          <a:bodyPr wrap="square" lIns="201600" tIns="201600" rIns="201600" bIns="201600">
            <a:noAutofit/>
          </a:bodyPr>
          <a:lstStyle>
            <a:lvl1pPr algn="r">
              <a:defRPr>
                <a:solidFill>
                  <a:schemeClr val="tx1"/>
                </a:solidFill>
              </a:defRPr>
            </a:lvl1pPr>
          </a:lstStyle>
          <a:p>
            <a:r>
              <a:rPr lang="en-US"/>
              <a:t>Click icon to insert an image</a:t>
            </a:r>
          </a:p>
        </p:txBody>
      </p:sp>
      <p:sp>
        <p:nvSpPr>
          <p:cNvPr id="4" name="LYBL 3" descr="live your best life tagline graphic">
            <a:extLst>
              <a:ext uri="{FF2B5EF4-FFF2-40B4-BE49-F238E27FC236}">
                <a16:creationId xmlns:a16="http://schemas.microsoft.com/office/drawing/2014/main" id="{DCA776FA-0045-7DE3-8991-3749526911D8}"/>
              </a:ext>
            </a:extLst>
          </p:cNvPr>
          <p:cNvSpPr>
            <a:spLocks noGrp="1"/>
          </p:cNvSpPr>
          <p:nvPr>
            <p:ph type="body" sz="quarter" idx="21" hasCustomPrompt="1"/>
          </p:nvPr>
        </p:nvSpPr>
        <p:spPr>
          <a:xfrm>
            <a:off x="12711249" y="4973918"/>
            <a:ext cx="1987009" cy="1884082"/>
          </a:xfrm>
          <a:custGeom>
            <a:avLst/>
            <a:gdLst>
              <a:gd name="connsiteX0" fmla="*/ 1381206 w 1987009"/>
              <a:gd name="connsiteY0" fmla="*/ 1687344 h 1884082"/>
              <a:gd name="connsiteX1" fmla="*/ 1204824 w 1987009"/>
              <a:gd name="connsiteY1" fmla="*/ 1742294 h 1884082"/>
              <a:gd name="connsiteX2" fmla="*/ 1320151 w 1987009"/>
              <a:gd name="connsiteY2" fmla="*/ 1808777 h 1884082"/>
              <a:gd name="connsiteX3" fmla="*/ 1381206 w 1987009"/>
              <a:gd name="connsiteY3" fmla="*/ 1687344 h 1884082"/>
              <a:gd name="connsiteX4" fmla="*/ 904614 w 1987009"/>
              <a:gd name="connsiteY4" fmla="*/ 1538915 h 1884082"/>
              <a:gd name="connsiteX5" fmla="*/ 959924 w 1987009"/>
              <a:gd name="connsiteY5" fmla="*/ 1540134 h 1884082"/>
              <a:gd name="connsiteX6" fmla="*/ 1089497 w 1987009"/>
              <a:gd name="connsiteY6" fmla="*/ 1675812 h 1884082"/>
              <a:gd name="connsiteX7" fmla="*/ 1082713 w 1987009"/>
              <a:gd name="connsiteY7" fmla="*/ 1680561 h 1884082"/>
              <a:gd name="connsiteX8" fmla="*/ 1038618 w 1987009"/>
              <a:gd name="connsiteY8" fmla="*/ 1673777 h 1884082"/>
              <a:gd name="connsiteX9" fmla="*/ 1033869 w 1987009"/>
              <a:gd name="connsiteY9" fmla="*/ 1666993 h 1884082"/>
              <a:gd name="connsiteX10" fmla="*/ 952462 w 1987009"/>
              <a:gd name="connsiteY10" fmla="*/ 1579480 h 1884082"/>
              <a:gd name="connsiteX11" fmla="*/ 864271 w 1987009"/>
              <a:gd name="connsiteY11" fmla="*/ 1624254 h 1884082"/>
              <a:gd name="connsiteX12" fmla="*/ 1063040 w 1987009"/>
              <a:gd name="connsiteY12" fmla="*/ 1804707 h 1884082"/>
              <a:gd name="connsiteX13" fmla="*/ 919899 w 1987009"/>
              <a:gd name="connsiteY13" fmla="*/ 1881365 h 1884082"/>
              <a:gd name="connsiteX14" fmla="*/ 797788 w 1987009"/>
              <a:gd name="connsiteY14" fmla="*/ 1761968 h 1884082"/>
              <a:gd name="connsiteX15" fmla="*/ 804572 w 1987009"/>
              <a:gd name="connsiteY15" fmla="*/ 1757219 h 1884082"/>
              <a:gd name="connsiteX16" fmla="*/ 847311 w 1987009"/>
              <a:gd name="connsiteY16" fmla="*/ 1763325 h 1884082"/>
              <a:gd name="connsiteX17" fmla="*/ 852738 w 1987009"/>
              <a:gd name="connsiteY17" fmla="*/ 1770109 h 1884082"/>
              <a:gd name="connsiteX18" fmla="*/ 926683 w 1987009"/>
              <a:gd name="connsiteY18" fmla="*/ 1842697 h 1884082"/>
              <a:gd name="connsiteX19" fmla="*/ 1007412 w 1987009"/>
              <a:gd name="connsiteY19" fmla="*/ 1800636 h 1884082"/>
              <a:gd name="connsiteX20" fmla="*/ 808643 w 1987009"/>
              <a:gd name="connsiteY20" fmla="*/ 1620862 h 1884082"/>
              <a:gd name="connsiteX21" fmla="*/ 904614 w 1987009"/>
              <a:gd name="connsiteY21" fmla="*/ 1538915 h 1884082"/>
              <a:gd name="connsiteX22" fmla="*/ 1295718 w 1987009"/>
              <a:gd name="connsiteY22" fmla="*/ 1511683 h 1884082"/>
              <a:gd name="connsiteX23" fmla="*/ 1429372 w 1987009"/>
              <a:gd name="connsiteY23" fmla="*/ 1636465 h 1884082"/>
              <a:gd name="connsiteX24" fmla="*/ 1333718 w 1987009"/>
              <a:gd name="connsiteY24" fmla="*/ 1848802 h 1884082"/>
              <a:gd name="connsiteX25" fmla="*/ 1134271 w 1987009"/>
              <a:gd name="connsiteY25" fmla="*/ 1727370 h 1884082"/>
              <a:gd name="connsiteX26" fmla="*/ 1138342 w 1987009"/>
              <a:gd name="connsiteY26" fmla="*/ 1719907 h 1884082"/>
              <a:gd name="connsiteX27" fmla="*/ 1371030 w 1987009"/>
              <a:gd name="connsiteY27" fmla="*/ 1647319 h 1884082"/>
              <a:gd name="connsiteX28" fmla="*/ 1240100 w 1987009"/>
              <a:gd name="connsiteY28" fmla="*/ 1560485 h 1884082"/>
              <a:gd name="connsiteX29" fmla="*/ 1178367 w 1987009"/>
              <a:gd name="connsiteY29" fmla="*/ 1656817 h 1884082"/>
              <a:gd name="connsiteX30" fmla="*/ 1173618 w 1987009"/>
              <a:gd name="connsiteY30" fmla="*/ 1664279 h 1884082"/>
              <a:gd name="connsiteX31" fmla="*/ 1130201 w 1987009"/>
              <a:gd name="connsiteY31" fmla="*/ 1678525 h 1884082"/>
              <a:gd name="connsiteX32" fmla="*/ 1123417 w 1987009"/>
              <a:gd name="connsiteY32" fmla="*/ 1674455 h 1884082"/>
              <a:gd name="connsiteX33" fmla="*/ 1227211 w 1987009"/>
              <a:gd name="connsiteY33" fmla="*/ 1519781 h 1884082"/>
              <a:gd name="connsiteX34" fmla="*/ 1295718 w 1987009"/>
              <a:gd name="connsiteY34" fmla="*/ 1511683 h 1884082"/>
              <a:gd name="connsiteX35" fmla="*/ 688568 w 1987009"/>
              <a:gd name="connsiteY35" fmla="*/ 1443801 h 1884082"/>
              <a:gd name="connsiteX36" fmla="*/ 731985 w 1987009"/>
              <a:gd name="connsiteY36" fmla="*/ 1458048 h 1884082"/>
              <a:gd name="connsiteX37" fmla="*/ 764548 w 1987009"/>
              <a:gd name="connsiteY37" fmla="*/ 1584907 h 1884082"/>
              <a:gd name="connsiteX38" fmla="*/ 672965 w 1987009"/>
              <a:gd name="connsiteY38" fmla="*/ 1755862 h 1884082"/>
              <a:gd name="connsiteX39" fmla="*/ 705527 w 1987009"/>
              <a:gd name="connsiteY39" fmla="*/ 1772822 h 1884082"/>
              <a:gd name="connsiteX40" fmla="*/ 707563 w 1987009"/>
              <a:gd name="connsiteY40" fmla="*/ 1780962 h 1884082"/>
              <a:gd name="connsiteX41" fmla="*/ 691281 w 1987009"/>
              <a:gd name="connsiteY41" fmla="*/ 1810812 h 1884082"/>
              <a:gd name="connsiteX42" fmla="*/ 683141 w 1987009"/>
              <a:gd name="connsiteY42" fmla="*/ 1813525 h 1884082"/>
              <a:gd name="connsiteX43" fmla="*/ 650578 w 1987009"/>
              <a:gd name="connsiteY43" fmla="*/ 1796565 h 1884082"/>
              <a:gd name="connsiteX44" fmla="*/ 614623 w 1987009"/>
              <a:gd name="connsiteY44" fmla="*/ 1865083 h 1884082"/>
              <a:gd name="connsiteX45" fmla="*/ 606482 w 1987009"/>
              <a:gd name="connsiteY45" fmla="*/ 1867118 h 1884082"/>
              <a:gd name="connsiteX46" fmla="*/ 564422 w 1987009"/>
              <a:gd name="connsiteY46" fmla="*/ 1844731 h 1884082"/>
              <a:gd name="connsiteX47" fmla="*/ 561708 w 1987009"/>
              <a:gd name="connsiteY47" fmla="*/ 1836591 h 1884082"/>
              <a:gd name="connsiteX48" fmla="*/ 598342 w 1987009"/>
              <a:gd name="connsiteY48" fmla="*/ 1768751 h 1884082"/>
              <a:gd name="connsiteX49" fmla="*/ 531859 w 1987009"/>
              <a:gd name="connsiteY49" fmla="*/ 1732797 h 1884082"/>
              <a:gd name="connsiteX50" fmla="*/ 529824 w 1987009"/>
              <a:gd name="connsiteY50" fmla="*/ 1724656 h 1884082"/>
              <a:gd name="connsiteX51" fmla="*/ 546105 w 1987009"/>
              <a:gd name="connsiteY51" fmla="*/ 1694807 h 1884082"/>
              <a:gd name="connsiteX52" fmla="*/ 554246 w 1987009"/>
              <a:gd name="connsiteY52" fmla="*/ 1692771 h 1884082"/>
              <a:gd name="connsiteX53" fmla="*/ 620728 w 1987009"/>
              <a:gd name="connsiteY53" fmla="*/ 1728726 h 1884082"/>
              <a:gd name="connsiteX54" fmla="*/ 711633 w 1987009"/>
              <a:gd name="connsiteY54" fmla="*/ 1559128 h 1884082"/>
              <a:gd name="connsiteX55" fmla="*/ 699422 w 1987009"/>
              <a:gd name="connsiteY55" fmla="*/ 1493324 h 1884082"/>
              <a:gd name="connsiteX56" fmla="*/ 667538 w 1987009"/>
              <a:gd name="connsiteY56" fmla="*/ 1480435 h 1884082"/>
              <a:gd name="connsiteX57" fmla="*/ 664146 w 1987009"/>
              <a:gd name="connsiteY57" fmla="*/ 1474329 h 1884082"/>
              <a:gd name="connsiteX58" fmla="*/ 679749 w 1987009"/>
              <a:gd name="connsiteY58" fmla="*/ 1447872 h 1884082"/>
              <a:gd name="connsiteX59" fmla="*/ 688568 w 1987009"/>
              <a:gd name="connsiteY59" fmla="*/ 1443801 h 1884082"/>
              <a:gd name="connsiteX60" fmla="*/ 1553602 w 1987009"/>
              <a:gd name="connsiteY60" fmla="*/ 1402336 h 1884082"/>
              <a:gd name="connsiteX61" fmla="*/ 1485000 w 1987009"/>
              <a:gd name="connsiteY61" fmla="*/ 1434983 h 1884082"/>
              <a:gd name="connsiteX62" fmla="*/ 1527738 w 1987009"/>
              <a:gd name="connsiteY62" fmla="*/ 1585586 h 1884082"/>
              <a:gd name="connsiteX63" fmla="*/ 1687839 w 1987009"/>
              <a:gd name="connsiteY63" fmla="*/ 1591692 h 1884082"/>
              <a:gd name="connsiteX64" fmla="*/ 1645100 w 1987009"/>
              <a:gd name="connsiteY64" fmla="*/ 1442445 h 1884082"/>
              <a:gd name="connsiteX65" fmla="*/ 1553602 w 1987009"/>
              <a:gd name="connsiteY65" fmla="*/ 1402336 h 1884082"/>
              <a:gd name="connsiteX66" fmla="*/ 160100 w 1987009"/>
              <a:gd name="connsiteY66" fmla="*/ 1361038 h 1884082"/>
              <a:gd name="connsiteX67" fmla="*/ 167562 w 1987009"/>
              <a:gd name="connsiteY67" fmla="*/ 1363751 h 1884082"/>
              <a:gd name="connsiteX68" fmla="*/ 189271 w 1987009"/>
              <a:gd name="connsiteY68" fmla="*/ 1406490 h 1884082"/>
              <a:gd name="connsiteX69" fmla="*/ 186557 w 1987009"/>
              <a:gd name="connsiteY69" fmla="*/ 1413952 h 1884082"/>
              <a:gd name="connsiteX70" fmla="*/ 139748 w 1987009"/>
              <a:gd name="connsiteY70" fmla="*/ 1437696 h 1884082"/>
              <a:gd name="connsiteX71" fmla="*/ 132286 w 1987009"/>
              <a:gd name="connsiteY71" fmla="*/ 1434982 h 1884082"/>
              <a:gd name="connsiteX72" fmla="*/ 110577 w 1987009"/>
              <a:gd name="connsiteY72" fmla="*/ 1392244 h 1884082"/>
              <a:gd name="connsiteX73" fmla="*/ 113291 w 1987009"/>
              <a:gd name="connsiteY73" fmla="*/ 1384782 h 1884082"/>
              <a:gd name="connsiteX74" fmla="*/ 1548769 w 1987009"/>
              <a:gd name="connsiteY74" fmla="*/ 1298626 h 1884082"/>
              <a:gd name="connsiteX75" fmla="*/ 1738718 w 1987009"/>
              <a:gd name="connsiteY75" fmla="*/ 1445837 h 1884082"/>
              <a:gd name="connsiteX76" fmla="*/ 1896105 w 1987009"/>
              <a:gd name="connsiteY76" fmla="*/ 1563878 h 1884082"/>
              <a:gd name="connsiteX77" fmla="*/ 1897462 w 1987009"/>
              <a:gd name="connsiteY77" fmla="*/ 1572018 h 1884082"/>
              <a:gd name="connsiteX78" fmla="*/ 1868291 w 1987009"/>
              <a:gd name="connsiteY78" fmla="*/ 1610008 h 1884082"/>
              <a:gd name="connsiteX79" fmla="*/ 1860151 w 1987009"/>
              <a:gd name="connsiteY79" fmla="*/ 1611365 h 1884082"/>
              <a:gd name="connsiteX80" fmla="*/ 1730578 w 1987009"/>
              <a:gd name="connsiteY80" fmla="*/ 1510963 h 1884082"/>
              <a:gd name="connsiteX81" fmla="*/ 1712939 w 1987009"/>
              <a:gd name="connsiteY81" fmla="*/ 1629003 h 1884082"/>
              <a:gd name="connsiteX82" fmla="*/ 1494497 w 1987009"/>
              <a:gd name="connsiteY82" fmla="*/ 1633752 h 1884082"/>
              <a:gd name="connsiteX83" fmla="*/ 1440904 w 1987009"/>
              <a:gd name="connsiteY83" fmla="*/ 1420737 h 1884082"/>
              <a:gd name="connsiteX84" fmla="*/ 1550125 w 1987009"/>
              <a:gd name="connsiteY84" fmla="*/ 1372571 h 1884082"/>
              <a:gd name="connsiteX85" fmla="*/ 1513492 w 1987009"/>
              <a:gd name="connsiteY85" fmla="*/ 1346114 h 1884082"/>
              <a:gd name="connsiteX86" fmla="*/ 1512135 w 1987009"/>
              <a:gd name="connsiteY86" fmla="*/ 1337973 h 1884082"/>
              <a:gd name="connsiteX87" fmla="*/ 1540628 w 1987009"/>
              <a:gd name="connsiteY87" fmla="*/ 1299983 h 1884082"/>
              <a:gd name="connsiteX88" fmla="*/ 1548769 w 1987009"/>
              <a:gd name="connsiteY88" fmla="*/ 1298626 h 1884082"/>
              <a:gd name="connsiteX89" fmla="*/ 546105 w 1987009"/>
              <a:gd name="connsiteY89" fmla="*/ 1297947 h 1884082"/>
              <a:gd name="connsiteX90" fmla="*/ 554246 w 1987009"/>
              <a:gd name="connsiteY90" fmla="*/ 1299304 h 1884082"/>
              <a:gd name="connsiteX91" fmla="*/ 582738 w 1987009"/>
              <a:gd name="connsiteY91" fmla="*/ 1337294 h 1884082"/>
              <a:gd name="connsiteX92" fmla="*/ 581381 w 1987009"/>
              <a:gd name="connsiteY92" fmla="*/ 1345435 h 1884082"/>
              <a:gd name="connsiteX93" fmla="*/ 402964 w 1987009"/>
              <a:gd name="connsiteY93" fmla="*/ 1476365 h 1884082"/>
              <a:gd name="connsiteX94" fmla="*/ 232009 w 1987009"/>
              <a:gd name="connsiteY94" fmla="*/ 1608651 h 1884082"/>
              <a:gd name="connsiteX95" fmla="*/ 223869 w 1987009"/>
              <a:gd name="connsiteY95" fmla="*/ 1607294 h 1884082"/>
              <a:gd name="connsiteX96" fmla="*/ 195376 w 1987009"/>
              <a:gd name="connsiteY96" fmla="*/ 1569304 h 1884082"/>
              <a:gd name="connsiteX97" fmla="*/ 196733 w 1987009"/>
              <a:gd name="connsiteY97" fmla="*/ 1561164 h 1884082"/>
              <a:gd name="connsiteX98" fmla="*/ 370401 w 1987009"/>
              <a:gd name="connsiteY98" fmla="*/ 1433626 h 1884082"/>
              <a:gd name="connsiteX99" fmla="*/ 487763 w 1987009"/>
              <a:gd name="connsiteY99" fmla="*/ 1194153 h 1884082"/>
              <a:gd name="connsiteX100" fmla="*/ 495226 w 1987009"/>
              <a:gd name="connsiteY100" fmla="*/ 1196867 h 1884082"/>
              <a:gd name="connsiteX101" fmla="*/ 516934 w 1987009"/>
              <a:gd name="connsiteY101" fmla="*/ 1239606 h 1884082"/>
              <a:gd name="connsiteX102" fmla="*/ 514220 w 1987009"/>
              <a:gd name="connsiteY102" fmla="*/ 1247068 h 1884082"/>
              <a:gd name="connsiteX103" fmla="*/ 367009 w 1987009"/>
              <a:gd name="connsiteY103" fmla="*/ 1320334 h 1884082"/>
              <a:gd name="connsiteX104" fmla="*/ 229974 w 1987009"/>
              <a:gd name="connsiteY104" fmla="*/ 1391565 h 1884082"/>
              <a:gd name="connsiteX105" fmla="*/ 222512 w 1987009"/>
              <a:gd name="connsiteY105" fmla="*/ 1388852 h 1884082"/>
              <a:gd name="connsiteX106" fmla="*/ 200803 w 1987009"/>
              <a:gd name="connsiteY106" fmla="*/ 1346113 h 1884082"/>
              <a:gd name="connsiteX107" fmla="*/ 203517 w 1987009"/>
              <a:gd name="connsiteY107" fmla="*/ 1338651 h 1884082"/>
              <a:gd name="connsiteX108" fmla="*/ 341231 w 1987009"/>
              <a:gd name="connsiteY108" fmla="*/ 1270133 h 1884082"/>
              <a:gd name="connsiteX109" fmla="*/ 155352 w 1987009"/>
              <a:gd name="connsiteY109" fmla="*/ 1066615 h 1884082"/>
              <a:gd name="connsiteX110" fmla="*/ 162136 w 1987009"/>
              <a:gd name="connsiteY110" fmla="*/ 1070686 h 1884082"/>
              <a:gd name="connsiteX111" fmla="*/ 179095 w 1987009"/>
              <a:gd name="connsiteY111" fmla="*/ 1140560 h 1884082"/>
              <a:gd name="connsiteX112" fmla="*/ 312060 w 1987009"/>
              <a:gd name="connsiteY112" fmla="*/ 1107997 h 1884082"/>
              <a:gd name="connsiteX113" fmla="*/ 450452 w 1987009"/>
              <a:gd name="connsiteY113" fmla="*/ 1072721 h 1884082"/>
              <a:gd name="connsiteX114" fmla="*/ 457236 w 1987009"/>
              <a:gd name="connsiteY114" fmla="*/ 1076791 h 1884082"/>
              <a:gd name="connsiteX115" fmla="*/ 468769 w 1987009"/>
              <a:gd name="connsiteY115" fmla="*/ 1124957 h 1884082"/>
              <a:gd name="connsiteX116" fmla="*/ 464699 w 1987009"/>
              <a:gd name="connsiteY116" fmla="*/ 1131741 h 1884082"/>
              <a:gd name="connsiteX117" fmla="*/ 324950 w 1987009"/>
              <a:gd name="connsiteY117" fmla="*/ 1162947 h 1884082"/>
              <a:gd name="connsiteX118" fmla="*/ 191985 w 1987009"/>
              <a:gd name="connsiteY118" fmla="*/ 1194832 h 1884082"/>
              <a:gd name="connsiteX119" fmla="*/ 202839 w 1987009"/>
              <a:gd name="connsiteY119" fmla="*/ 1239605 h 1884082"/>
              <a:gd name="connsiteX120" fmla="*/ 198769 w 1987009"/>
              <a:gd name="connsiteY120" fmla="*/ 1246389 h 1884082"/>
              <a:gd name="connsiteX121" fmla="*/ 166206 w 1987009"/>
              <a:gd name="connsiteY121" fmla="*/ 1253852 h 1884082"/>
              <a:gd name="connsiteX122" fmla="*/ 159422 w 1987009"/>
              <a:gd name="connsiteY122" fmla="*/ 1249781 h 1884082"/>
              <a:gd name="connsiteX123" fmla="*/ 148568 w 1987009"/>
              <a:gd name="connsiteY123" fmla="*/ 1205008 h 1884082"/>
              <a:gd name="connsiteX124" fmla="*/ 120754 w 1987009"/>
              <a:gd name="connsiteY124" fmla="*/ 1211791 h 1884082"/>
              <a:gd name="connsiteX125" fmla="*/ 5427 w 1987009"/>
              <a:gd name="connsiteY125" fmla="*/ 1150736 h 1884082"/>
              <a:gd name="connsiteX126" fmla="*/ 0 w 1987009"/>
              <a:gd name="connsiteY126" fmla="*/ 1107997 h 1884082"/>
              <a:gd name="connsiteX127" fmla="*/ 5427 w 1987009"/>
              <a:gd name="connsiteY127" fmla="*/ 1100535 h 1884082"/>
              <a:gd name="connsiteX128" fmla="*/ 37312 w 1987009"/>
              <a:gd name="connsiteY128" fmla="*/ 1093073 h 1884082"/>
              <a:gd name="connsiteX129" fmla="*/ 42739 w 1987009"/>
              <a:gd name="connsiteY129" fmla="*/ 1097822 h 1884082"/>
              <a:gd name="connsiteX130" fmla="*/ 46131 w 1987009"/>
              <a:gd name="connsiteY130" fmla="*/ 1128349 h 1884082"/>
              <a:gd name="connsiteX131" fmla="*/ 111935 w 1987009"/>
              <a:gd name="connsiteY131" fmla="*/ 1156163 h 1884082"/>
              <a:gd name="connsiteX132" fmla="*/ 135678 w 1987009"/>
              <a:gd name="connsiteY132" fmla="*/ 1150736 h 1884082"/>
              <a:gd name="connsiteX133" fmla="*/ 118719 w 1987009"/>
              <a:gd name="connsiteY133" fmla="*/ 1080862 h 1884082"/>
              <a:gd name="connsiteX134" fmla="*/ 122789 w 1987009"/>
              <a:gd name="connsiteY134" fmla="*/ 1074078 h 1884082"/>
              <a:gd name="connsiteX135" fmla="*/ 1659346 w 1987009"/>
              <a:gd name="connsiteY135" fmla="*/ 1048978 h 1884082"/>
              <a:gd name="connsiteX136" fmla="*/ 1818768 w 1987009"/>
              <a:gd name="connsiteY136" fmla="*/ 1080862 h 1884082"/>
              <a:gd name="connsiteX137" fmla="*/ 1972085 w 1987009"/>
              <a:gd name="connsiteY137" fmla="*/ 1107998 h 1884082"/>
              <a:gd name="connsiteX138" fmla="*/ 1976834 w 1987009"/>
              <a:gd name="connsiteY138" fmla="*/ 1114782 h 1884082"/>
              <a:gd name="connsiteX139" fmla="*/ 1968015 w 1987009"/>
              <a:gd name="connsiteY139" fmla="*/ 1161591 h 1884082"/>
              <a:gd name="connsiteX140" fmla="*/ 1961231 w 1987009"/>
              <a:gd name="connsiteY140" fmla="*/ 1166340 h 1884082"/>
              <a:gd name="connsiteX141" fmla="*/ 1906959 w 1987009"/>
              <a:gd name="connsiteY141" fmla="*/ 1153450 h 1884082"/>
              <a:gd name="connsiteX142" fmla="*/ 1949698 w 1987009"/>
              <a:gd name="connsiteY142" fmla="*/ 1275561 h 1884082"/>
              <a:gd name="connsiteX143" fmla="*/ 1944271 w 1987009"/>
              <a:gd name="connsiteY143" fmla="*/ 1293878 h 1884082"/>
              <a:gd name="connsiteX144" fmla="*/ 1936130 w 1987009"/>
              <a:gd name="connsiteY144" fmla="*/ 1297948 h 1884082"/>
              <a:gd name="connsiteX145" fmla="*/ 1900854 w 1987009"/>
              <a:gd name="connsiteY145" fmla="*/ 1291164 h 1884082"/>
              <a:gd name="connsiteX146" fmla="*/ 1897462 w 1987009"/>
              <a:gd name="connsiteY146" fmla="*/ 1284380 h 1884082"/>
              <a:gd name="connsiteX147" fmla="*/ 1902211 w 1987009"/>
              <a:gd name="connsiteY147" fmla="*/ 1266064 h 1884082"/>
              <a:gd name="connsiteX148" fmla="*/ 1818090 w 1987009"/>
              <a:gd name="connsiteY148" fmla="*/ 1137169 h 1884082"/>
              <a:gd name="connsiteX149" fmla="*/ 1647814 w 1987009"/>
              <a:gd name="connsiteY149" fmla="*/ 1105963 h 1884082"/>
              <a:gd name="connsiteX150" fmla="*/ 1643065 w 1987009"/>
              <a:gd name="connsiteY150" fmla="*/ 1099179 h 1884082"/>
              <a:gd name="connsiteX151" fmla="*/ 1652562 w 1987009"/>
              <a:gd name="connsiteY151" fmla="*/ 1053727 h 1884082"/>
              <a:gd name="connsiteX152" fmla="*/ 1659346 w 1987009"/>
              <a:gd name="connsiteY152" fmla="*/ 1048978 h 1884082"/>
              <a:gd name="connsiteX153" fmla="*/ 260502 w 1987009"/>
              <a:gd name="connsiteY153" fmla="*/ 767445 h 1884082"/>
              <a:gd name="connsiteX154" fmla="*/ 153995 w 1987009"/>
              <a:gd name="connsiteY154" fmla="*/ 846817 h 1884082"/>
              <a:gd name="connsiteX155" fmla="*/ 240829 w 1987009"/>
              <a:gd name="connsiteY155" fmla="*/ 951290 h 1884082"/>
              <a:gd name="connsiteX156" fmla="*/ 301884 w 1987009"/>
              <a:gd name="connsiteY156" fmla="*/ 708425 h 1884082"/>
              <a:gd name="connsiteX157" fmla="*/ 307311 w 1987009"/>
              <a:gd name="connsiteY157" fmla="*/ 714531 h 1884082"/>
              <a:gd name="connsiteX158" fmla="*/ 280854 w 1987009"/>
              <a:gd name="connsiteY158" fmla="*/ 956717 h 1884082"/>
              <a:gd name="connsiteX159" fmla="*/ 412462 w 1987009"/>
              <a:gd name="connsiteY159" fmla="*/ 871239 h 1884082"/>
              <a:gd name="connsiteX160" fmla="*/ 348693 w 1987009"/>
              <a:gd name="connsiteY160" fmla="*/ 775586 h 1884082"/>
              <a:gd name="connsiteX161" fmla="*/ 343944 w 1987009"/>
              <a:gd name="connsiteY161" fmla="*/ 768124 h 1884082"/>
              <a:gd name="connsiteX162" fmla="*/ 348693 w 1987009"/>
              <a:gd name="connsiteY162" fmla="*/ 724707 h 1884082"/>
              <a:gd name="connsiteX163" fmla="*/ 354799 w 1987009"/>
              <a:gd name="connsiteY163" fmla="*/ 719958 h 1884082"/>
              <a:gd name="connsiteX164" fmla="*/ 455201 w 1987009"/>
              <a:gd name="connsiteY164" fmla="*/ 876667 h 1884082"/>
              <a:gd name="connsiteX165" fmla="*/ 267286 w 1987009"/>
              <a:gd name="connsiteY165" fmla="*/ 1015059 h 1884082"/>
              <a:gd name="connsiteX166" fmla="*/ 111256 w 1987009"/>
              <a:gd name="connsiteY166" fmla="*/ 842747 h 1884082"/>
              <a:gd name="connsiteX167" fmla="*/ 301884 w 1987009"/>
              <a:gd name="connsiteY167" fmla="*/ 708425 h 1884082"/>
              <a:gd name="connsiteX168" fmla="*/ 1965979 w 1987009"/>
              <a:gd name="connsiteY168" fmla="*/ 702998 h 1884082"/>
              <a:gd name="connsiteX169" fmla="*/ 1972085 w 1987009"/>
              <a:gd name="connsiteY169" fmla="*/ 708425 h 1884082"/>
              <a:gd name="connsiteX170" fmla="*/ 1974798 w 1987009"/>
              <a:gd name="connsiteY170" fmla="*/ 756591 h 1884082"/>
              <a:gd name="connsiteX171" fmla="*/ 1969371 w 1987009"/>
              <a:gd name="connsiteY171" fmla="*/ 762696 h 1884082"/>
              <a:gd name="connsiteX172" fmla="*/ 1834371 w 1987009"/>
              <a:gd name="connsiteY172" fmla="*/ 768802 h 1884082"/>
              <a:gd name="connsiteX173" fmla="*/ 1771281 w 1987009"/>
              <a:gd name="connsiteY173" fmla="*/ 772194 h 1884082"/>
              <a:gd name="connsiteX174" fmla="*/ 1688517 w 1987009"/>
              <a:gd name="connsiteY174" fmla="*/ 846817 h 1884082"/>
              <a:gd name="connsiteX175" fmla="*/ 1792989 w 1987009"/>
              <a:gd name="connsiteY175" fmla="*/ 932294 h 1884082"/>
              <a:gd name="connsiteX176" fmla="*/ 1843190 w 1987009"/>
              <a:gd name="connsiteY176" fmla="*/ 929581 h 1884082"/>
              <a:gd name="connsiteX177" fmla="*/ 1978190 w 1987009"/>
              <a:gd name="connsiteY177" fmla="*/ 921440 h 1884082"/>
              <a:gd name="connsiteX178" fmla="*/ 1984296 w 1987009"/>
              <a:gd name="connsiteY178" fmla="*/ 926867 h 1884082"/>
              <a:gd name="connsiteX179" fmla="*/ 1987009 w 1987009"/>
              <a:gd name="connsiteY179" fmla="*/ 975712 h 1884082"/>
              <a:gd name="connsiteX180" fmla="*/ 1981582 w 1987009"/>
              <a:gd name="connsiteY180" fmla="*/ 981817 h 1884082"/>
              <a:gd name="connsiteX181" fmla="*/ 1836406 w 1987009"/>
              <a:gd name="connsiteY181" fmla="*/ 987244 h 1884082"/>
              <a:gd name="connsiteX182" fmla="*/ 1662738 w 1987009"/>
              <a:gd name="connsiteY182" fmla="*/ 997420 h 1884082"/>
              <a:gd name="connsiteX183" fmla="*/ 1656633 w 1987009"/>
              <a:gd name="connsiteY183" fmla="*/ 991993 h 1884082"/>
              <a:gd name="connsiteX184" fmla="*/ 1653919 w 1987009"/>
              <a:gd name="connsiteY184" fmla="*/ 946541 h 1884082"/>
              <a:gd name="connsiteX185" fmla="*/ 1659346 w 1987009"/>
              <a:gd name="connsiteY185" fmla="*/ 940435 h 1884082"/>
              <a:gd name="connsiteX186" fmla="*/ 1710225 w 1987009"/>
              <a:gd name="connsiteY186" fmla="*/ 939078 h 1884082"/>
              <a:gd name="connsiteX187" fmla="*/ 1640351 w 1987009"/>
              <a:gd name="connsiteY187" fmla="*/ 831893 h 1884082"/>
              <a:gd name="connsiteX188" fmla="*/ 1765854 w 1987009"/>
              <a:gd name="connsiteY188" fmla="*/ 714531 h 1884082"/>
              <a:gd name="connsiteX189" fmla="*/ 1830979 w 1987009"/>
              <a:gd name="connsiteY189" fmla="*/ 711139 h 1884082"/>
              <a:gd name="connsiteX190" fmla="*/ 1738549 w 1987009"/>
              <a:gd name="connsiteY190" fmla="*/ 405184 h 1884082"/>
              <a:gd name="connsiteX191" fmla="*/ 1643065 w 1987009"/>
              <a:gd name="connsiteY191" fmla="*/ 431641 h 1884082"/>
              <a:gd name="connsiteX192" fmla="*/ 1577940 w 1987009"/>
              <a:gd name="connsiteY192" fmla="*/ 578852 h 1884082"/>
              <a:gd name="connsiteX193" fmla="*/ 1737362 w 1987009"/>
              <a:gd name="connsiteY193" fmla="*/ 599883 h 1884082"/>
              <a:gd name="connsiteX194" fmla="*/ 1804523 w 1987009"/>
              <a:gd name="connsiteY194" fmla="*/ 451993 h 1884082"/>
              <a:gd name="connsiteX195" fmla="*/ 1738549 w 1987009"/>
              <a:gd name="connsiteY195" fmla="*/ 405184 h 1884082"/>
              <a:gd name="connsiteX196" fmla="*/ 1743637 w 1987009"/>
              <a:gd name="connsiteY196" fmla="*/ 353287 h 1884082"/>
              <a:gd name="connsiteX197" fmla="*/ 1841834 w 1987009"/>
              <a:gd name="connsiteY197" fmla="*/ 430963 h 1884082"/>
              <a:gd name="connsiteX198" fmla="*/ 1767889 w 1987009"/>
              <a:gd name="connsiteY198" fmla="*/ 652119 h 1884082"/>
              <a:gd name="connsiteX199" fmla="*/ 1540628 w 1987009"/>
              <a:gd name="connsiteY199" fmla="*/ 599883 h 1884082"/>
              <a:gd name="connsiteX200" fmla="*/ 1613894 w 1987009"/>
              <a:gd name="connsiteY200" fmla="*/ 379405 h 1884082"/>
              <a:gd name="connsiteX201" fmla="*/ 1743637 w 1987009"/>
              <a:gd name="connsiteY201" fmla="*/ 353287 h 1884082"/>
              <a:gd name="connsiteX202" fmla="*/ 244220 w 1987009"/>
              <a:gd name="connsiteY202" fmla="*/ 274933 h 1884082"/>
              <a:gd name="connsiteX203" fmla="*/ 411783 w 1987009"/>
              <a:gd name="connsiteY203" fmla="*/ 410611 h 1884082"/>
              <a:gd name="connsiteX204" fmla="*/ 587487 w 1987009"/>
              <a:gd name="connsiteY204" fmla="*/ 546290 h 1884082"/>
              <a:gd name="connsiteX205" fmla="*/ 588165 w 1987009"/>
              <a:gd name="connsiteY205" fmla="*/ 554430 h 1884082"/>
              <a:gd name="connsiteX206" fmla="*/ 559673 w 1987009"/>
              <a:gd name="connsiteY206" fmla="*/ 591064 h 1884082"/>
              <a:gd name="connsiteX207" fmla="*/ 551532 w 1987009"/>
              <a:gd name="connsiteY207" fmla="*/ 591742 h 1884082"/>
              <a:gd name="connsiteX208" fmla="*/ 379220 w 1987009"/>
              <a:gd name="connsiteY208" fmla="*/ 452671 h 1884082"/>
              <a:gd name="connsiteX209" fmla="*/ 207587 w 1987009"/>
              <a:gd name="connsiteY209" fmla="*/ 321063 h 1884082"/>
              <a:gd name="connsiteX210" fmla="*/ 206909 w 1987009"/>
              <a:gd name="connsiteY210" fmla="*/ 312923 h 1884082"/>
              <a:gd name="connsiteX211" fmla="*/ 236080 w 1987009"/>
              <a:gd name="connsiteY211" fmla="*/ 275611 h 1884082"/>
              <a:gd name="connsiteX212" fmla="*/ 244220 w 1987009"/>
              <a:gd name="connsiteY212" fmla="*/ 274933 h 1884082"/>
              <a:gd name="connsiteX213" fmla="*/ 445703 w 1987009"/>
              <a:gd name="connsiteY213" fmla="*/ 230158 h 1884082"/>
              <a:gd name="connsiteX214" fmla="*/ 453844 w 1987009"/>
              <a:gd name="connsiteY214" fmla="*/ 230837 h 1884082"/>
              <a:gd name="connsiteX215" fmla="*/ 556959 w 1987009"/>
              <a:gd name="connsiteY215" fmla="*/ 344807 h 1884082"/>
              <a:gd name="connsiteX216" fmla="*/ 669572 w 1987009"/>
              <a:gd name="connsiteY216" fmla="*/ 465560 h 1884082"/>
              <a:gd name="connsiteX217" fmla="*/ 668894 w 1987009"/>
              <a:gd name="connsiteY217" fmla="*/ 473701 h 1884082"/>
              <a:gd name="connsiteX218" fmla="*/ 633618 w 1987009"/>
              <a:gd name="connsiteY218" fmla="*/ 505585 h 1884082"/>
              <a:gd name="connsiteX219" fmla="*/ 625477 w 1987009"/>
              <a:gd name="connsiteY219" fmla="*/ 504907 h 1884082"/>
              <a:gd name="connsiteX220" fmla="*/ 515577 w 1987009"/>
              <a:gd name="connsiteY220" fmla="*/ 383475 h 1884082"/>
              <a:gd name="connsiteX221" fmla="*/ 409748 w 1987009"/>
              <a:gd name="connsiteY221" fmla="*/ 270862 h 1884082"/>
              <a:gd name="connsiteX222" fmla="*/ 410427 w 1987009"/>
              <a:gd name="connsiteY222" fmla="*/ 262721 h 1884082"/>
              <a:gd name="connsiteX223" fmla="*/ 377185 w 1987009"/>
              <a:gd name="connsiteY223" fmla="*/ 154857 h 1884082"/>
              <a:gd name="connsiteX224" fmla="*/ 385326 w 1987009"/>
              <a:gd name="connsiteY224" fmla="*/ 155535 h 1884082"/>
              <a:gd name="connsiteX225" fmla="*/ 420603 w 1987009"/>
              <a:gd name="connsiteY225" fmla="*/ 194203 h 1884082"/>
              <a:gd name="connsiteX226" fmla="*/ 419924 w 1987009"/>
              <a:gd name="connsiteY226" fmla="*/ 202344 h 1884082"/>
              <a:gd name="connsiteX227" fmla="*/ 384648 w 1987009"/>
              <a:gd name="connsiteY227" fmla="*/ 234907 h 1884082"/>
              <a:gd name="connsiteX228" fmla="*/ 376507 w 1987009"/>
              <a:gd name="connsiteY228" fmla="*/ 234229 h 1884082"/>
              <a:gd name="connsiteX229" fmla="*/ 341231 w 1987009"/>
              <a:gd name="connsiteY229" fmla="*/ 195560 h 1884082"/>
              <a:gd name="connsiteX230" fmla="*/ 341909 w 1987009"/>
              <a:gd name="connsiteY230" fmla="*/ 187420 h 1884082"/>
              <a:gd name="connsiteX231" fmla="*/ 1431406 w 1987009"/>
              <a:gd name="connsiteY231" fmla="*/ 74806 h 1884082"/>
              <a:gd name="connsiteX232" fmla="*/ 1477537 w 1987009"/>
              <a:gd name="connsiteY232" fmla="*/ 103977 h 1884082"/>
              <a:gd name="connsiteX233" fmla="*/ 1481607 w 1987009"/>
              <a:gd name="connsiteY233" fmla="*/ 112118 h 1884082"/>
              <a:gd name="connsiteX234" fmla="*/ 1427336 w 1987009"/>
              <a:gd name="connsiteY234" fmla="*/ 373299 h 1884082"/>
              <a:gd name="connsiteX235" fmla="*/ 1626784 w 1987009"/>
              <a:gd name="connsiteY235" fmla="*/ 205058 h 1884082"/>
              <a:gd name="connsiteX236" fmla="*/ 1636281 w 1987009"/>
              <a:gd name="connsiteY236" fmla="*/ 204379 h 1884082"/>
              <a:gd name="connsiteX237" fmla="*/ 1677663 w 1987009"/>
              <a:gd name="connsiteY237" fmla="*/ 230158 h 1884082"/>
              <a:gd name="connsiteX238" fmla="*/ 1677663 w 1987009"/>
              <a:gd name="connsiteY238" fmla="*/ 236942 h 1884082"/>
              <a:gd name="connsiteX239" fmla="*/ 1322864 w 1987009"/>
              <a:gd name="connsiteY239" fmla="*/ 519153 h 1884082"/>
              <a:gd name="connsiteX240" fmla="*/ 1313366 w 1987009"/>
              <a:gd name="connsiteY240" fmla="*/ 519832 h 1884082"/>
              <a:gd name="connsiteX241" fmla="*/ 1276055 w 1987009"/>
              <a:gd name="connsiteY241" fmla="*/ 496088 h 1884082"/>
              <a:gd name="connsiteX242" fmla="*/ 1276055 w 1987009"/>
              <a:gd name="connsiteY242" fmla="*/ 489304 h 1884082"/>
              <a:gd name="connsiteX243" fmla="*/ 1360854 w 1987009"/>
              <a:gd name="connsiteY243" fmla="*/ 421465 h 1884082"/>
              <a:gd name="connsiteX244" fmla="*/ 1425301 w 1987009"/>
              <a:gd name="connsiteY244" fmla="*/ 76842 h 1884082"/>
              <a:gd name="connsiteX245" fmla="*/ 1431406 w 1987009"/>
              <a:gd name="connsiteY245" fmla="*/ 74806 h 1884082"/>
              <a:gd name="connsiteX246" fmla="*/ 1007411 w 1987009"/>
              <a:gd name="connsiteY246" fmla="*/ 42922 h 1884082"/>
              <a:gd name="connsiteX247" fmla="*/ 917185 w 1987009"/>
              <a:gd name="connsiteY247" fmla="*/ 144003 h 1884082"/>
              <a:gd name="connsiteX248" fmla="*/ 1101708 w 1987009"/>
              <a:gd name="connsiteY248" fmla="*/ 136541 h 1884082"/>
              <a:gd name="connsiteX249" fmla="*/ 1007411 w 1987009"/>
              <a:gd name="connsiteY249" fmla="*/ 42922 h 1884082"/>
              <a:gd name="connsiteX250" fmla="*/ 772688 w 1987009"/>
              <a:gd name="connsiteY250" fmla="*/ 36138 h 1884082"/>
              <a:gd name="connsiteX251" fmla="*/ 778115 w 1987009"/>
              <a:gd name="connsiteY251" fmla="*/ 38852 h 1884082"/>
              <a:gd name="connsiteX252" fmla="*/ 815427 w 1987009"/>
              <a:gd name="connsiteY252" fmla="*/ 378726 h 1884082"/>
              <a:gd name="connsiteX253" fmla="*/ 810678 w 1987009"/>
              <a:gd name="connsiteY253" fmla="*/ 386867 h 1884082"/>
              <a:gd name="connsiteX254" fmla="*/ 757764 w 1987009"/>
              <a:gd name="connsiteY254" fmla="*/ 412646 h 1884082"/>
              <a:gd name="connsiteX255" fmla="*/ 748266 w 1987009"/>
              <a:gd name="connsiteY255" fmla="*/ 411289 h 1884082"/>
              <a:gd name="connsiteX256" fmla="*/ 501331 w 1987009"/>
              <a:gd name="connsiteY256" fmla="*/ 175209 h 1884082"/>
              <a:gd name="connsiteX257" fmla="*/ 502688 w 1987009"/>
              <a:gd name="connsiteY257" fmla="*/ 169103 h 1884082"/>
              <a:gd name="connsiteX258" fmla="*/ 550176 w 1987009"/>
              <a:gd name="connsiteY258" fmla="*/ 146038 h 1884082"/>
              <a:gd name="connsiteX259" fmla="*/ 559673 w 1987009"/>
              <a:gd name="connsiteY259" fmla="*/ 148073 h 1884082"/>
              <a:gd name="connsiteX260" fmla="*/ 764547 w 1987009"/>
              <a:gd name="connsiteY260" fmla="*/ 354983 h 1884082"/>
              <a:gd name="connsiteX261" fmla="*/ 728593 w 1987009"/>
              <a:gd name="connsiteY261" fmla="*/ 64631 h 1884082"/>
              <a:gd name="connsiteX262" fmla="*/ 732663 w 1987009"/>
              <a:gd name="connsiteY262" fmla="*/ 55812 h 1884082"/>
              <a:gd name="connsiteX263" fmla="*/ 1005376 w 1987009"/>
              <a:gd name="connsiteY263" fmla="*/ 184 h 1884082"/>
              <a:gd name="connsiteX264" fmla="*/ 1166155 w 1987009"/>
              <a:gd name="connsiteY264" fmla="*/ 169103 h 1884082"/>
              <a:gd name="connsiteX265" fmla="*/ 1160728 w 1987009"/>
              <a:gd name="connsiteY265" fmla="*/ 175209 h 1884082"/>
              <a:gd name="connsiteX266" fmla="*/ 916507 w 1987009"/>
              <a:gd name="connsiteY266" fmla="*/ 184706 h 1884082"/>
              <a:gd name="connsiteX267" fmla="*/ 1020301 w 1987009"/>
              <a:gd name="connsiteY267" fmla="*/ 302747 h 1884082"/>
              <a:gd name="connsiteX268" fmla="*/ 1105100 w 1987009"/>
              <a:gd name="connsiteY268" fmla="*/ 225410 h 1884082"/>
              <a:gd name="connsiteX269" fmla="*/ 1111884 w 1987009"/>
              <a:gd name="connsiteY269" fmla="*/ 219304 h 1884082"/>
              <a:gd name="connsiteX270" fmla="*/ 1156657 w 1987009"/>
              <a:gd name="connsiteY270" fmla="*/ 217948 h 1884082"/>
              <a:gd name="connsiteX271" fmla="*/ 1162085 w 1987009"/>
              <a:gd name="connsiteY271" fmla="*/ 223375 h 1884082"/>
              <a:gd name="connsiteX272" fmla="*/ 1021657 w 1987009"/>
              <a:gd name="connsiteY272" fmla="*/ 345485 h 1884082"/>
              <a:gd name="connsiteX273" fmla="*/ 857487 w 1987009"/>
              <a:gd name="connsiteY273" fmla="*/ 179958 h 1884082"/>
              <a:gd name="connsiteX274" fmla="*/ 1005376 w 1987009"/>
              <a:gd name="connsiteY274" fmla="*/ 184 h 188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987009" h="1884082">
                <a:moveTo>
                  <a:pt x="1381206" y="1687344"/>
                </a:moveTo>
                <a:lnTo>
                  <a:pt x="1204824" y="1742294"/>
                </a:lnTo>
                <a:cubicBezTo>
                  <a:pt x="1222462" y="1792495"/>
                  <a:pt x="1264523" y="1826415"/>
                  <a:pt x="1320151" y="1808777"/>
                </a:cubicBezTo>
                <a:cubicBezTo>
                  <a:pt x="1372387" y="1792495"/>
                  <a:pt x="1391382" y="1749756"/>
                  <a:pt x="1381206" y="1687344"/>
                </a:cubicBezTo>
                <a:close/>
                <a:moveTo>
                  <a:pt x="904614" y="1538915"/>
                </a:moveTo>
                <a:cubicBezTo>
                  <a:pt x="921765" y="1536869"/>
                  <a:pt x="940420" y="1537251"/>
                  <a:pt x="959924" y="1540134"/>
                </a:cubicBezTo>
                <a:cubicBezTo>
                  <a:pt x="1046758" y="1553023"/>
                  <a:pt x="1097638" y="1599154"/>
                  <a:pt x="1089497" y="1675812"/>
                </a:cubicBezTo>
                <a:cubicBezTo>
                  <a:pt x="1088819" y="1679204"/>
                  <a:pt x="1086105" y="1681239"/>
                  <a:pt x="1082713" y="1680561"/>
                </a:cubicBezTo>
                <a:lnTo>
                  <a:pt x="1038618" y="1673777"/>
                </a:lnTo>
                <a:cubicBezTo>
                  <a:pt x="1035226" y="1673099"/>
                  <a:pt x="1033190" y="1670385"/>
                  <a:pt x="1033869" y="1666993"/>
                </a:cubicBezTo>
                <a:cubicBezTo>
                  <a:pt x="1038618" y="1615435"/>
                  <a:pt x="1010803" y="1587621"/>
                  <a:pt x="952462" y="1579480"/>
                </a:cubicBezTo>
                <a:cubicBezTo>
                  <a:pt x="904296" y="1572696"/>
                  <a:pt x="869698" y="1588300"/>
                  <a:pt x="864271" y="1624254"/>
                </a:cubicBezTo>
                <a:cubicBezTo>
                  <a:pt x="852060" y="1709732"/>
                  <a:pt x="1082035" y="1673099"/>
                  <a:pt x="1063040" y="1804707"/>
                </a:cubicBezTo>
                <a:cubicBezTo>
                  <a:pt x="1053542" y="1867797"/>
                  <a:pt x="997914" y="1892898"/>
                  <a:pt x="919899" y="1881365"/>
                </a:cubicBezTo>
                <a:cubicBezTo>
                  <a:pt x="843919" y="1870511"/>
                  <a:pt x="793040" y="1830485"/>
                  <a:pt x="797788" y="1761968"/>
                </a:cubicBezTo>
                <a:cubicBezTo>
                  <a:pt x="798467" y="1758576"/>
                  <a:pt x="801180" y="1756541"/>
                  <a:pt x="804572" y="1757219"/>
                </a:cubicBezTo>
                <a:lnTo>
                  <a:pt x="847311" y="1763325"/>
                </a:lnTo>
                <a:cubicBezTo>
                  <a:pt x="850703" y="1764003"/>
                  <a:pt x="852738" y="1766717"/>
                  <a:pt x="852738" y="1770109"/>
                </a:cubicBezTo>
                <a:cubicBezTo>
                  <a:pt x="850703" y="1812169"/>
                  <a:pt x="879195" y="1835913"/>
                  <a:pt x="926683" y="1842697"/>
                </a:cubicBezTo>
                <a:cubicBezTo>
                  <a:pt x="970778" y="1849481"/>
                  <a:pt x="1001984" y="1836591"/>
                  <a:pt x="1007412" y="1800636"/>
                </a:cubicBezTo>
                <a:cubicBezTo>
                  <a:pt x="1019623" y="1719229"/>
                  <a:pt x="788969" y="1757898"/>
                  <a:pt x="808643" y="1620862"/>
                </a:cubicBezTo>
                <a:cubicBezTo>
                  <a:pt x="815257" y="1573035"/>
                  <a:pt x="853162" y="1545052"/>
                  <a:pt x="904614" y="1538915"/>
                </a:cubicBezTo>
                <a:close/>
                <a:moveTo>
                  <a:pt x="1295718" y="1511683"/>
                </a:moveTo>
                <a:cubicBezTo>
                  <a:pt x="1359158" y="1517789"/>
                  <a:pt x="1406476" y="1564725"/>
                  <a:pt x="1429372" y="1636465"/>
                </a:cubicBezTo>
                <a:cubicBezTo>
                  <a:pt x="1459899" y="1734832"/>
                  <a:pt x="1424623" y="1819631"/>
                  <a:pt x="1333718" y="1848802"/>
                </a:cubicBezTo>
                <a:cubicBezTo>
                  <a:pt x="1242814" y="1877294"/>
                  <a:pt x="1168869" y="1831842"/>
                  <a:pt x="1134271" y="1727370"/>
                </a:cubicBezTo>
                <a:cubicBezTo>
                  <a:pt x="1133593" y="1723978"/>
                  <a:pt x="1134950" y="1721264"/>
                  <a:pt x="1138342" y="1719907"/>
                </a:cubicBezTo>
                <a:lnTo>
                  <a:pt x="1371030" y="1647319"/>
                </a:lnTo>
                <a:cubicBezTo>
                  <a:pt x="1345251" y="1572018"/>
                  <a:pt x="1301834" y="1541490"/>
                  <a:pt x="1240100" y="1560485"/>
                </a:cubicBezTo>
                <a:cubicBezTo>
                  <a:pt x="1193291" y="1574731"/>
                  <a:pt x="1172940" y="1608651"/>
                  <a:pt x="1178367" y="1656817"/>
                </a:cubicBezTo>
                <a:cubicBezTo>
                  <a:pt x="1179045" y="1660209"/>
                  <a:pt x="1176332" y="1663601"/>
                  <a:pt x="1173618" y="1664279"/>
                </a:cubicBezTo>
                <a:lnTo>
                  <a:pt x="1130201" y="1678525"/>
                </a:lnTo>
                <a:cubicBezTo>
                  <a:pt x="1126809" y="1679204"/>
                  <a:pt x="1124774" y="1677847"/>
                  <a:pt x="1123417" y="1674455"/>
                </a:cubicBezTo>
                <a:cubicBezTo>
                  <a:pt x="1113241" y="1607294"/>
                  <a:pt x="1145804" y="1544882"/>
                  <a:pt x="1227211" y="1519781"/>
                </a:cubicBezTo>
                <a:cubicBezTo>
                  <a:pt x="1251633" y="1512149"/>
                  <a:pt x="1274571" y="1509648"/>
                  <a:pt x="1295718" y="1511683"/>
                </a:cubicBezTo>
                <a:close/>
                <a:moveTo>
                  <a:pt x="688568" y="1443801"/>
                </a:moveTo>
                <a:cubicBezTo>
                  <a:pt x="701457" y="1446515"/>
                  <a:pt x="718417" y="1450585"/>
                  <a:pt x="731985" y="1458048"/>
                </a:cubicBezTo>
                <a:cubicBezTo>
                  <a:pt x="774723" y="1480435"/>
                  <a:pt x="798467" y="1521817"/>
                  <a:pt x="764548" y="1584907"/>
                </a:cubicBezTo>
                <a:lnTo>
                  <a:pt x="672965" y="1755862"/>
                </a:lnTo>
                <a:lnTo>
                  <a:pt x="705527" y="1772822"/>
                </a:lnTo>
                <a:cubicBezTo>
                  <a:pt x="708241" y="1774179"/>
                  <a:pt x="709598" y="1777570"/>
                  <a:pt x="707563" y="1780962"/>
                </a:cubicBezTo>
                <a:lnTo>
                  <a:pt x="691281" y="1810812"/>
                </a:lnTo>
                <a:cubicBezTo>
                  <a:pt x="689924" y="1813525"/>
                  <a:pt x="686532" y="1814882"/>
                  <a:pt x="683141" y="1813525"/>
                </a:cubicBezTo>
                <a:lnTo>
                  <a:pt x="650578" y="1796565"/>
                </a:lnTo>
                <a:lnTo>
                  <a:pt x="614623" y="1865083"/>
                </a:lnTo>
                <a:cubicBezTo>
                  <a:pt x="613266" y="1867797"/>
                  <a:pt x="609874" y="1869153"/>
                  <a:pt x="606482" y="1867118"/>
                </a:cubicBezTo>
                <a:lnTo>
                  <a:pt x="564422" y="1844731"/>
                </a:lnTo>
                <a:cubicBezTo>
                  <a:pt x="561708" y="1843375"/>
                  <a:pt x="560352" y="1839983"/>
                  <a:pt x="561708" y="1836591"/>
                </a:cubicBezTo>
                <a:lnTo>
                  <a:pt x="598342" y="1768751"/>
                </a:lnTo>
                <a:lnTo>
                  <a:pt x="531859" y="1732797"/>
                </a:lnTo>
                <a:cubicBezTo>
                  <a:pt x="529146" y="1731440"/>
                  <a:pt x="527789" y="1728048"/>
                  <a:pt x="529824" y="1724656"/>
                </a:cubicBezTo>
                <a:lnTo>
                  <a:pt x="546105" y="1694807"/>
                </a:lnTo>
                <a:cubicBezTo>
                  <a:pt x="547462" y="1692093"/>
                  <a:pt x="550854" y="1690736"/>
                  <a:pt x="554246" y="1692771"/>
                </a:cubicBezTo>
                <a:lnTo>
                  <a:pt x="620728" y="1728726"/>
                </a:lnTo>
                <a:lnTo>
                  <a:pt x="711633" y="1559128"/>
                </a:lnTo>
                <a:cubicBezTo>
                  <a:pt x="730628" y="1523852"/>
                  <a:pt x="724522" y="1506892"/>
                  <a:pt x="699422" y="1493324"/>
                </a:cubicBezTo>
                <a:cubicBezTo>
                  <a:pt x="687889" y="1487219"/>
                  <a:pt x="676357" y="1483148"/>
                  <a:pt x="667538" y="1480435"/>
                </a:cubicBezTo>
                <a:cubicBezTo>
                  <a:pt x="664146" y="1479756"/>
                  <a:pt x="662789" y="1476364"/>
                  <a:pt x="664146" y="1474329"/>
                </a:cubicBezTo>
                <a:lnTo>
                  <a:pt x="679749" y="1447872"/>
                </a:lnTo>
                <a:cubicBezTo>
                  <a:pt x="681105" y="1445158"/>
                  <a:pt x="685176" y="1443123"/>
                  <a:pt x="688568" y="1443801"/>
                </a:cubicBezTo>
                <a:close/>
                <a:moveTo>
                  <a:pt x="1553602" y="1402336"/>
                </a:moveTo>
                <a:cubicBezTo>
                  <a:pt x="1526212" y="1401063"/>
                  <a:pt x="1502638" y="1411918"/>
                  <a:pt x="1485000" y="1434983"/>
                </a:cubicBezTo>
                <a:cubicBezTo>
                  <a:pt x="1445653" y="1485184"/>
                  <a:pt x="1468718" y="1540812"/>
                  <a:pt x="1527738" y="1585586"/>
                </a:cubicBezTo>
                <a:cubicBezTo>
                  <a:pt x="1590150" y="1633074"/>
                  <a:pt x="1649849" y="1641893"/>
                  <a:pt x="1687839" y="1591692"/>
                </a:cubicBezTo>
                <a:cubicBezTo>
                  <a:pt x="1721759" y="1547596"/>
                  <a:pt x="1710226" y="1493325"/>
                  <a:pt x="1645100" y="1442445"/>
                </a:cubicBezTo>
                <a:cubicBezTo>
                  <a:pt x="1612198" y="1417006"/>
                  <a:pt x="1580992" y="1403607"/>
                  <a:pt x="1553602" y="1402336"/>
                </a:cubicBezTo>
                <a:close/>
                <a:moveTo>
                  <a:pt x="160100" y="1361038"/>
                </a:moveTo>
                <a:cubicBezTo>
                  <a:pt x="162813" y="1359681"/>
                  <a:pt x="166205" y="1361038"/>
                  <a:pt x="167562" y="1363751"/>
                </a:cubicBezTo>
                <a:lnTo>
                  <a:pt x="189271" y="1406490"/>
                </a:lnTo>
                <a:cubicBezTo>
                  <a:pt x="190628" y="1409204"/>
                  <a:pt x="189271" y="1412596"/>
                  <a:pt x="186557" y="1413952"/>
                </a:cubicBezTo>
                <a:lnTo>
                  <a:pt x="139748" y="1437696"/>
                </a:lnTo>
                <a:cubicBezTo>
                  <a:pt x="137035" y="1439053"/>
                  <a:pt x="133643" y="1437696"/>
                  <a:pt x="132286" y="1434982"/>
                </a:cubicBezTo>
                <a:lnTo>
                  <a:pt x="110577" y="1392244"/>
                </a:lnTo>
                <a:cubicBezTo>
                  <a:pt x="109220" y="1389530"/>
                  <a:pt x="110577" y="1386138"/>
                  <a:pt x="113291" y="1384782"/>
                </a:cubicBezTo>
                <a:close/>
                <a:moveTo>
                  <a:pt x="1548769" y="1298626"/>
                </a:moveTo>
                <a:lnTo>
                  <a:pt x="1738718" y="1445837"/>
                </a:lnTo>
                <a:lnTo>
                  <a:pt x="1896105" y="1563878"/>
                </a:lnTo>
                <a:cubicBezTo>
                  <a:pt x="1898819" y="1565913"/>
                  <a:pt x="1898819" y="1569305"/>
                  <a:pt x="1897462" y="1572018"/>
                </a:cubicBezTo>
                <a:lnTo>
                  <a:pt x="1868291" y="1610008"/>
                </a:lnTo>
                <a:cubicBezTo>
                  <a:pt x="1866256" y="1612722"/>
                  <a:pt x="1862864" y="1612722"/>
                  <a:pt x="1860151" y="1611365"/>
                </a:cubicBezTo>
                <a:lnTo>
                  <a:pt x="1730578" y="1510963"/>
                </a:lnTo>
                <a:cubicBezTo>
                  <a:pt x="1745502" y="1550310"/>
                  <a:pt x="1741432" y="1591692"/>
                  <a:pt x="1712939" y="1629003"/>
                </a:cubicBezTo>
                <a:cubicBezTo>
                  <a:pt x="1658668" y="1699556"/>
                  <a:pt x="1571155" y="1692094"/>
                  <a:pt x="1494497" y="1633752"/>
                </a:cubicBezTo>
                <a:cubicBezTo>
                  <a:pt x="1419196" y="1576767"/>
                  <a:pt x="1387990" y="1489933"/>
                  <a:pt x="1440904" y="1420737"/>
                </a:cubicBezTo>
                <a:cubicBezTo>
                  <a:pt x="1469397" y="1382747"/>
                  <a:pt x="1506708" y="1367144"/>
                  <a:pt x="1550125" y="1372571"/>
                </a:cubicBezTo>
                <a:lnTo>
                  <a:pt x="1513492" y="1346114"/>
                </a:lnTo>
                <a:cubicBezTo>
                  <a:pt x="1510779" y="1344079"/>
                  <a:pt x="1510779" y="1340687"/>
                  <a:pt x="1512135" y="1337973"/>
                </a:cubicBezTo>
                <a:lnTo>
                  <a:pt x="1540628" y="1299983"/>
                </a:lnTo>
                <a:cubicBezTo>
                  <a:pt x="1542663" y="1297269"/>
                  <a:pt x="1546055" y="1297269"/>
                  <a:pt x="1548769" y="1298626"/>
                </a:cubicBezTo>
                <a:close/>
                <a:moveTo>
                  <a:pt x="546105" y="1297947"/>
                </a:moveTo>
                <a:cubicBezTo>
                  <a:pt x="548819" y="1295912"/>
                  <a:pt x="552211" y="1296591"/>
                  <a:pt x="554246" y="1299304"/>
                </a:cubicBezTo>
                <a:lnTo>
                  <a:pt x="582738" y="1337294"/>
                </a:lnTo>
                <a:cubicBezTo>
                  <a:pt x="584773" y="1340008"/>
                  <a:pt x="584095" y="1343400"/>
                  <a:pt x="581381" y="1345435"/>
                </a:cubicBezTo>
                <a:lnTo>
                  <a:pt x="402964" y="1476365"/>
                </a:lnTo>
                <a:lnTo>
                  <a:pt x="232009" y="1608651"/>
                </a:lnTo>
                <a:cubicBezTo>
                  <a:pt x="229296" y="1610686"/>
                  <a:pt x="225904" y="1610008"/>
                  <a:pt x="223869" y="1607294"/>
                </a:cubicBezTo>
                <a:lnTo>
                  <a:pt x="195376" y="1569304"/>
                </a:lnTo>
                <a:cubicBezTo>
                  <a:pt x="193341" y="1566591"/>
                  <a:pt x="194020" y="1563199"/>
                  <a:pt x="196733" y="1561164"/>
                </a:cubicBezTo>
                <a:lnTo>
                  <a:pt x="370401" y="1433626"/>
                </a:lnTo>
                <a:close/>
                <a:moveTo>
                  <a:pt x="487763" y="1194153"/>
                </a:moveTo>
                <a:cubicBezTo>
                  <a:pt x="490477" y="1192797"/>
                  <a:pt x="493869" y="1194153"/>
                  <a:pt x="495226" y="1196867"/>
                </a:cubicBezTo>
                <a:lnTo>
                  <a:pt x="516934" y="1239606"/>
                </a:lnTo>
                <a:cubicBezTo>
                  <a:pt x="518291" y="1242319"/>
                  <a:pt x="516934" y="1245711"/>
                  <a:pt x="514220" y="1247068"/>
                </a:cubicBezTo>
                <a:lnTo>
                  <a:pt x="367009" y="1320334"/>
                </a:lnTo>
                <a:lnTo>
                  <a:pt x="229974" y="1391565"/>
                </a:lnTo>
                <a:cubicBezTo>
                  <a:pt x="227261" y="1392922"/>
                  <a:pt x="223869" y="1391565"/>
                  <a:pt x="222512" y="1388852"/>
                </a:cubicBezTo>
                <a:lnTo>
                  <a:pt x="200803" y="1346113"/>
                </a:lnTo>
                <a:cubicBezTo>
                  <a:pt x="199447" y="1343400"/>
                  <a:pt x="200803" y="1340008"/>
                  <a:pt x="203517" y="1338651"/>
                </a:cubicBezTo>
                <a:lnTo>
                  <a:pt x="341231" y="1270133"/>
                </a:lnTo>
                <a:close/>
                <a:moveTo>
                  <a:pt x="155352" y="1066615"/>
                </a:moveTo>
                <a:cubicBezTo>
                  <a:pt x="158744" y="1065937"/>
                  <a:pt x="161457" y="1067972"/>
                  <a:pt x="162136" y="1070686"/>
                </a:cubicBezTo>
                <a:lnTo>
                  <a:pt x="179095" y="1140560"/>
                </a:lnTo>
                <a:lnTo>
                  <a:pt x="312060" y="1107997"/>
                </a:lnTo>
                <a:lnTo>
                  <a:pt x="450452" y="1072721"/>
                </a:lnTo>
                <a:cubicBezTo>
                  <a:pt x="453844" y="1072043"/>
                  <a:pt x="456558" y="1074078"/>
                  <a:pt x="457236" y="1076791"/>
                </a:cubicBezTo>
                <a:lnTo>
                  <a:pt x="468769" y="1124957"/>
                </a:lnTo>
                <a:cubicBezTo>
                  <a:pt x="469447" y="1128349"/>
                  <a:pt x="467412" y="1131063"/>
                  <a:pt x="464699" y="1131741"/>
                </a:cubicBezTo>
                <a:lnTo>
                  <a:pt x="324950" y="1162947"/>
                </a:lnTo>
                <a:lnTo>
                  <a:pt x="191985" y="1194832"/>
                </a:lnTo>
                <a:lnTo>
                  <a:pt x="202839" y="1239605"/>
                </a:lnTo>
                <a:cubicBezTo>
                  <a:pt x="203518" y="1242997"/>
                  <a:pt x="201482" y="1245711"/>
                  <a:pt x="198769" y="1246389"/>
                </a:cubicBezTo>
                <a:lnTo>
                  <a:pt x="166206" y="1253852"/>
                </a:lnTo>
                <a:cubicBezTo>
                  <a:pt x="162814" y="1254530"/>
                  <a:pt x="160100" y="1252495"/>
                  <a:pt x="159422" y="1249781"/>
                </a:cubicBezTo>
                <a:lnTo>
                  <a:pt x="148568" y="1205008"/>
                </a:lnTo>
                <a:lnTo>
                  <a:pt x="120754" y="1211791"/>
                </a:lnTo>
                <a:cubicBezTo>
                  <a:pt x="50201" y="1228751"/>
                  <a:pt x="14925" y="1191440"/>
                  <a:pt x="5427" y="1150736"/>
                </a:cubicBezTo>
                <a:cubicBezTo>
                  <a:pt x="2035" y="1136490"/>
                  <a:pt x="0" y="1119530"/>
                  <a:pt x="0" y="1107997"/>
                </a:cubicBezTo>
                <a:cubicBezTo>
                  <a:pt x="0" y="1104605"/>
                  <a:pt x="2714" y="1101214"/>
                  <a:pt x="5427" y="1100535"/>
                </a:cubicBezTo>
                <a:lnTo>
                  <a:pt x="37312" y="1093073"/>
                </a:lnTo>
                <a:cubicBezTo>
                  <a:pt x="40025" y="1092394"/>
                  <a:pt x="42739" y="1094430"/>
                  <a:pt x="42739" y="1097822"/>
                </a:cubicBezTo>
                <a:cubicBezTo>
                  <a:pt x="42060" y="1107319"/>
                  <a:pt x="43417" y="1117495"/>
                  <a:pt x="46131" y="1128349"/>
                </a:cubicBezTo>
                <a:cubicBezTo>
                  <a:pt x="52236" y="1154128"/>
                  <a:pt x="71910" y="1165661"/>
                  <a:pt x="111935" y="1156163"/>
                </a:cubicBezTo>
                <a:lnTo>
                  <a:pt x="135678" y="1150736"/>
                </a:lnTo>
                <a:lnTo>
                  <a:pt x="118719" y="1080862"/>
                </a:lnTo>
                <a:cubicBezTo>
                  <a:pt x="118040" y="1077470"/>
                  <a:pt x="120075" y="1074756"/>
                  <a:pt x="122789" y="1074078"/>
                </a:cubicBezTo>
                <a:close/>
                <a:moveTo>
                  <a:pt x="1659346" y="1048978"/>
                </a:moveTo>
                <a:lnTo>
                  <a:pt x="1818768" y="1080862"/>
                </a:lnTo>
                <a:lnTo>
                  <a:pt x="1972085" y="1107998"/>
                </a:lnTo>
                <a:cubicBezTo>
                  <a:pt x="1975477" y="1108676"/>
                  <a:pt x="1977512" y="1111390"/>
                  <a:pt x="1976834" y="1114782"/>
                </a:cubicBezTo>
                <a:lnTo>
                  <a:pt x="1968015" y="1161591"/>
                </a:lnTo>
                <a:cubicBezTo>
                  <a:pt x="1967336" y="1164983"/>
                  <a:pt x="1964623" y="1167018"/>
                  <a:pt x="1961231" y="1166340"/>
                </a:cubicBezTo>
                <a:lnTo>
                  <a:pt x="1906959" y="1153450"/>
                </a:lnTo>
                <a:cubicBezTo>
                  <a:pt x="1944271" y="1184656"/>
                  <a:pt x="1958517" y="1230109"/>
                  <a:pt x="1949698" y="1275561"/>
                </a:cubicBezTo>
                <a:cubicBezTo>
                  <a:pt x="1948341" y="1282345"/>
                  <a:pt x="1946306" y="1288450"/>
                  <a:pt x="1944271" y="1293878"/>
                </a:cubicBezTo>
                <a:cubicBezTo>
                  <a:pt x="1942914" y="1296591"/>
                  <a:pt x="1939522" y="1298626"/>
                  <a:pt x="1936130" y="1297948"/>
                </a:cubicBezTo>
                <a:lnTo>
                  <a:pt x="1900854" y="1291164"/>
                </a:lnTo>
                <a:cubicBezTo>
                  <a:pt x="1898140" y="1290486"/>
                  <a:pt x="1896105" y="1287772"/>
                  <a:pt x="1897462" y="1284380"/>
                </a:cubicBezTo>
                <a:cubicBezTo>
                  <a:pt x="1898819" y="1279631"/>
                  <a:pt x="1900854" y="1273526"/>
                  <a:pt x="1902211" y="1266064"/>
                </a:cubicBezTo>
                <a:cubicBezTo>
                  <a:pt x="1912386" y="1211114"/>
                  <a:pt x="1887965" y="1157521"/>
                  <a:pt x="1818090" y="1137169"/>
                </a:cubicBezTo>
                <a:lnTo>
                  <a:pt x="1647814" y="1105963"/>
                </a:lnTo>
                <a:cubicBezTo>
                  <a:pt x="1644422" y="1105284"/>
                  <a:pt x="1642387" y="1102571"/>
                  <a:pt x="1643065" y="1099179"/>
                </a:cubicBezTo>
                <a:lnTo>
                  <a:pt x="1652562" y="1053727"/>
                </a:lnTo>
                <a:cubicBezTo>
                  <a:pt x="1653241" y="1050335"/>
                  <a:pt x="1655954" y="1048300"/>
                  <a:pt x="1659346" y="1048978"/>
                </a:cubicBezTo>
                <a:close/>
                <a:moveTo>
                  <a:pt x="260502" y="767445"/>
                </a:moveTo>
                <a:cubicBezTo>
                  <a:pt x="208266" y="763375"/>
                  <a:pt x="160100" y="788476"/>
                  <a:pt x="153995" y="846817"/>
                </a:cubicBezTo>
                <a:cubicBezTo>
                  <a:pt x="147889" y="901089"/>
                  <a:pt x="179774" y="936365"/>
                  <a:pt x="240829" y="951290"/>
                </a:cubicBezTo>
                <a:close/>
                <a:moveTo>
                  <a:pt x="301884" y="708425"/>
                </a:moveTo>
                <a:cubicBezTo>
                  <a:pt x="305276" y="709104"/>
                  <a:pt x="307311" y="711817"/>
                  <a:pt x="307311" y="714531"/>
                </a:cubicBezTo>
                <a:lnTo>
                  <a:pt x="280854" y="956717"/>
                </a:lnTo>
                <a:cubicBezTo>
                  <a:pt x="360226" y="963501"/>
                  <a:pt x="405678" y="935687"/>
                  <a:pt x="412462" y="871239"/>
                </a:cubicBezTo>
                <a:cubicBezTo>
                  <a:pt x="417889" y="823074"/>
                  <a:pt x="395502" y="790511"/>
                  <a:pt x="348693" y="775586"/>
                </a:cubicBezTo>
                <a:cubicBezTo>
                  <a:pt x="345301" y="774908"/>
                  <a:pt x="343266" y="770837"/>
                  <a:pt x="343944" y="768124"/>
                </a:cubicBezTo>
                <a:lnTo>
                  <a:pt x="348693" y="724707"/>
                </a:lnTo>
                <a:cubicBezTo>
                  <a:pt x="349372" y="721315"/>
                  <a:pt x="352085" y="719958"/>
                  <a:pt x="354799" y="719958"/>
                </a:cubicBezTo>
                <a:cubicBezTo>
                  <a:pt x="420603" y="737596"/>
                  <a:pt x="464020" y="792546"/>
                  <a:pt x="455201" y="876667"/>
                </a:cubicBezTo>
                <a:cubicBezTo>
                  <a:pt x="444347" y="978425"/>
                  <a:pt x="367688" y="1025913"/>
                  <a:pt x="267286" y="1015059"/>
                </a:cubicBezTo>
                <a:cubicBezTo>
                  <a:pt x="164849" y="1004204"/>
                  <a:pt x="101080" y="937722"/>
                  <a:pt x="111256" y="842747"/>
                </a:cubicBezTo>
                <a:cubicBezTo>
                  <a:pt x="121432" y="747772"/>
                  <a:pt x="192663" y="698928"/>
                  <a:pt x="301884" y="708425"/>
                </a:cubicBezTo>
                <a:close/>
                <a:moveTo>
                  <a:pt x="1965979" y="702998"/>
                </a:moveTo>
                <a:cubicBezTo>
                  <a:pt x="1969371" y="702998"/>
                  <a:pt x="1972085" y="705033"/>
                  <a:pt x="1972085" y="708425"/>
                </a:cubicBezTo>
                <a:lnTo>
                  <a:pt x="1974798" y="756591"/>
                </a:lnTo>
                <a:cubicBezTo>
                  <a:pt x="1974798" y="759983"/>
                  <a:pt x="1972763" y="762696"/>
                  <a:pt x="1969371" y="762696"/>
                </a:cubicBezTo>
                <a:lnTo>
                  <a:pt x="1834371" y="768802"/>
                </a:lnTo>
                <a:lnTo>
                  <a:pt x="1771281" y="772194"/>
                </a:lnTo>
                <a:cubicBezTo>
                  <a:pt x="1711582" y="775586"/>
                  <a:pt x="1686482" y="804757"/>
                  <a:pt x="1688517" y="846817"/>
                </a:cubicBezTo>
                <a:cubicBezTo>
                  <a:pt x="1690552" y="889556"/>
                  <a:pt x="1727185" y="923475"/>
                  <a:pt x="1792989" y="932294"/>
                </a:cubicBezTo>
                <a:lnTo>
                  <a:pt x="1843190" y="929581"/>
                </a:lnTo>
                <a:lnTo>
                  <a:pt x="1978190" y="921440"/>
                </a:lnTo>
                <a:cubicBezTo>
                  <a:pt x="1981582" y="921440"/>
                  <a:pt x="1984296" y="923475"/>
                  <a:pt x="1984296" y="926867"/>
                </a:cubicBezTo>
                <a:lnTo>
                  <a:pt x="1987009" y="975712"/>
                </a:lnTo>
                <a:cubicBezTo>
                  <a:pt x="1987009" y="979104"/>
                  <a:pt x="1984974" y="981817"/>
                  <a:pt x="1981582" y="981817"/>
                </a:cubicBezTo>
                <a:lnTo>
                  <a:pt x="1836406" y="987244"/>
                </a:lnTo>
                <a:lnTo>
                  <a:pt x="1662738" y="997420"/>
                </a:lnTo>
                <a:cubicBezTo>
                  <a:pt x="1659346" y="997420"/>
                  <a:pt x="1656633" y="995385"/>
                  <a:pt x="1656633" y="991993"/>
                </a:cubicBezTo>
                <a:lnTo>
                  <a:pt x="1653919" y="946541"/>
                </a:lnTo>
                <a:cubicBezTo>
                  <a:pt x="1653919" y="943149"/>
                  <a:pt x="1655954" y="940435"/>
                  <a:pt x="1659346" y="940435"/>
                </a:cubicBezTo>
                <a:lnTo>
                  <a:pt x="1710225" y="939078"/>
                </a:lnTo>
                <a:cubicBezTo>
                  <a:pt x="1675627" y="920084"/>
                  <a:pt x="1643065" y="884129"/>
                  <a:pt x="1640351" y="831893"/>
                </a:cubicBezTo>
                <a:cubicBezTo>
                  <a:pt x="1636959" y="764053"/>
                  <a:pt x="1679698" y="718601"/>
                  <a:pt x="1765854" y="714531"/>
                </a:cubicBezTo>
                <a:lnTo>
                  <a:pt x="1830979" y="711139"/>
                </a:lnTo>
                <a:close/>
                <a:moveTo>
                  <a:pt x="1738549" y="405184"/>
                </a:moveTo>
                <a:cubicBezTo>
                  <a:pt x="1711244" y="402131"/>
                  <a:pt x="1679020" y="411289"/>
                  <a:pt x="1643065" y="431641"/>
                </a:cubicBezTo>
                <a:cubicBezTo>
                  <a:pt x="1571156" y="472345"/>
                  <a:pt x="1546734" y="522546"/>
                  <a:pt x="1577940" y="578852"/>
                </a:cubicBezTo>
                <a:cubicBezTo>
                  <a:pt x="1609824" y="635159"/>
                  <a:pt x="1665452" y="639908"/>
                  <a:pt x="1737362" y="599883"/>
                </a:cubicBezTo>
                <a:cubicBezTo>
                  <a:pt x="1809271" y="559179"/>
                  <a:pt x="1835729" y="507621"/>
                  <a:pt x="1804523" y="451993"/>
                </a:cubicBezTo>
                <a:cubicBezTo>
                  <a:pt x="1788242" y="423500"/>
                  <a:pt x="1765855" y="408237"/>
                  <a:pt x="1738549" y="405184"/>
                </a:cubicBezTo>
                <a:close/>
                <a:moveTo>
                  <a:pt x="1743637" y="353287"/>
                </a:moveTo>
                <a:cubicBezTo>
                  <a:pt x="1783153" y="361597"/>
                  <a:pt x="1817412" y="387206"/>
                  <a:pt x="1841834" y="430963"/>
                </a:cubicBezTo>
                <a:cubicBezTo>
                  <a:pt x="1891357" y="518475"/>
                  <a:pt x="1858794" y="601239"/>
                  <a:pt x="1767889" y="652119"/>
                </a:cubicBezTo>
                <a:cubicBezTo>
                  <a:pt x="1677663" y="702998"/>
                  <a:pt x="1590151" y="688074"/>
                  <a:pt x="1540628" y="599883"/>
                </a:cubicBezTo>
                <a:cubicBezTo>
                  <a:pt x="1491784" y="512370"/>
                  <a:pt x="1523668" y="430285"/>
                  <a:pt x="1613894" y="379405"/>
                </a:cubicBezTo>
                <a:cubicBezTo>
                  <a:pt x="1659346" y="353965"/>
                  <a:pt x="1704120" y="344977"/>
                  <a:pt x="1743637" y="353287"/>
                </a:cubicBezTo>
                <a:close/>
                <a:moveTo>
                  <a:pt x="244220" y="274933"/>
                </a:moveTo>
                <a:lnTo>
                  <a:pt x="411783" y="410611"/>
                </a:lnTo>
                <a:lnTo>
                  <a:pt x="587487" y="546290"/>
                </a:lnTo>
                <a:cubicBezTo>
                  <a:pt x="590200" y="548325"/>
                  <a:pt x="590200" y="551717"/>
                  <a:pt x="588165" y="554430"/>
                </a:cubicBezTo>
                <a:lnTo>
                  <a:pt x="559673" y="591064"/>
                </a:lnTo>
                <a:cubicBezTo>
                  <a:pt x="557637" y="593777"/>
                  <a:pt x="554245" y="593777"/>
                  <a:pt x="551532" y="591742"/>
                </a:cubicBezTo>
                <a:lnTo>
                  <a:pt x="379220" y="452671"/>
                </a:lnTo>
                <a:lnTo>
                  <a:pt x="207587" y="321063"/>
                </a:lnTo>
                <a:cubicBezTo>
                  <a:pt x="204874" y="319028"/>
                  <a:pt x="204874" y="315636"/>
                  <a:pt x="206909" y="312923"/>
                </a:cubicBezTo>
                <a:lnTo>
                  <a:pt x="236080" y="275611"/>
                </a:lnTo>
                <a:cubicBezTo>
                  <a:pt x="238115" y="272898"/>
                  <a:pt x="241507" y="272898"/>
                  <a:pt x="244220" y="274933"/>
                </a:cubicBezTo>
                <a:close/>
                <a:moveTo>
                  <a:pt x="445703" y="230158"/>
                </a:moveTo>
                <a:cubicBezTo>
                  <a:pt x="447738" y="228123"/>
                  <a:pt x="451809" y="228123"/>
                  <a:pt x="453844" y="230837"/>
                </a:cubicBezTo>
                <a:lnTo>
                  <a:pt x="556959" y="344807"/>
                </a:lnTo>
                <a:lnTo>
                  <a:pt x="669572" y="465560"/>
                </a:lnTo>
                <a:cubicBezTo>
                  <a:pt x="671608" y="467596"/>
                  <a:pt x="671608" y="471666"/>
                  <a:pt x="668894" y="473701"/>
                </a:cubicBezTo>
                <a:lnTo>
                  <a:pt x="633618" y="505585"/>
                </a:lnTo>
                <a:cubicBezTo>
                  <a:pt x="631582" y="507621"/>
                  <a:pt x="627512" y="507621"/>
                  <a:pt x="625477" y="504907"/>
                </a:cubicBezTo>
                <a:lnTo>
                  <a:pt x="515577" y="383475"/>
                </a:lnTo>
                <a:lnTo>
                  <a:pt x="409748" y="270862"/>
                </a:lnTo>
                <a:cubicBezTo>
                  <a:pt x="407713" y="268827"/>
                  <a:pt x="407713" y="264756"/>
                  <a:pt x="410427" y="262721"/>
                </a:cubicBezTo>
                <a:close/>
                <a:moveTo>
                  <a:pt x="377185" y="154857"/>
                </a:moveTo>
                <a:cubicBezTo>
                  <a:pt x="379221" y="152822"/>
                  <a:pt x="383291" y="152822"/>
                  <a:pt x="385326" y="155535"/>
                </a:cubicBezTo>
                <a:lnTo>
                  <a:pt x="420603" y="194203"/>
                </a:lnTo>
                <a:cubicBezTo>
                  <a:pt x="422638" y="196239"/>
                  <a:pt x="422638" y="200309"/>
                  <a:pt x="419924" y="202344"/>
                </a:cubicBezTo>
                <a:lnTo>
                  <a:pt x="384648" y="234907"/>
                </a:lnTo>
                <a:cubicBezTo>
                  <a:pt x="382613" y="236942"/>
                  <a:pt x="378542" y="236942"/>
                  <a:pt x="376507" y="234229"/>
                </a:cubicBezTo>
                <a:lnTo>
                  <a:pt x="341231" y="195560"/>
                </a:lnTo>
                <a:cubicBezTo>
                  <a:pt x="339196" y="193525"/>
                  <a:pt x="339196" y="189455"/>
                  <a:pt x="341909" y="187420"/>
                </a:cubicBezTo>
                <a:close/>
                <a:moveTo>
                  <a:pt x="1431406" y="74806"/>
                </a:moveTo>
                <a:lnTo>
                  <a:pt x="1477537" y="103977"/>
                </a:lnTo>
                <a:cubicBezTo>
                  <a:pt x="1480251" y="106012"/>
                  <a:pt x="1481607" y="109404"/>
                  <a:pt x="1481607" y="112118"/>
                </a:cubicBezTo>
                <a:lnTo>
                  <a:pt x="1427336" y="373299"/>
                </a:lnTo>
                <a:lnTo>
                  <a:pt x="1626784" y="205058"/>
                </a:lnTo>
                <a:cubicBezTo>
                  <a:pt x="1629497" y="203023"/>
                  <a:pt x="1633567" y="202344"/>
                  <a:pt x="1636281" y="204379"/>
                </a:cubicBezTo>
                <a:lnTo>
                  <a:pt x="1677663" y="230158"/>
                </a:lnTo>
                <a:cubicBezTo>
                  <a:pt x="1680376" y="232193"/>
                  <a:pt x="1680376" y="234907"/>
                  <a:pt x="1677663" y="236942"/>
                </a:cubicBezTo>
                <a:lnTo>
                  <a:pt x="1322864" y="519153"/>
                </a:lnTo>
                <a:cubicBezTo>
                  <a:pt x="1320150" y="521188"/>
                  <a:pt x="1316080" y="521867"/>
                  <a:pt x="1313366" y="519832"/>
                </a:cubicBezTo>
                <a:lnTo>
                  <a:pt x="1276055" y="496088"/>
                </a:lnTo>
                <a:cubicBezTo>
                  <a:pt x="1274020" y="494731"/>
                  <a:pt x="1273341" y="491339"/>
                  <a:pt x="1276055" y="489304"/>
                </a:cubicBezTo>
                <a:lnTo>
                  <a:pt x="1360854" y="421465"/>
                </a:lnTo>
                <a:lnTo>
                  <a:pt x="1425301" y="76842"/>
                </a:lnTo>
                <a:cubicBezTo>
                  <a:pt x="1425979" y="74128"/>
                  <a:pt x="1429371" y="73450"/>
                  <a:pt x="1431406" y="74806"/>
                </a:cubicBezTo>
                <a:close/>
                <a:moveTo>
                  <a:pt x="1007411" y="42922"/>
                </a:moveTo>
                <a:cubicBezTo>
                  <a:pt x="953140" y="44958"/>
                  <a:pt x="922612" y="81591"/>
                  <a:pt x="917185" y="144003"/>
                </a:cubicBezTo>
                <a:lnTo>
                  <a:pt x="1101708" y="136541"/>
                </a:lnTo>
                <a:cubicBezTo>
                  <a:pt x="1097637" y="84304"/>
                  <a:pt x="1065753" y="40209"/>
                  <a:pt x="1007411" y="42922"/>
                </a:cubicBezTo>
                <a:close/>
                <a:moveTo>
                  <a:pt x="772688" y="36138"/>
                </a:moveTo>
                <a:cubicBezTo>
                  <a:pt x="775402" y="34782"/>
                  <a:pt x="778115" y="36817"/>
                  <a:pt x="778115" y="38852"/>
                </a:cubicBezTo>
                <a:lnTo>
                  <a:pt x="815427" y="378726"/>
                </a:lnTo>
                <a:cubicBezTo>
                  <a:pt x="815427" y="381440"/>
                  <a:pt x="813392" y="385510"/>
                  <a:pt x="810678" y="386867"/>
                </a:cubicBezTo>
                <a:lnTo>
                  <a:pt x="757764" y="412646"/>
                </a:lnTo>
                <a:cubicBezTo>
                  <a:pt x="755050" y="414003"/>
                  <a:pt x="750980" y="413324"/>
                  <a:pt x="748266" y="411289"/>
                </a:cubicBezTo>
                <a:lnTo>
                  <a:pt x="501331" y="175209"/>
                </a:lnTo>
                <a:cubicBezTo>
                  <a:pt x="499296" y="173174"/>
                  <a:pt x="499975" y="169782"/>
                  <a:pt x="502688" y="169103"/>
                </a:cubicBezTo>
                <a:lnTo>
                  <a:pt x="550176" y="146038"/>
                </a:lnTo>
                <a:cubicBezTo>
                  <a:pt x="552889" y="144681"/>
                  <a:pt x="556959" y="145359"/>
                  <a:pt x="559673" y="148073"/>
                </a:cubicBezTo>
                <a:lnTo>
                  <a:pt x="764547" y="354983"/>
                </a:lnTo>
                <a:lnTo>
                  <a:pt x="728593" y="64631"/>
                </a:lnTo>
                <a:cubicBezTo>
                  <a:pt x="728593" y="61239"/>
                  <a:pt x="729949" y="57168"/>
                  <a:pt x="732663" y="55812"/>
                </a:cubicBezTo>
                <a:close/>
                <a:moveTo>
                  <a:pt x="1005376" y="184"/>
                </a:moveTo>
                <a:cubicBezTo>
                  <a:pt x="1101029" y="-3887"/>
                  <a:pt x="1160049" y="59882"/>
                  <a:pt x="1166155" y="169103"/>
                </a:cubicBezTo>
                <a:cubicBezTo>
                  <a:pt x="1166155" y="172495"/>
                  <a:pt x="1164120" y="175209"/>
                  <a:pt x="1160728" y="175209"/>
                </a:cubicBezTo>
                <a:lnTo>
                  <a:pt x="916507" y="184706"/>
                </a:lnTo>
                <a:cubicBezTo>
                  <a:pt x="921255" y="264078"/>
                  <a:pt x="955853" y="305460"/>
                  <a:pt x="1020301" y="302747"/>
                </a:cubicBezTo>
                <a:cubicBezTo>
                  <a:pt x="1069145" y="300712"/>
                  <a:pt x="1097637" y="274254"/>
                  <a:pt x="1105100" y="225410"/>
                </a:cubicBezTo>
                <a:cubicBezTo>
                  <a:pt x="1105778" y="222018"/>
                  <a:pt x="1108492" y="219304"/>
                  <a:pt x="1111884" y="219304"/>
                </a:cubicBezTo>
                <a:lnTo>
                  <a:pt x="1156657" y="217948"/>
                </a:lnTo>
                <a:cubicBezTo>
                  <a:pt x="1160049" y="217948"/>
                  <a:pt x="1162085" y="219983"/>
                  <a:pt x="1162085" y="223375"/>
                </a:cubicBezTo>
                <a:cubicBezTo>
                  <a:pt x="1154622" y="291214"/>
                  <a:pt x="1106456" y="342093"/>
                  <a:pt x="1021657" y="345485"/>
                </a:cubicBezTo>
                <a:cubicBezTo>
                  <a:pt x="919220" y="349556"/>
                  <a:pt x="860879" y="280360"/>
                  <a:pt x="857487" y="179958"/>
                </a:cubicBezTo>
                <a:cubicBezTo>
                  <a:pt x="853416" y="76842"/>
                  <a:pt x="909723" y="4254"/>
                  <a:pt x="1005376" y="184"/>
                </a:cubicBezTo>
                <a:close/>
              </a:path>
            </a:pathLst>
          </a:custGeom>
          <a:solidFill>
            <a:schemeClr val="tx1"/>
          </a:solidFill>
        </p:spPr>
        <p:txBody>
          <a:bodyPr wrap="square">
            <a:noAutofit/>
          </a:bodyPr>
          <a:lstStyle/>
          <a:p>
            <a:pPr lvl="0"/>
            <a:r>
              <a:rPr lang="en-US"/>
              <a:t>  </a:t>
            </a:r>
          </a:p>
        </p:txBody>
      </p:sp>
      <p:sp>
        <p:nvSpPr>
          <p:cNvPr id="5" name="LYBL 2" descr="live your best life tagline graphic">
            <a:extLst>
              <a:ext uri="{FF2B5EF4-FFF2-40B4-BE49-F238E27FC236}">
                <a16:creationId xmlns:a16="http://schemas.microsoft.com/office/drawing/2014/main" id="{FAD837E8-1A5A-7B60-1F8E-AFADBE996FF2}"/>
              </a:ext>
            </a:extLst>
          </p:cNvPr>
          <p:cNvSpPr>
            <a:spLocks noGrp="1"/>
          </p:cNvSpPr>
          <p:nvPr>
            <p:ph type="body" sz="quarter" idx="20" hasCustomPrompt="1"/>
          </p:nvPr>
        </p:nvSpPr>
        <p:spPr>
          <a:xfrm>
            <a:off x="13215362" y="3568413"/>
            <a:ext cx="1501783" cy="711174"/>
          </a:xfrm>
          <a:custGeom>
            <a:avLst/>
            <a:gdLst>
              <a:gd name="connsiteX0" fmla="*/ 100336 w 1501783"/>
              <a:gd name="connsiteY0" fmla="*/ 507251 h 711174"/>
              <a:gd name="connsiteX1" fmla="*/ 37626 w 1501783"/>
              <a:gd name="connsiteY1" fmla="*/ 591793 h 711174"/>
              <a:gd name="connsiteX2" fmla="*/ 99407 w 1501783"/>
              <a:gd name="connsiteY2" fmla="*/ 680980 h 711174"/>
              <a:gd name="connsiteX3" fmla="*/ 163046 w 1501783"/>
              <a:gd name="connsiteY3" fmla="*/ 595974 h 711174"/>
              <a:gd name="connsiteX4" fmla="*/ 100336 w 1501783"/>
              <a:gd name="connsiteY4" fmla="*/ 507251 h 711174"/>
              <a:gd name="connsiteX5" fmla="*/ 327484 w 1501783"/>
              <a:gd name="connsiteY5" fmla="*/ 505858 h 711174"/>
              <a:gd name="connsiteX6" fmla="*/ 263381 w 1501783"/>
              <a:gd name="connsiteY6" fmla="*/ 571819 h 711174"/>
              <a:gd name="connsiteX7" fmla="*/ 388801 w 1501783"/>
              <a:gd name="connsiteY7" fmla="*/ 571819 h 711174"/>
              <a:gd name="connsiteX8" fmla="*/ 327484 w 1501783"/>
              <a:gd name="connsiteY8" fmla="*/ 505858 h 711174"/>
              <a:gd name="connsiteX9" fmla="*/ 1302505 w 1501783"/>
              <a:gd name="connsiteY9" fmla="*/ 504929 h 711174"/>
              <a:gd name="connsiteX10" fmla="*/ 1238402 w 1501783"/>
              <a:gd name="connsiteY10" fmla="*/ 570890 h 711174"/>
              <a:gd name="connsiteX11" fmla="*/ 1363822 w 1501783"/>
              <a:gd name="connsiteY11" fmla="*/ 570890 h 711174"/>
              <a:gd name="connsiteX12" fmla="*/ 1302505 w 1501783"/>
              <a:gd name="connsiteY12" fmla="*/ 504929 h 711174"/>
              <a:gd name="connsiteX13" fmla="*/ 1005215 w 1501783"/>
              <a:gd name="connsiteY13" fmla="*/ 481703 h 711174"/>
              <a:gd name="connsiteX14" fmla="*/ 1037731 w 1501783"/>
              <a:gd name="connsiteY14" fmla="*/ 481703 h 711174"/>
              <a:gd name="connsiteX15" fmla="*/ 1041448 w 1501783"/>
              <a:gd name="connsiteY15" fmla="*/ 485419 h 711174"/>
              <a:gd name="connsiteX16" fmla="*/ 1040518 w 1501783"/>
              <a:gd name="connsiteY16" fmla="*/ 589935 h 711174"/>
              <a:gd name="connsiteX17" fmla="*/ 1041448 w 1501783"/>
              <a:gd name="connsiteY17" fmla="*/ 701884 h 711174"/>
              <a:gd name="connsiteX18" fmla="*/ 1037731 w 1501783"/>
              <a:gd name="connsiteY18" fmla="*/ 705600 h 711174"/>
              <a:gd name="connsiteX19" fmla="*/ 1005215 w 1501783"/>
              <a:gd name="connsiteY19" fmla="*/ 705600 h 711174"/>
              <a:gd name="connsiteX20" fmla="*/ 1001499 w 1501783"/>
              <a:gd name="connsiteY20" fmla="*/ 701884 h 711174"/>
              <a:gd name="connsiteX21" fmla="*/ 1002428 w 1501783"/>
              <a:gd name="connsiteY21" fmla="*/ 590400 h 711174"/>
              <a:gd name="connsiteX22" fmla="*/ 1001499 w 1501783"/>
              <a:gd name="connsiteY22" fmla="*/ 485419 h 711174"/>
              <a:gd name="connsiteX23" fmla="*/ 1005215 w 1501783"/>
              <a:gd name="connsiteY23" fmla="*/ 481703 h 711174"/>
              <a:gd name="connsiteX24" fmla="*/ 544878 w 1501783"/>
              <a:gd name="connsiteY24" fmla="*/ 477987 h 711174"/>
              <a:gd name="connsiteX25" fmla="*/ 638246 w 1501783"/>
              <a:gd name="connsiteY25" fmla="*/ 546271 h 711174"/>
              <a:gd name="connsiteX26" fmla="*/ 634530 w 1501783"/>
              <a:gd name="connsiteY26" fmla="*/ 549987 h 711174"/>
              <a:gd name="connsiteX27" fmla="*/ 605265 w 1501783"/>
              <a:gd name="connsiteY27" fmla="*/ 549987 h 711174"/>
              <a:gd name="connsiteX28" fmla="*/ 601085 w 1501783"/>
              <a:gd name="connsiteY28" fmla="*/ 546271 h 711174"/>
              <a:gd name="connsiteX29" fmla="*/ 544413 w 1501783"/>
              <a:gd name="connsiteY29" fmla="*/ 504929 h 711174"/>
              <a:gd name="connsiteX30" fmla="*/ 494246 w 1501783"/>
              <a:gd name="connsiteY30" fmla="*/ 541161 h 711174"/>
              <a:gd name="connsiteX31" fmla="*/ 645214 w 1501783"/>
              <a:gd name="connsiteY31" fmla="*/ 642426 h 711174"/>
              <a:gd name="connsiteX32" fmla="*/ 551381 w 1501783"/>
              <a:gd name="connsiteY32" fmla="*/ 710710 h 711174"/>
              <a:gd name="connsiteX33" fmla="*/ 451510 w 1501783"/>
              <a:gd name="connsiteY33" fmla="*/ 632671 h 711174"/>
              <a:gd name="connsiteX34" fmla="*/ 455226 w 1501783"/>
              <a:gd name="connsiteY34" fmla="*/ 628955 h 711174"/>
              <a:gd name="connsiteX35" fmla="*/ 485884 w 1501783"/>
              <a:gd name="connsiteY35" fmla="*/ 628955 h 711174"/>
              <a:gd name="connsiteX36" fmla="*/ 489600 w 1501783"/>
              <a:gd name="connsiteY36" fmla="*/ 632671 h 711174"/>
              <a:gd name="connsiteX37" fmla="*/ 552775 w 1501783"/>
              <a:gd name="connsiteY37" fmla="*/ 683768 h 711174"/>
              <a:gd name="connsiteX38" fmla="*/ 607588 w 1501783"/>
              <a:gd name="connsiteY38" fmla="*/ 645213 h 711174"/>
              <a:gd name="connsiteX39" fmla="*/ 456620 w 1501783"/>
              <a:gd name="connsiteY39" fmla="*/ 543484 h 711174"/>
              <a:gd name="connsiteX40" fmla="*/ 544878 w 1501783"/>
              <a:gd name="connsiteY40" fmla="*/ 477987 h 711174"/>
              <a:gd name="connsiteX41" fmla="*/ 327020 w 1501783"/>
              <a:gd name="connsiteY41" fmla="*/ 476593 h 711174"/>
              <a:gd name="connsiteX42" fmla="*/ 431536 w 1501783"/>
              <a:gd name="connsiteY42" fmla="*/ 595509 h 711174"/>
              <a:gd name="connsiteX43" fmla="*/ 427820 w 1501783"/>
              <a:gd name="connsiteY43" fmla="*/ 599225 h 711174"/>
              <a:gd name="connsiteX44" fmla="*/ 262452 w 1501783"/>
              <a:gd name="connsiteY44" fmla="*/ 599225 h 711174"/>
              <a:gd name="connsiteX45" fmla="*/ 329807 w 1501783"/>
              <a:gd name="connsiteY45" fmla="*/ 681909 h 711174"/>
              <a:gd name="connsiteX46" fmla="*/ 389265 w 1501783"/>
              <a:gd name="connsiteY46" fmla="*/ 631741 h 711174"/>
              <a:gd name="connsiteX47" fmla="*/ 393910 w 1501783"/>
              <a:gd name="connsiteY47" fmla="*/ 628025 h 711174"/>
              <a:gd name="connsiteX48" fmla="*/ 424104 w 1501783"/>
              <a:gd name="connsiteY48" fmla="*/ 628025 h 711174"/>
              <a:gd name="connsiteX49" fmla="*/ 424104 w 1501783"/>
              <a:gd name="connsiteY49" fmla="*/ 628490 h 711174"/>
              <a:gd name="connsiteX50" fmla="*/ 427356 w 1501783"/>
              <a:gd name="connsiteY50" fmla="*/ 632206 h 711174"/>
              <a:gd name="connsiteX51" fmla="*/ 328878 w 1501783"/>
              <a:gd name="connsiteY51" fmla="*/ 711174 h 711174"/>
              <a:gd name="connsiteX52" fmla="*/ 222039 w 1501783"/>
              <a:gd name="connsiteY52" fmla="*/ 594580 h 711174"/>
              <a:gd name="connsiteX53" fmla="*/ 327020 w 1501783"/>
              <a:gd name="connsiteY53" fmla="*/ 476593 h 711174"/>
              <a:gd name="connsiteX54" fmla="*/ 1302041 w 1501783"/>
              <a:gd name="connsiteY54" fmla="*/ 475664 h 711174"/>
              <a:gd name="connsiteX55" fmla="*/ 1406557 w 1501783"/>
              <a:gd name="connsiteY55" fmla="*/ 594580 h 711174"/>
              <a:gd name="connsiteX56" fmla="*/ 1402841 w 1501783"/>
              <a:gd name="connsiteY56" fmla="*/ 598296 h 711174"/>
              <a:gd name="connsiteX57" fmla="*/ 1237473 w 1501783"/>
              <a:gd name="connsiteY57" fmla="*/ 598296 h 711174"/>
              <a:gd name="connsiteX58" fmla="*/ 1304828 w 1501783"/>
              <a:gd name="connsiteY58" fmla="*/ 680980 h 711174"/>
              <a:gd name="connsiteX59" fmla="*/ 1364286 w 1501783"/>
              <a:gd name="connsiteY59" fmla="*/ 630812 h 711174"/>
              <a:gd name="connsiteX60" fmla="*/ 1368931 w 1501783"/>
              <a:gd name="connsiteY60" fmla="*/ 627096 h 711174"/>
              <a:gd name="connsiteX61" fmla="*/ 1399125 w 1501783"/>
              <a:gd name="connsiteY61" fmla="*/ 627096 h 711174"/>
              <a:gd name="connsiteX62" fmla="*/ 1399125 w 1501783"/>
              <a:gd name="connsiteY62" fmla="*/ 627561 h 711174"/>
              <a:gd name="connsiteX63" fmla="*/ 1402377 w 1501783"/>
              <a:gd name="connsiteY63" fmla="*/ 631277 h 711174"/>
              <a:gd name="connsiteX64" fmla="*/ 1303899 w 1501783"/>
              <a:gd name="connsiteY64" fmla="*/ 710245 h 711174"/>
              <a:gd name="connsiteX65" fmla="*/ 1197060 w 1501783"/>
              <a:gd name="connsiteY65" fmla="*/ 593651 h 711174"/>
              <a:gd name="connsiteX66" fmla="*/ 1302041 w 1501783"/>
              <a:gd name="connsiteY66" fmla="*/ 475664 h 711174"/>
              <a:gd name="connsiteX67" fmla="*/ 679124 w 1501783"/>
              <a:gd name="connsiteY67" fmla="*/ 426426 h 711174"/>
              <a:gd name="connsiteX68" fmla="*/ 711176 w 1501783"/>
              <a:gd name="connsiteY68" fmla="*/ 426426 h 711174"/>
              <a:gd name="connsiteX69" fmla="*/ 714892 w 1501783"/>
              <a:gd name="connsiteY69" fmla="*/ 430142 h 711174"/>
              <a:gd name="connsiteX70" fmla="*/ 714428 w 1501783"/>
              <a:gd name="connsiteY70" fmla="*/ 482168 h 711174"/>
              <a:gd name="connsiteX71" fmla="*/ 765524 w 1501783"/>
              <a:gd name="connsiteY71" fmla="*/ 482168 h 711174"/>
              <a:gd name="connsiteX72" fmla="*/ 769240 w 1501783"/>
              <a:gd name="connsiteY72" fmla="*/ 485884 h 711174"/>
              <a:gd name="connsiteX73" fmla="*/ 769240 w 1501783"/>
              <a:gd name="connsiteY73" fmla="*/ 509110 h 711174"/>
              <a:gd name="connsiteX74" fmla="*/ 765524 w 1501783"/>
              <a:gd name="connsiteY74" fmla="*/ 512826 h 711174"/>
              <a:gd name="connsiteX75" fmla="*/ 714428 w 1501783"/>
              <a:gd name="connsiteY75" fmla="*/ 512826 h 711174"/>
              <a:gd name="connsiteX76" fmla="*/ 714428 w 1501783"/>
              <a:gd name="connsiteY76" fmla="*/ 643355 h 711174"/>
              <a:gd name="connsiteX77" fmla="*/ 742763 w 1501783"/>
              <a:gd name="connsiteY77" fmla="*/ 678658 h 711174"/>
              <a:gd name="connsiteX78" fmla="*/ 765989 w 1501783"/>
              <a:gd name="connsiteY78" fmla="*/ 675871 h 711174"/>
              <a:gd name="connsiteX79" fmla="*/ 769705 w 1501783"/>
              <a:gd name="connsiteY79" fmla="*/ 678658 h 711174"/>
              <a:gd name="connsiteX80" fmla="*/ 769705 w 1501783"/>
              <a:gd name="connsiteY80" fmla="*/ 699561 h 711174"/>
              <a:gd name="connsiteX81" fmla="*/ 770170 w 1501783"/>
              <a:gd name="connsiteY81" fmla="*/ 699561 h 711174"/>
              <a:gd name="connsiteX82" fmla="*/ 766453 w 1501783"/>
              <a:gd name="connsiteY82" fmla="*/ 704671 h 711174"/>
              <a:gd name="connsiteX83" fmla="*/ 735795 w 1501783"/>
              <a:gd name="connsiteY83" fmla="*/ 709781 h 711174"/>
              <a:gd name="connsiteX84" fmla="*/ 675873 w 1501783"/>
              <a:gd name="connsiteY84" fmla="*/ 644284 h 711174"/>
              <a:gd name="connsiteX85" fmla="*/ 675873 w 1501783"/>
              <a:gd name="connsiteY85" fmla="*/ 512826 h 711174"/>
              <a:gd name="connsiteX86" fmla="*/ 651253 w 1501783"/>
              <a:gd name="connsiteY86" fmla="*/ 512826 h 711174"/>
              <a:gd name="connsiteX87" fmla="*/ 647537 w 1501783"/>
              <a:gd name="connsiteY87" fmla="*/ 509110 h 711174"/>
              <a:gd name="connsiteX88" fmla="*/ 647537 w 1501783"/>
              <a:gd name="connsiteY88" fmla="*/ 485884 h 711174"/>
              <a:gd name="connsiteX89" fmla="*/ 651253 w 1501783"/>
              <a:gd name="connsiteY89" fmla="*/ 482168 h 711174"/>
              <a:gd name="connsiteX90" fmla="*/ 675873 w 1501783"/>
              <a:gd name="connsiteY90" fmla="*/ 482168 h 711174"/>
              <a:gd name="connsiteX91" fmla="*/ 675408 w 1501783"/>
              <a:gd name="connsiteY91" fmla="*/ 430142 h 711174"/>
              <a:gd name="connsiteX92" fmla="*/ 679124 w 1501783"/>
              <a:gd name="connsiteY92" fmla="*/ 426426 h 711174"/>
              <a:gd name="connsiteX93" fmla="*/ 1005215 w 1501783"/>
              <a:gd name="connsiteY93" fmla="*/ 412490 h 711174"/>
              <a:gd name="connsiteX94" fmla="*/ 1037731 w 1501783"/>
              <a:gd name="connsiteY94" fmla="*/ 412490 h 711174"/>
              <a:gd name="connsiteX95" fmla="*/ 1041448 w 1501783"/>
              <a:gd name="connsiteY95" fmla="*/ 416206 h 711174"/>
              <a:gd name="connsiteX96" fmla="*/ 1041448 w 1501783"/>
              <a:gd name="connsiteY96" fmla="*/ 451974 h 711174"/>
              <a:gd name="connsiteX97" fmla="*/ 1037731 w 1501783"/>
              <a:gd name="connsiteY97" fmla="*/ 455690 h 711174"/>
              <a:gd name="connsiteX98" fmla="*/ 1005215 w 1501783"/>
              <a:gd name="connsiteY98" fmla="*/ 455690 h 711174"/>
              <a:gd name="connsiteX99" fmla="*/ 1001499 w 1501783"/>
              <a:gd name="connsiteY99" fmla="*/ 451974 h 711174"/>
              <a:gd name="connsiteX100" fmla="*/ 1001499 w 1501783"/>
              <a:gd name="connsiteY100" fmla="*/ 416206 h 711174"/>
              <a:gd name="connsiteX101" fmla="*/ 1005215 w 1501783"/>
              <a:gd name="connsiteY101" fmla="*/ 412490 h 711174"/>
              <a:gd name="connsiteX102" fmla="*/ 3716 w 1501783"/>
              <a:gd name="connsiteY102" fmla="*/ 409238 h 711174"/>
              <a:gd name="connsiteX103" fmla="*/ 36232 w 1501783"/>
              <a:gd name="connsiteY103" fmla="*/ 409238 h 711174"/>
              <a:gd name="connsiteX104" fmla="*/ 39948 w 1501783"/>
              <a:gd name="connsiteY104" fmla="*/ 412954 h 711174"/>
              <a:gd name="connsiteX105" fmla="*/ 39019 w 1501783"/>
              <a:gd name="connsiteY105" fmla="*/ 517006 h 711174"/>
              <a:gd name="connsiteX106" fmla="*/ 110091 w 1501783"/>
              <a:gd name="connsiteY106" fmla="*/ 477986 h 711174"/>
              <a:gd name="connsiteX107" fmla="*/ 202529 w 1501783"/>
              <a:gd name="connsiteY107" fmla="*/ 593651 h 711174"/>
              <a:gd name="connsiteX108" fmla="*/ 109626 w 1501783"/>
              <a:gd name="connsiteY108" fmla="*/ 710244 h 711174"/>
              <a:gd name="connsiteX109" fmla="*/ 38555 w 1501783"/>
              <a:gd name="connsiteY109" fmla="*/ 671225 h 711174"/>
              <a:gd name="connsiteX110" fmla="*/ 39484 w 1501783"/>
              <a:gd name="connsiteY110" fmla="*/ 701883 h 711174"/>
              <a:gd name="connsiteX111" fmla="*/ 35768 w 1501783"/>
              <a:gd name="connsiteY111" fmla="*/ 705599 h 711174"/>
              <a:gd name="connsiteX112" fmla="*/ 3716 w 1501783"/>
              <a:gd name="connsiteY112" fmla="*/ 705599 h 711174"/>
              <a:gd name="connsiteX113" fmla="*/ 0 w 1501783"/>
              <a:gd name="connsiteY113" fmla="*/ 701883 h 711174"/>
              <a:gd name="connsiteX114" fmla="*/ 1394 w 1501783"/>
              <a:gd name="connsiteY114" fmla="*/ 538838 h 711174"/>
              <a:gd name="connsiteX115" fmla="*/ 0 w 1501783"/>
              <a:gd name="connsiteY115" fmla="*/ 412954 h 711174"/>
              <a:gd name="connsiteX116" fmla="*/ 3716 w 1501783"/>
              <a:gd name="connsiteY116" fmla="*/ 409238 h 711174"/>
              <a:gd name="connsiteX117" fmla="*/ 919279 w 1501783"/>
              <a:gd name="connsiteY117" fmla="*/ 401806 h 711174"/>
              <a:gd name="connsiteX118" fmla="*/ 951331 w 1501783"/>
              <a:gd name="connsiteY118" fmla="*/ 401806 h 711174"/>
              <a:gd name="connsiteX119" fmla="*/ 955047 w 1501783"/>
              <a:gd name="connsiteY119" fmla="*/ 405522 h 711174"/>
              <a:gd name="connsiteX120" fmla="*/ 953189 w 1501783"/>
              <a:gd name="connsiteY120" fmla="*/ 551845 h 711174"/>
              <a:gd name="connsiteX121" fmla="*/ 955047 w 1501783"/>
              <a:gd name="connsiteY121" fmla="*/ 702348 h 711174"/>
              <a:gd name="connsiteX122" fmla="*/ 951331 w 1501783"/>
              <a:gd name="connsiteY122" fmla="*/ 706064 h 711174"/>
              <a:gd name="connsiteX123" fmla="*/ 919279 w 1501783"/>
              <a:gd name="connsiteY123" fmla="*/ 706064 h 711174"/>
              <a:gd name="connsiteX124" fmla="*/ 919279 w 1501783"/>
              <a:gd name="connsiteY124" fmla="*/ 705600 h 711174"/>
              <a:gd name="connsiteX125" fmla="*/ 915563 w 1501783"/>
              <a:gd name="connsiteY125" fmla="*/ 701883 h 711174"/>
              <a:gd name="connsiteX126" fmla="*/ 917421 w 1501783"/>
              <a:gd name="connsiteY126" fmla="*/ 551845 h 711174"/>
              <a:gd name="connsiteX127" fmla="*/ 915563 w 1501783"/>
              <a:gd name="connsiteY127" fmla="*/ 405522 h 711174"/>
              <a:gd name="connsiteX128" fmla="*/ 919279 w 1501783"/>
              <a:gd name="connsiteY128" fmla="*/ 401806 h 711174"/>
              <a:gd name="connsiteX129" fmla="*/ 1165473 w 1501783"/>
              <a:gd name="connsiteY129" fmla="*/ 396232 h 711174"/>
              <a:gd name="connsiteX130" fmla="*/ 1194738 w 1501783"/>
              <a:gd name="connsiteY130" fmla="*/ 399484 h 711174"/>
              <a:gd name="connsiteX131" fmla="*/ 1198454 w 1501783"/>
              <a:gd name="connsiteY131" fmla="*/ 404129 h 711174"/>
              <a:gd name="connsiteX132" fmla="*/ 1198454 w 1501783"/>
              <a:gd name="connsiteY132" fmla="*/ 426426 h 711174"/>
              <a:gd name="connsiteX133" fmla="*/ 1194738 w 1501783"/>
              <a:gd name="connsiteY133" fmla="*/ 429677 h 711174"/>
              <a:gd name="connsiteX134" fmla="*/ 1174299 w 1501783"/>
              <a:gd name="connsiteY134" fmla="*/ 426890 h 711174"/>
              <a:gd name="connsiteX135" fmla="*/ 1145499 w 1501783"/>
              <a:gd name="connsiteY135" fmla="*/ 465909 h 711174"/>
              <a:gd name="connsiteX136" fmla="*/ 1145499 w 1501783"/>
              <a:gd name="connsiteY136" fmla="*/ 482632 h 711174"/>
              <a:gd name="connsiteX137" fmla="*/ 1194273 w 1501783"/>
              <a:gd name="connsiteY137" fmla="*/ 482632 h 711174"/>
              <a:gd name="connsiteX138" fmla="*/ 1197989 w 1501783"/>
              <a:gd name="connsiteY138" fmla="*/ 486348 h 711174"/>
              <a:gd name="connsiteX139" fmla="*/ 1197989 w 1501783"/>
              <a:gd name="connsiteY139" fmla="*/ 509109 h 711174"/>
              <a:gd name="connsiteX140" fmla="*/ 1194273 w 1501783"/>
              <a:gd name="connsiteY140" fmla="*/ 512826 h 711174"/>
              <a:gd name="connsiteX141" fmla="*/ 1145499 w 1501783"/>
              <a:gd name="connsiteY141" fmla="*/ 512826 h 711174"/>
              <a:gd name="connsiteX142" fmla="*/ 1145499 w 1501783"/>
              <a:gd name="connsiteY142" fmla="*/ 604800 h 711174"/>
              <a:gd name="connsiteX143" fmla="*/ 1145034 w 1501783"/>
              <a:gd name="connsiteY143" fmla="*/ 604800 h 711174"/>
              <a:gd name="connsiteX144" fmla="*/ 1146428 w 1501783"/>
              <a:gd name="connsiteY144" fmla="*/ 701884 h 711174"/>
              <a:gd name="connsiteX145" fmla="*/ 1142712 w 1501783"/>
              <a:gd name="connsiteY145" fmla="*/ 705600 h 711174"/>
              <a:gd name="connsiteX146" fmla="*/ 1109266 w 1501783"/>
              <a:gd name="connsiteY146" fmla="*/ 705600 h 711174"/>
              <a:gd name="connsiteX147" fmla="*/ 1105550 w 1501783"/>
              <a:gd name="connsiteY147" fmla="*/ 701884 h 711174"/>
              <a:gd name="connsiteX148" fmla="*/ 1106944 w 1501783"/>
              <a:gd name="connsiteY148" fmla="*/ 604800 h 711174"/>
              <a:gd name="connsiteX149" fmla="*/ 1106944 w 1501783"/>
              <a:gd name="connsiteY149" fmla="*/ 512361 h 711174"/>
              <a:gd name="connsiteX150" fmla="*/ 1075821 w 1501783"/>
              <a:gd name="connsiteY150" fmla="*/ 512361 h 711174"/>
              <a:gd name="connsiteX151" fmla="*/ 1072105 w 1501783"/>
              <a:gd name="connsiteY151" fmla="*/ 508645 h 711174"/>
              <a:gd name="connsiteX152" fmla="*/ 1072105 w 1501783"/>
              <a:gd name="connsiteY152" fmla="*/ 485884 h 711174"/>
              <a:gd name="connsiteX153" fmla="*/ 1075821 w 1501783"/>
              <a:gd name="connsiteY153" fmla="*/ 482167 h 711174"/>
              <a:gd name="connsiteX154" fmla="*/ 1106944 w 1501783"/>
              <a:gd name="connsiteY154" fmla="*/ 482167 h 711174"/>
              <a:gd name="connsiteX155" fmla="*/ 1106944 w 1501783"/>
              <a:gd name="connsiteY155" fmla="*/ 462658 h 711174"/>
              <a:gd name="connsiteX156" fmla="*/ 1165473 w 1501783"/>
              <a:gd name="connsiteY156" fmla="*/ 396232 h 711174"/>
              <a:gd name="connsiteX157" fmla="*/ 1006608 w 1501783"/>
              <a:gd name="connsiteY157" fmla="*/ 104516 h 711174"/>
              <a:gd name="connsiteX158" fmla="*/ 941111 w 1501783"/>
              <a:gd name="connsiteY158" fmla="*/ 193238 h 711174"/>
              <a:gd name="connsiteX159" fmla="*/ 1006608 w 1501783"/>
              <a:gd name="connsiteY159" fmla="*/ 280567 h 711174"/>
              <a:gd name="connsiteX160" fmla="*/ 1071640 w 1501783"/>
              <a:gd name="connsiteY160" fmla="*/ 193238 h 711174"/>
              <a:gd name="connsiteX161" fmla="*/ 1006608 w 1501783"/>
              <a:gd name="connsiteY161" fmla="*/ 104516 h 711174"/>
              <a:gd name="connsiteX162" fmla="*/ 475200 w 1501783"/>
              <a:gd name="connsiteY162" fmla="*/ 103586 h 711174"/>
              <a:gd name="connsiteX163" fmla="*/ 411097 w 1501783"/>
              <a:gd name="connsiteY163" fmla="*/ 169548 h 711174"/>
              <a:gd name="connsiteX164" fmla="*/ 536517 w 1501783"/>
              <a:gd name="connsiteY164" fmla="*/ 169548 h 711174"/>
              <a:gd name="connsiteX165" fmla="*/ 475200 w 1501783"/>
              <a:gd name="connsiteY165" fmla="*/ 103586 h 711174"/>
              <a:gd name="connsiteX166" fmla="*/ 1141318 w 1501783"/>
              <a:gd name="connsiteY166" fmla="*/ 81290 h 711174"/>
              <a:gd name="connsiteX167" fmla="*/ 1173834 w 1501783"/>
              <a:gd name="connsiteY167" fmla="*/ 81290 h 711174"/>
              <a:gd name="connsiteX168" fmla="*/ 1177550 w 1501783"/>
              <a:gd name="connsiteY168" fmla="*/ 85006 h 711174"/>
              <a:gd name="connsiteX169" fmla="*/ 1176621 w 1501783"/>
              <a:gd name="connsiteY169" fmla="*/ 176516 h 711174"/>
              <a:gd name="connsiteX170" fmla="*/ 1176621 w 1501783"/>
              <a:gd name="connsiteY170" fmla="*/ 219716 h 711174"/>
              <a:gd name="connsiteX171" fmla="*/ 1224002 w 1501783"/>
              <a:gd name="connsiteY171" fmla="*/ 278245 h 711174"/>
              <a:gd name="connsiteX172" fmla="*/ 1285783 w 1501783"/>
              <a:gd name="connsiteY172" fmla="*/ 210425 h 711174"/>
              <a:gd name="connsiteX173" fmla="*/ 1285783 w 1501783"/>
              <a:gd name="connsiteY173" fmla="*/ 176516 h 711174"/>
              <a:gd name="connsiteX174" fmla="*/ 1284854 w 1501783"/>
              <a:gd name="connsiteY174" fmla="*/ 85006 h 711174"/>
              <a:gd name="connsiteX175" fmla="*/ 1288570 w 1501783"/>
              <a:gd name="connsiteY175" fmla="*/ 81290 h 711174"/>
              <a:gd name="connsiteX176" fmla="*/ 1321551 w 1501783"/>
              <a:gd name="connsiteY176" fmla="*/ 81290 h 711174"/>
              <a:gd name="connsiteX177" fmla="*/ 1325267 w 1501783"/>
              <a:gd name="connsiteY177" fmla="*/ 85006 h 711174"/>
              <a:gd name="connsiteX178" fmla="*/ 1324802 w 1501783"/>
              <a:gd name="connsiteY178" fmla="*/ 183019 h 711174"/>
              <a:gd name="connsiteX179" fmla="*/ 1325731 w 1501783"/>
              <a:gd name="connsiteY179" fmla="*/ 301006 h 711174"/>
              <a:gd name="connsiteX180" fmla="*/ 1322015 w 1501783"/>
              <a:gd name="connsiteY180" fmla="*/ 304722 h 711174"/>
              <a:gd name="connsiteX181" fmla="*/ 1291357 w 1501783"/>
              <a:gd name="connsiteY181" fmla="*/ 304722 h 711174"/>
              <a:gd name="connsiteX182" fmla="*/ 1287641 w 1501783"/>
              <a:gd name="connsiteY182" fmla="*/ 301006 h 711174"/>
              <a:gd name="connsiteX183" fmla="*/ 1288570 w 1501783"/>
              <a:gd name="connsiteY183" fmla="*/ 266632 h 711174"/>
              <a:gd name="connsiteX184" fmla="*/ 1213783 w 1501783"/>
              <a:gd name="connsiteY184" fmla="*/ 309832 h 711174"/>
              <a:gd name="connsiteX185" fmla="*/ 1138531 w 1501783"/>
              <a:gd name="connsiteY185" fmla="*/ 220645 h 711174"/>
              <a:gd name="connsiteX186" fmla="*/ 1138531 w 1501783"/>
              <a:gd name="connsiteY186" fmla="*/ 176516 h 711174"/>
              <a:gd name="connsiteX187" fmla="*/ 1137602 w 1501783"/>
              <a:gd name="connsiteY187" fmla="*/ 85006 h 711174"/>
              <a:gd name="connsiteX188" fmla="*/ 1141318 w 1501783"/>
              <a:gd name="connsiteY188" fmla="*/ 81290 h 711174"/>
              <a:gd name="connsiteX189" fmla="*/ 697240 w 1501783"/>
              <a:gd name="connsiteY189" fmla="*/ 81290 h 711174"/>
              <a:gd name="connsiteX190" fmla="*/ 734401 w 1501783"/>
              <a:gd name="connsiteY190" fmla="*/ 81290 h 711174"/>
              <a:gd name="connsiteX191" fmla="*/ 739511 w 1501783"/>
              <a:gd name="connsiteY191" fmla="*/ 84542 h 711174"/>
              <a:gd name="connsiteX192" fmla="*/ 803150 w 1501783"/>
              <a:gd name="connsiteY192" fmla="*/ 253625 h 711174"/>
              <a:gd name="connsiteX193" fmla="*/ 856570 w 1501783"/>
              <a:gd name="connsiteY193" fmla="*/ 85006 h 711174"/>
              <a:gd name="connsiteX194" fmla="*/ 861679 w 1501783"/>
              <a:gd name="connsiteY194" fmla="*/ 81290 h 711174"/>
              <a:gd name="connsiteX195" fmla="*/ 894660 w 1501783"/>
              <a:gd name="connsiteY195" fmla="*/ 81290 h 711174"/>
              <a:gd name="connsiteX196" fmla="*/ 897447 w 1501783"/>
              <a:gd name="connsiteY196" fmla="*/ 85006 h 711174"/>
              <a:gd name="connsiteX197" fmla="*/ 796647 w 1501783"/>
              <a:gd name="connsiteY197" fmla="*/ 371148 h 711174"/>
              <a:gd name="connsiteX198" fmla="*/ 791537 w 1501783"/>
              <a:gd name="connsiteY198" fmla="*/ 374864 h 711174"/>
              <a:gd name="connsiteX199" fmla="*/ 761343 w 1501783"/>
              <a:gd name="connsiteY199" fmla="*/ 374864 h 711174"/>
              <a:gd name="connsiteX200" fmla="*/ 758556 w 1501783"/>
              <a:gd name="connsiteY200" fmla="*/ 371148 h 711174"/>
              <a:gd name="connsiteX201" fmla="*/ 782247 w 1501783"/>
              <a:gd name="connsiteY201" fmla="*/ 305187 h 711174"/>
              <a:gd name="connsiteX202" fmla="*/ 694453 w 1501783"/>
              <a:gd name="connsiteY202" fmla="*/ 84542 h 711174"/>
              <a:gd name="connsiteX203" fmla="*/ 697240 w 1501783"/>
              <a:gd name="connsiteY203" fmla="*/ 81290 h 711174"/>
              <a:gd name="connsiteX204" fmla="*/ 161187 w 1501783"/>
              <a:gd name="connsiteY204" fmla="*/ 80361 h 711174"/>
              <a:gd name="connsiteX205" fmla="*/ 196026 w 1501783"/>
              <a:gd name="connsiteY205" fmla="*/ 80361 h 711174"/>
              <a:gd name="connsiteX206" fmla="*/ 201136 w 1501783"/>
              <a:gd name="connsiteY206" fmla="*/ 84077 h 711174"/>
              <a:gd name="connsiteX207" fmla="*/ 264310 w 1501783"/>
              <a:gd name="connsiteY207" fmla="*/ 270813 h 711174"/>
              <a:gd name="connsiteX208" fmla="*/ 328878 w 1501783"/>
              <a:gd name="connsiteY208" fmla="*/ 84077 h 711174"/>
              <a:gd name="connsiteX209" fmla="*/ 333987 w 1501783"/>
              <a:gd name="connsiteY209" fmla="*/ 80361 h 711174"/>
              <a:gd name="connsiteX210" fmla="*/ 364646 w 1501783"/>
              <a:gd name="connsiteY210" fmla="*/ 80361 h 711174"/>
              <a:gd name="connsiteX211" fmla="*/ 367433 w 1501783"/>
              <a:gd name="connsiteY211" fmla="*/ 83613 h 711174"/>
              <a:gd name="connsiteX212" fmla="*/ 288929 w 1501783"/>
              <a:gd name="connsiteY212" fmla="*/ 301006 h 711174"/>
              <a:gd name="connsiteX213" fmla="*/ 283820 w 1501783"/>
              <a:gd name="connsiteY213" fmla="*/ 304258 h 711174"/>
              <a:gd name="connsiteX214" fmla="*/ 243871 w 1501783"/>
              <a:gd name="connsiteY214" fmla="*/ 304258 h 711174"/>
              <a:gd name="connsiteX215" fmla="*/ 238761 w 1501783"/>
              <a:gd name="connsiteY215" fmla="*/ 301006 h 711174"/>
              <a:gd name="connsiteX216" fmla="*/ 158400 w 1501783"/>
              <a:gd name="connsiteY216" fmla="*/ 83613 h 711174"/>
              <a:gd name="connsiteX217" fmla="*/ 161187 w 1501783"/>
              <a:gd name="connsiteY217" fmla="*/ 80361 h 711174"/>
              <a:gd name="connsiteX218" fmla="*/ 95226 w 1501783"/>
              <a:gd name="connsiteY218" fmla="*/ 79896 h 711174"/>
              <a:gd name="connsiteX219" fmla="*/ 127742 w 1501783"/>
              <a:gd name="connsiteY219" fmla="*/ 79896 h 711174"/>
              <a:gd name="connsiteX220" fmla="*/ 131458 w 1501783"/>
              <a:gd name="connsiteY220" fmla="*/ 83613 h 711174"/>
              <a:gd name="connsiteX221" fmla="*/ 130994 w 1501783"/>
              <a:gd name="connsiteY221" fmla="*/ 188129 h 711174"/>
              <a:gd name="connsiteX222" fmla="*/ 131923 w 1501783"/>
              <a:gd name="connsiteY222" fmla="*/ 300077 h 711174"/>
              <a:gd name="connsiteX223" fmla="*/ 128207 w 1501783"/>
              <a:gd name="connsiteY223" fmla="*/ 303793 h 711174"/>
              <a:gd name="connsiteX224" fmla="*/ 95226 w 1501783"/>
              <a:gd name="connsiteY224" fmla="*/ 303793 h 711174"/>
              <a:gd name="connsiteX225" fmla="*/ 91510 w 1501783"/>
              <a:gd name="connsiteY225" fmla="*/ 300077 h 711174"/>
              <a:gd name="connsiteX226" fmla="*/ 92439 w 1501783"/>
              <a:gd name="connsiteY226" fmla="*/ 188593 h 711174"/>
              <a:gd name="connsiteX227" fmla="*/ 91510 w 1501783"/>
              <a:gd name="connsiteY227" fmla="*/ 83613 h 711174"/>
              <a:gd name="connsiteX228" fmla="*/ 95226 w 1501783"/>
              <a:gd name="connsiteY228" fmla="*/ 79896 h 711174"/>
              <a:gd name="connsiteX229" fmla="*/ 1006608 w 1501783"/>
              <a:gd name="connsiteY229" fmla="*/ 75251 h 711174"/>
              <a:gd name="connsiteX230" fmla="*/ 1112518 w 1501783"/>
              <a:gd name="connsiteY230" fmla="*/ 192309 h 711174"/>
              <a:gd name="connsiteX231" fmla="*/ 1006608 w 1501783"/>
              <a:gd name="connsiteY231" fmla="*/ 309832 h 711174"/>
              <a:gd name="connsiteX232" fmla="*/ 900698 w 1501783"/>
              <a:gd name="connsiteY232" fmla="*/ 193238 h 711174"/>
              <a:gd name="connsiteX233" fmla="*/ 1006608 w 1501783"/>
              <a:gd name="connsiteY233" fmla="*/ 75251 h 711174"/>
              <a:gd name="connsiteX234" fmla="*/ 1485061 w 1501783"/>
              <a:gd name="connsiteY234" fmla="*/ 74322 h 711174"/>
              <a:gd name="connsiteX235" fmla="*/ 1498067 w 1501783"/>
              <a:gd name="connsiteY235" fmla="*/ 75716 h 711174"/>
              <a:gd name="connsiteX236" fmla="*/ 1501783 w 1501783"/>
              <a:gd name="connsiteY236" fmla="*/ 80361 h 711174"/>
              <a:gd name="connsiteX237" fmla="*/ 1501783 w 1501783"/>
              <a:gd name="connsiteY237" fmla="*/ 105445 h 711174"/>
              <a:gd name="connsiteX238" fmla="*/ 1498067 w 1501783"/>
              <a:gd name="connsiteY238" fmla="*/ 108696 h 711174"/>
              <a:gd name="connsiteX239" fmla="*/ 1485525 w 1501783"/>
              <a:gd name="connsiteY239" fmla="*/ 107767 h 711174"/>
              <a:gd name="connsiteX240" fmla="*/ 1410273 w 1501783"/>
              <a:gd name="connsiteY240" fmla="*/ 179767 h 711174"/>
              <a:gd name="connsiteX241" fmla="*/ 1410738 w 1501783"/>
              <a:gd name="connsiteY241" fmla="*/ 297290 h 711174"/>
              <a:gd name="connsiteX242" fmla="*/ 1407022 w 1501783"/>
              <a:gd name="connsiteY242" fmla="*/ 301006 h 711174"/>
              <a:gd name="connsiteX243" fmla="*/ 1374970 w 1501783"/>
              <a:gd name="connsiteY243" fmla="*/ 301006 h 711174"/>
              <a:gd name="connsiteX244" fmla="*/ 1371254 w 1501783"/>
              <a:gd name="connsiteY244" fmla="*/ 297290 h 711174"/>
              <a:gd name="connsiteX245" fmla="*/ 1372647 w 1501783"/>
              <a:gd name="connsiteY245" fmla="*/ 186735 h 711174"/>
              <a:gd name="connsiteX246" fmla="*/ 1371254 w 1501783"/>
              <a:gd name="connsiteY246" fmla="*/ 80825 h 711174"/>
              <a:gd name="connsiteX247" fmla="*/ 1374970 w 1501783"/>
              <a:gd name="connsiteY247" fmla="*/ 77109 h 711174"/>
              <a:gd name="connsiteX248" fmla="*/ 1407022 w 1501783"/>
              <a:gd name="connsiteY248" fmla="*/ 77109 h 711174"/>
              <a:gd name="connsiteX249" fmla="*/ 1410738 w 1501783"/>
              <a:gd name="connsiteY249" fmla="*/ 80825 h 711174"/>
              <a:gd name="connsiteX250" fmla="*/ 1408880 w 1501783"/>
              <a:gd name="connsiteY250" fmla="*/ 118451 h 711174"/>
              <a:gd name="connsiteX251" fmla="*/ 1485061 w 1501783"/>
              <a:gd name="connsiteY251" fmla="*/ 74322 h 711174"/>
              <a:gd name="connsiteX252" fmla="*/ 474736 w 1501783"/>
              <a:gd name="connsiteY252" fmla="*/ 74322 h 711174"/>
              <a:gd name="connsiteX253" fmla="*/ 579252 w 1501783"/>
              <a:gd name="connsiteY253" fmla="*/ 193238 h 711174"/>
              <a:gd name="connsiteX254" fmla="*/ 575536 w 1501783"/>
              <a:gd name="connsiteY254" fmla="*/ 196954 h 711174"/>
              <a:gd name="connsiteX255" fmla="*/ 409703 w 1501783"/>
              <a:gd name="connsiteY255" fmla="*/ 196954 h 711174"/>
              <a:gd name="connsiteX256" fmla="*/ 477058 w 1501783"/>
              <a:gd name="connsiteY256" fmla="*/ 279638 h 711174"/>
              <a:gd name="connsiteX257" fmla="*/ 536517 w 1501783"/>
              <a:gd name="connsiteY257" fmla="*/ 229470 h 711174"/>
              <a:gd name="connsiteX258" fmla="*/ 541162 w 1501783"/>
              <a:gd name="connsiteY258" fmla="*/ 225754 h 711174"/>
              <a:gd name="connsiteX259" fmla="*/ 571820 w 1501783"/>
              <a:gd name="connsiteY259" fmla="*/ 225754 h 711174"/>
              <a:gd name="connsiteX260" fmla="*/ 571820 w 1501783"/>
              <a:gd name="connsiteY260" fmla="*/ 226219 h 711174"/>
              <a:gd name="connsiteX261" fmla="*/ 575072 w 1501783"/>
              <a:gd name="connsiteY261" fmla="*/ 229935 h 711174"/>
              <a:gd name="connsiteX262" fmla="*/ 476594 w 1501783"/>
              <a:gd name="connsiteY262" fmla="*/ 308903 h 711174"/>
              <a:gd name="connsiteX263" fmla="*/ 369755 w 1501783"/>
              <a:gd name="connsiteY263" fmla="*/ 192309 h 711174"/>
              <a:gd name="connsiteX264" fmla="*/ 474736 w 1501783"/>
              <a:gd name="connsiteY264" fmla="*/ 74322 h 711174"/>
              <a:gd name="connsiteX265" fmla="*/ 95226 w 1501783"/>
              <a:gd name="connsiteY265" fmla="*/ 11148 h 711174"/>
              <a:gd name="connsiteX266" fmla="*/ 127742 w 1501783"/>
              <a:gd name="connsiteY266" fmla="*/ 11148 h 711174"/>
              <a:gd name="connsiteX267" fmla="*/ 131458 w 1501783"/>
              <a:gd name="connsiteY267" fmla="*/ 14864 h 711174"/>
              <a:gd name="connsiteX268" fmla="*/ 131458 w 1501783"/>
              <a:gd name="connsiteY268" fmla="*/ 50632 h 711174"/>
              <a:gd name="connsiteX269" fmla="*/ 127742 w 1501783"/>
              <a:gd name="connsiteY269" fmla="*/ 54348 h 711174"/>
              <a:gd name="connsiteX270" fmla="*/ 95226 w 1501783"/>
              <a:gd name="connsiteY270" fmla="*/ 54348 h 711174"/>
              <a:gd name="connsiteX271" fmla="*/ 91510 w 1501783"/>
              <a:gd name="connsiteY271" fmla="*/ 50632 h 711174"/>
              <a:gd name="connsiteX272" fmla="*/ 91510 w 1501783"/>
              <a:gd name="connsiteY272" fmla="*/ 14864 h 711174"/>
              <a:gd name="connsiteX273" fmla="*/ 95226 w 1501783"/>
              <a:gd name="connsiteY273" fmla="*/ 11148 h 711174"/>
              <a:gd name="connsiteX274" fmla="*/ 6038 w 1501783"/>
              <a:gd name="connsiteY274" fmla="*/ 0 h 711174"/>
              <a:gd name="connsiteX275" fmla="*/ 38090 w 1501783"/>
              <a:gd name="connsiteY275" fmla="*/ 0 h 711174"/>
              <a:gd name="connsiteX276" fmla="*/ 41806 w 1501783"/>
              <a:gd name="connsiteY276" fmla="*/ 3716 h 711174"/>
              <a:gd name="connsiteX277" fmla="*/ 39948 w 1501783"/>
              <a:gd name="connsiteY277" fmla="*/ 150039 h 711174"/>
              <a:gd name="connsiteX278" fmla="*/ 41806 w 1501783"/>
              <a:gd name="connsiteY278" fmla="*/ 300542 h 711174"/>
              <a:gd name="connsiteX279" fmla="*/ 38090 w 1501783"/>
              <a:gd name="connsiteY279" fmla="*/ 304258 h 711174"/>
              <a:gd name="connsiteX280" fmla="*/ 6038 w 1501783"/>
              <a:gd name="connsiteY280" fmla="*/ 304258 h 711174"/>
              <a:gd name="connsiteX281" fmla="*/ 6038 w 1501783"/>
              <a:gd name="connsiteY281" fmla="*/ 303794 h 711174"/>
              <a:gd name="connsiteX282" fmla="*/ 2322 w 1501783"/>
              <a:gd name="connsiteY282" fmla="*/ 300077 h 711174"/>
              <a:gd name="connsiteX283" fmla="*/ 4180 w 1501783"/>
              <a:gd name="connsiteY283" fmla="*/ 150039 h 711174"/>
              <a:gd name="connsiteX284" fmla="*/ 2322 w 1501783"/>
              <a:gd name="connsiteY284" fmla="*/ 3716 h 711174"/>
              <a:gd name="connsiteX285" fmla="*/ 6038 w 1501783"/>
              <a:gd name="connsiteY285" fmla="*/ 0 h 711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501783" h="711174">
                <a:moveTo>
                  <a:pt x="100336" y="507251"/>
                </a:moveTo>
                <a:cubicBezTo>
                  <a:pt x="62710" y="507251"/>
                  <a:pt x="38090" y="535586"/>
                  <a:pt x="37626" y="591793"/>
                </a:cubicBezTo>
                <a:cubicBezTo>
                  <a:pt x="37161" y="648464"/>
                  <a:pt x="59923" y="680980"/>
                  <a:pt x="99407" y="680980"/>
                </a:cubicBezTo>
                <a:cubicBezTo>
                  <a:pt x="142607" y="681444"/>
                  <a:pt x="163046" y="646141"/>
                  <a:pt x="163046" y="595974"/>
                </a:cubicBezTo>
                <a:cubicBezTo>
                  <a:pt x="163046" y="543019"/>
                  <a:pt x="143071" y="506786"/>
                  <a:pt x="100336" y="507251"/>
                </a:cubicBezTo>
                <a:close/>
                <a:moveTo>
                  <a:pt x="327484" y="505858"/>
                </a:moveTo>
                <a:cubicBezTo>
                  <a:pt x="290323" y="505858"/>
                  <a:pt x="269420" y="529548"/>
                  <a:pt x="263381" y="571819"/>
                </a:cubicBezTo>
                <a:lnTo>
                  <a:pt x="388801" y="571819"/>
                </a:lnTo>
                <a:cubicBezTo>
                  <a:pt x="387407" y="536051"/>
                  <a:pt x="366968" y="505858"/>
                  <a:pt x="327484" y="505858"/>
                </a:cubicBezTo>
                <a:close/>
                <a:moveTo>
                  <a:pt x="1302505" y="504929"/>
                </a:moveTo>
                <a:cubicBezTo>
                  <a:pt x="1265344" y="504929"/>
                  <a:pt x="1244441" y="528619"/>
                  <a:pt x="1238402" y="570890"/>
                </a:cubicBezTo>
                <a:lnTo>
                  <a:pt x="1363822" y="570890"/>
                </a:lnTo>
                <a:cubicBezTo>
                  <a:pt x="1362428" y="535587"/>
                  <a:pt x="1341989" y="504929"/>
                  <a:pt x="1302505" y="504929"/>
                </a:cubicBezTo>
                <a:close/>
                <a:moveTo>
                  <a:pt x="1005215" y="481703"/>
                </a:moveTo>
                <a:lnTo>
                  <a:pt x="1037731" y="481703"/>
                </a:lnTo>
                <a:cubicBezTo>
                  <a:pt x="1040054" y="481703"/>
                  <a:pt x="1041448" y="483561"/>
                  <a:pt x="1041448" y="485419"/>
                </a:cubicBezTo>
                <a:lnTo>
                  <a:pt x="1040518" y="589935"/>
                </a:lnTo>
                <a:lnTo>
                  <a:pt x="1041448" y="701884"/>
                </a:lnTo>
                <a:cubicBezTo>
                  <a:pt x="1041448" y="704206"/>
                  <a:pt x="1039589" y="705600"/>
                  <a:pt x="1037731" y="705600"/>
                </a:cubicBezTo>
                <a:lnTo>
                  <a:pt x="1005215" y="705600"/>
                </a:lnTo>
                <a:cubicBezTo>
                  <a:pt x="1002893" y="705600"/>
                  <a:pt x="1001499" y="703742"/>
                  <a:pt x="1001499" y="701884"/>
                </a:cubicBezTo>
                <a:lnTo>
                  <a:pt x="1002428" y="590400"/>
                </a:lnTo>
                <a:lnTo>
                  <a:pt x="1001499" y="485419"/>
                </a:lnTo>
                <a:cubicBezTo>
                  <a:pt x="1001499" y="483096"/>
                  <a:pt x="1003357" y="481703"/>
                  <a:pt x="1005215" y="481703"/>
                </a:cubicBezTo>
                <a:close/>
                <a:moveTo>
                  <a:pt x="544878" y="477987"/>
                </a:moveTo>
                <a:cubicBezTo>
                  <a:pt x="596904" y="477987"/>
                  <a:pt x="634994" y="499819"/>
                  <a:pt x="638246" y="546271"/>
                </a:cubicBezTo>
                <a:cubicBezTo>
                  <a:pt x="638246" y="548593"/>
                  <a:pt x="636388" y="549987"/>
                  <a:pt x="634530" y="549987"/>
                </a:cubicBezTo>
                <a:lnTo>
                  <a:pt x="605265" y="549987"/>
                </a:lnTo>
                <a:cubicBezTo>
                  <a:pt x="602943" y="549987"/>
                  <a:pt x="601549" y="548129"/>
                  <a:pt x="601085" y="546271"/>
                </a:cubicBezTo>
                <a:cubicBezTo>
                  <a:pt x="598297" y="517935"/>
                  <a:pt x="576930" y="504929"/>
                  <a:pt x="544413" y="504929"/>
                </a:cubicBezTo>
                <a:cubicBezTo>
                  <a:pt x="513755" y="504929"/>
                  <a:pt x="494246" y="516077"/>
                  <a:pt x="494246" y="541161"/>
                </a:cubicBezTo>
                <a:cubicBezTo>
                  <a:pt x="494246" y="596903"/>
                  <a:pt x="645214" y="548593"/>
                  <a:pt x="645214" y="642426"/>
                </a:cubicBezTo>
                <a:cubicBezTo>
                  <a:pt x="645214" y="685626"/>
                  <a:pt x="604801" y="710710"/>
                  <a:pt x="551381" y="710710"/>
                </a:cubicBezTo>
                <a:cubicBezTo>
                  <a:pt x="491923" y="710710"/>
                  <a:pt x="452904" y="684697"/>
                  <a:pt x="451510" y="632671"/>
                </a:cubicBezTo>
                <a:cubicBezTo>
                  <a:pt x="451510" y="630348"/>
                  <a:pt x="453368" y="628955"/>
                  <a:pt x="455226" y="628955"/>
                </a:cubicBezTo>
                <a:lnTo>
                  <a:pt x="485884" y="628955"/>
                </a:lnTo>
                <a:cubicBezTo>
                  <a:pt x="488207" y="628955"/>
                  <a:pt x="489600" y="630813"/>
                  <a:pt x="489600" y="632671"/>
                </a:cubicBezTo>
                <a:cubicBezTo>
                  <a:pt x="491459" y="667974"/>
                  <a:pt x="512826" y="683768"/>
                  <a:pt x="552775" y="683768"/>
                </a:cubicBezTo>
                <a:cubicBezTo>
                  <a:pt x="585755" y="683768"/>
                  <a:pt x="607588" y="669832"/>
                  <a:pt x="607588" y="645213"/>
                </a:cubicBezTo>
                <a:cubicBezTo>
                  <a:pt x="607588" y="586684"/>
                  <a:pt x="456620" y="634064"/>
                  <a:pt x="456620" y="543484"/>
                </a:cubicBezTo>
                <a:cubicBezTo>
                  <a:pt x="456620" y="500284"/>
                  <a:pt x="491923" y="477987"/>
                  <a:pt x="544878" y="477987"/>
                </a:cubicBezTo>
                <a:close/>
                <a:moveTo>
                  <a:pt x="327020" y="476593"/>
                </a:moveTo>
                <a:cubicBezTo>
                  <a:pt x="391588" y="476593"/>
                  <a:pt x="430143" y="520722"/>
                  <a:pt x="431536" y="595509"/>
                </a:cubicBezTo>
                <a:cubicBezTo>
                  <a:pt x="431536" y="597832"/>
                  <a:pt x="429678" y="599225"/>
                  <a:pt x="427820" y="599225"/>
                </a:cubicBezTo>
                <a:lnTo>
                  <a:pt x="262452" y="599225"/>
                </a:lnTo>
                <a:cubicBezTo>
                  <a:pt x="263846" y="653109"/>
                  <a:pt x="286142" y="681909"/>
                  <a:pt x="329807" y="681909"/>
                </a:cubicBezTo>
                <a:cubicBezTo>
                  <a:pt x="362788" y="681909"/>
                  <a:pt x="382762" y="664722"/>
                  <a:pt x="389265" y="631741"/>
                </a:cubicBezTo>
                <a:cubicBezTo>
                  <a:pt x="389730" y="629419"/>
                  <a:pt x="392052" y="628025"/>
                  <a:pt x="393910" y="628025"/>
                </a:cubicBezTo>
                <a:lnTo>
                  <a:pt x="424104" y="628025"/>
                </a:lnTo>
                <a:lnTo>
                  <a:pt x="424104" y="628490"/>
                </a:lnTo>
                <a:cubicBezTo>
                  <a:pt x="426427" y="628490"/>
                  <a:pt x="427356" y="630348"/>
                  <a:pt x="427356" y="632206"/>
                </a:cubicBezTo>
                <a:cubicBezTo>
                  <a:pt x="420388" y="677729"/>
                  <a:pt x="386478" y="711174"/>
                  <a:pt x="328878" y="711174"/>
                </a:cubicBezTo>
                <a:cubicBezTo>
                  <a:pt x="259200" y="711174"/>
                  <a:pt x="222039" y="662864"/>
                  <a:pt x="222039" y="594580"/>
                </a:cubicBezTo>
                <a:cubicBezTo>
                  <a:pt x="222039" y="524438"/>
                  <a:pt x="261987" y="476593"/>
                  <a:pt x="327020" y="476593"/>
                </a:cubicBezTo>
                <a:close/>
                <a:moveTo>
                  <a:pt x="1302041" y="475664"/>
                </a:moveTo>
                <a:cubicBezTo>
                  <a:pt x="1366609" y="475664"/>
                  <a:pt x="1405164" y="519793"/>
                  <a:pt x="1406557" y="594580"/>
                </a:cubicBezTo>
                <a:cubicBezTo>
                  <a:pt x="1406557" y="596903"/>
                  <a:pt x="1404699" y="598296"/>
                  <a:pt x="1402841" y="598296"/>
                </a:cubicBezTo>
                <a:lnTo>
                  <a:pt x="1237473" y="598296"/>
                </a:lnTo>
                <a:cubicBezTo>
                  <a:pt x="1238867" y="652180"/>
                  <a:pt x="1261163" y="680980"/>
                  <a:pt x="1304828" y="680980"/>
                </a:cubicBezTo>
                <a:cubicBezTo>
                  <a:pt x="1337809" y="680980"/>
                  <a:pt x="1357783" y="663793"/>
                  <a:pt x="1364286" y="630812"/>
                </a:cubicBezTo>
                <a:cubicBezTo>
                  <a:pt x="1364751" y="628490"/>
                  <a:pt x="1367073" y="627096"/>
                  <a:pt x="1368931" y="627096"/>
                </a:cubicBezTo>
                <a:lnTo>
                  <a:pt x="1399125" y="627096"/>
                </a:lnTo>
                <a:lnTo>
                  <a:pt x="1399125" y="627561"/>
                </a:lnTo>
                <a:cubicBezTo>
                  <a:pt x="1401448" y="627561"/>
                  <a:pt x="1402377" y="629419"/>
                  <a:pt x="1402377" y="631277"/>
                </a:cubicBezTo>
                <a:cubicBezTo>
                  <a:pt x="1395409" y="676800"/>
                  <a:pt x="1361499" y="710245"/>
                  <a:pt x="1303899" y="710245"/>
                </a:cubicBezTo>
                <a:cubicBezTo>
                  <a:pt x="1234221" y="710245"/>
                  <a:pt x="1197060" y="661935"/>
                  <a:pt x="1197060" y="593651"/>
                </a:cubicBezTo>
                <a:cubicBezTo>
                  <a:pt x="1197060" y="523509"/>
                  <a:pt x="1237009" y="475664"/>
                  <a:pt x="1302041" y="475664"/>
                </a:cubicBezTo>
                <a:close/>
                <a:moveTo>
                  <a:pt x="679124" y="426426"/>
                </a:moveTo>
                <a:lnTo>
                  <a:pt x="711176" y="426426"/>
                </a:lnTo>
                <a:cubicBezTo>
                  <a:pt x="713498" y="426426"/>
                  <a:pt x="714892" y="428284"/>
                  <a:pt x="714892" y="430142"/>
                </a:cubicBezTo>
                <a:lnTo>
                  <a:pt x="714428" y="482168"/>
                </a:lnTo>
                <a:lnTo>
                  <a:pt x="765524" y="482168"/>
                </a:lnTo>
                <a:cubicBezTo>
                  <a:pt x="767847" y="482168"/>
                  <a:pt x="769240" y="484026"/>
                  <a:pt x="769240" y="485884"/>
                </a:cubicBezTo>
                <a:lnTo>
                  <a:pt x="769240" y="509110"/>
                </a:lnTo>
                <a:cubicBezTo>
                  <a:pt x="769240" y="511432"/>
                  <a:pt x="767382" y="512826"/>
                  <a:pt x="765524" y="512826"/>
                </a:cubicBezTo>
                <a:lnTo>
                  <a:pt x="714428" y="512826"/>
                </a:lnTo>
                <a:lnTo>
                  <a:pt x="714428" y="643355"/>
                </a:lnTo>
                <a:cubicBezTo>
                  <a:pt x="714428" y="670297"/>
                  <a:pt x="723718" y="678658"/>
                  <a:pt x="742763" y="678658"/>
                </a:cubicBezTo>
                <a:cubicBezTo>
                  <a:pt x="751589" y="678658"/>
                  <a:pt x="759486" y="677265"/>
                  <a:pt x="765989" y="675871"/>
                </a:cubicBezTo>
                <a:cubicBezTo>
                  <a:pt x="768311" y="674942"/>
                  <a:pt x="769705" y="676800"/>
                  <a:pt x="769705" y="678658"/>
                </a:cubicBezTo>
                <a:lnTo>
                  <a:pt x="769705" y="699561"/>
                </a:lnTo>
                <a:lnTo>
                  <a:pt x="770170" y="699561"/>
                </a:lnTo>
                <a:cubicBezTo>
                  <a:pt x="770170" y="701884"/>
                  <a:pt x="768311" y="703742"/>
                  <a:pt x="766453" y="704671"/>
                </a:cubicBezTo>
                <a:cubicBezTo>
                  <a:pt x="757628" y="707458"/>
                  <a:pt x="746479" y="709781"/>
                  <a:pt x="735795" y="709781"/>
                </a:cubicBezTo>
                <a:cubicBezTo>
                  <a:pt x="703279" y="709781"/>
                  <a:pt x="675873" y="693058"/>
                  <a:pt x="675873" y="644284"/>
                </a:cubicBezTo>
                <a:lnTo>
                  <a:pt x="675873" y="512826"/>
                </a:lnTo>
                <a:lnTo>
                  <a:pt x="651253" y="512826"/>
                </a:lnTo>
                <a:cubicBezTo>
                  <a:pt x="648931" y="512826"/>
                  <a:pt x="647537" y="510968"/>
                  <a:pt x="647537" y="509110"/>
                </a:cubicBezTo>
                <a:lnTo>
                  <a:pt x="647537" y="485884"/>
                </a:lnTo>
                <a:cubicBezTo>
                  <a:pt x="647537" y="483561"/>
                  <a:pt x="649395" y="482168"/>
                  <a:pt x="651253" y="482168"/>
                </a:cubicBezTo>
                <a:lnTo>
                  <a:pt x="675873" y="482168"/>
                </a:lnTo>
                <a:lnTo>
                  <a:pt x="675408" y="430142"/>
                </a:lnTo>
                <a:cubicBezTo>
                  <a:pt x="675408" y="427819"/>
                  <a:pt x="677266" y="426426"/>
                  <a:pt x="679124" y="426426"/>
                </a:cubicBezTo>
                <a:close/>
                <a:moveTo>
                  <a:pt x="1005215" y="412490"/>
                </a:moveTo>
                <a:lnTo>
                  <a:pt x="1037731" y="412490"/>
                </a:lnTo>
                <a:cubicBezTo>
                  <a:pt x="1040054" y="412490"/>
                  <a:pt x="1041448" y="414348"/>
                  <a:pt x="1041448" y="416206"/>
                </a:cubicBezTo>
                <a:lnTo>
                  <a:pt x="1041448" y="451974"/>
                </a:lnTo>
                <a:cubicBezTo>
                  <a:pt x="1041448" y="454296"/>
                  <a:pt x="1039589" y="455690"/>
                  <a:pt x="1037731" y="455690"/>
                </a:cubicBezTo>
                <a:lnTo>
                  <a:pt x="1005215" y="455690"/>
                </a:lnTo>
                <a:cubicBezTo>
                  <a:pt x="1002893" y="455690"/>
                  <a:pt x="1001499" y="453832"/>
                  <a:pt x="1001499" y="451974"/>
                </a:cubicBezTo>
                <a:lnTo>
                  <a:pt x="1001499" y="416206"/>
                </a:lnTo>
                <a:cubicBezTo>
                  <a:pt x="1001499" y="413883"/>
                  <a:pt x="1003357" y="412490"/>
                  <a:pt x="1005215" y="412490"/>
                </a:cubicBezTo>
                <a:close/>
                <a:moveTo>
                  <a:pt x="3716" y="409238"/>
                </a:moveTo>
                <a:lnTo>
                  <a:pt x="36232" y="409238"/>
                </a:lnTo>
                <a:cubicBezTo>
                  <a:pt x="38555" y="409238"/>
                  <a:pt x="39948" y="411096"/>
                  <a:pt x="39948" y="412954"/>
                </a:cubicBezTo>
                <a:lnTo>
                  <a:pt x="39019" y="517006"/>
                </a:lnTo>
                <a:cubicBezTo>
                  <a:pt x="54349" y="492851"/>
                  <a:pt x="78039" y="477986"/>
                  <a:pt x="110091" y="477986"/>
                </a:cubicBezTo>
                <a:cubicBezTo>
                  <a:pt x="170478" y="477986"/>
                  <a:pt x="202529" y="528619"/>
                  <a:pt x="202529" y="593651"/>
                </a:cubicBezTo>
                <a:cubicBezTo>
                  <a:pt x="202994" y="658219"/>
                  <a:pt x="169084" y="710244"/>
                  <a:pt x="109626" y="710244"/>
                </a:cubicBezTo>
                <a:cubicBezTo>
                  <a:pt x="77574" y="710244"/>
                  <a:pt x="53419" y="696774"/>
                  <a:pt x="38555" y="671225"/>
                </a:cubicBezTo>
                <a:lnTo>
                  <a:pt x="39484" y="701883"/>
                </a:lnTo>
                <a:cubicBezTo>
                  <a:pt x="39484" y="704206"/>
                  <a:pt x="37626" y="705599"/>
                  <a:pt x="35768" y="705599"/>
                </a:cubicBezTo>
                <a:lnTo>
                  <a:pt x="3716" y="705599"/>
                </a:lnTo>
                <a:cubicBezTo>
                  <a:pt x="1394" y="705599"/>
                  <a:pt x="0" y="703741"/>
                  <a:pt x="0" y="701883"/>
                </a:cubicBezTo>
                <a:lnTo>
                  <a:pt x="1394" y="538838"/>
                </a:lnTo>
                <a:lnTo>
                  <a:pt x="0" y="412954"/>
                </a:lnTo>
                <a:cubicBezTo>
                  <a:pt x="0" y="410632"/>
                  <a:pt x="1858" y="409238"/>
                  <a:pt x="3716" y="409238"/>
                </a:cubicBezTo>
                <a:close/>
                <a:moveTo>
                  <a:pt x="919279" y="401806"/>
                </a:moveTo>
                <a:lnTo>
                  <a:pt x="951331" y="401806"/>
                </a:lnTo>
                <a:cubicBezTo>
                  <a:pt x="953653" y="401806"/>
                  <a:pt x="955047" y="403664"/>
                  <a:pt x="955047" y="405522"/>
                </a:cubicBezTo>
                <a:lnTo>
                  <a:pt x="953189" y="551845"/>
                </a:lnTo>
                <a:lnTo>
                  <a:pt x="955047" y="702348"/>
                </a:lnTo>
                <a:cubicBezTo>
                  <a:pt x="955047" y="704671"/>
                  <a:pt x="953189" y="706064"/>
                  <a:pt x="951331" y="706064"/>
                </a:cubicBezTo>
                <a:lnTo>
                  <a:pt x="919279" y="706064"/>
                </a:lnTo>
                <a:lnTo>
                  <a:pt x="919279" y="705600"/>
                </a:lnTo>
                <a:cubicBezTo>
                  <a:pt x="916957" y="705600"/>
                  <a:pt x="915563" y="703741"/>
                  <a:pt x="915563" y="701883"/>
                </a:cubicBezTo>
                <a:lnTo>
                  <a:pt x="917421" y="551845"/>
                </a:lnTo>
                <a:lnTo>
                  <a:pt x="915563" y="405522"/>
                </a:lnTo>
                <a:cubicBezTo>
                  <a:pt x="915563" y="403200"/>
                  <a:pt x="917421" y="401806"/>
                  <a:pt x="919279" y="401806"/>
                </a:cubicBezTo>
                <a:close/>
                <a:moveTo>
                  <a:pt x="1165473" y="396232"/>
                </a:moveTo>
                <a:cubicBezTo>
                  <a:pt x="1175692" y="396232"/>
                  <a:pt x="1186841" y="397625"/>
                  <a:pt x="1194738" y="399484"/>
                </a:cubicBezTo>
                <a:cubicBezTo>
                  <a:pt x="1197060" y="399948"/>
                  <a:pt x="1198454" y="402271"/>
                  <a:pt x="1198454" y="404129"/>
                </a:cubicBezTo>
                <a:lnTo>
                  <a:pt x="1198454" y="426426"/>
                </a:lnTo>
                <a:cubicBezTo>
                  <a:pt x="1198454" y="428284"/>
                  <a:pt x="1196596" y="429677"/>
                  <a:pt x="1194738" y="429677"/>
                </a:cubicBezTo>
                <a:cubicBezTo>
                  <a:pt x="1188699" y="427819"/>
                  <a:pt x="1181731" y="426890"/>
                  <a:pt x="1174299" y="426890"/>
                </a:cubicBezTo>
                <a:cubicBezTo>
                  <a:pt x="1156647" y="426890"/>
                  <a:pt x="1145499" y="437574"/>
                  <a:pt x="1145499" y="465909"/>
                </a:cubicBezTo>
                <a:lnTo>
                  <a:pt x="1145499" y="482632"/>
                </a:lnTo>
                <a:lnTo>
                  <a:pt x="1194273" y="482632"/>
                </a:lnTo>
                <a:cubicBezTo>
                  <a:pt x="1196596" y="482632"/>
                  <a:pt x="1197989" y="484490"/>
                  <a:pt x="1197989" y="486348"/>
                </a:cubicBezTo>
                <a:lnTo>
                  <a:pt x="1197989" y="509109"/>
                </a:lnTo>
                <a:cubicBezTo>
                  <a:pt x="1197989" y="511432"/>
                  <a:pt x="1196131" y="512826"/>
                  <a:pt x="1194273" y="512826"/>
                </a:cubicBezTo>
                <a:lnTo>
                  <a:pt x="1145499" y="512826"/>
                </a:lnTo>
                <a:lnTo>
                  <a:pt x="1145499" y="604800"/>
                </a:lnTo>
                <a:lnTo>
                  <a:pt x="1145034" y="604800"/>
                </a:lnTo>
                <a:lnTo>
                  <a:pt x="1146428" y="701884"/>
                </a:lnTo>
                <a:cubicBezTo>
                  <a:pt x="1146428" y="704206"/>
                  <a:pt x="1144570" y="705600"/>
                  <a:pt x="1142712" y="705600"/>
                </a:cubicBezTo>
                <a:lnTo>
                  <a:pt x="1109266" y="705600"/>
                </a:lnTo>
                <a:cubicBezTo>
                  <a:pt x="1106944" y="705600"/>
                  <a:pt x="1105550" y="703742"/>
                  <a:pt x="1105550" y="701884"/>
                </a:cubicBezTo>
                <a:lnTo>
                  <a:pt x="1106944" y="604800"/>
                </a:lnTo>
                <a:lnTo>
                  <a:pt x="1106944" y="512361"/>
                </a:lnTo>
                <a:lnTo>
                  <a:pt x="1075821" y="512361"/>
                </a:lnTo>
                <a:cubicBezTo>
                  <a:pt x="1073498" y="512361"/>
                  <a:pt x="1072105" y="510503"/>
                  <a:pt x="1072105" y="508645"/>
                </a:cubicBezTo>
                <a:lnTo>
                  <a:pt x="1072105" y="485884"/>
                </a:lnTo>
                <a:cubicBezTo>
                  <a:pt x="1072105" y="483561"/>
                  <a:pt x="1073963" y="482167"/>
                  <a:pt x="1075821" y="482167"/>
                </a:cubicBezTo>
                <a:lnTo>
                  <a:pt x="1106944" y="482167"/>
                </a:lnTo>
                <a:lnTo>
                  <a:pt x="1106944" y="462658"/>
                </a:lnTo>
                <a:cubicBezTo>
                  <a:pt x="1106944" y="413419"/>
                  <a:pt x="1137137" y="396232"/>
                  <a:pt x="1165473" y="396232"/>
                </a:cubicBezTo>
                <a:close/>
                <a:moveTo>
                  <a:pt x="1006608" y="104516"/>
                </a:moveTo>
                <a:cubicBezTo>
                  <a:pt x="962479" y="104980"/>
                  <a:pt x="941111" y="137032"/>
                  <a:pt x="941111" y="193238"/>
                </a:cubicBezTo>
                <a:cubicBezTo>
                  <a:pt x="941111" y="249445"/>
                  <a:pt x="962943" y="280567"/>
                  <a:pt x="1006608" y="280567"/>
                </a:cubicBezTo>
                <a:cubicBezTo>
                  <a:pt x="1050737" y="280567"/>
                  <a:pt x="1071640" y="249445"/>
                  <a:pt x="1071640" y="193238"/>
                </a:cubicBezTo>
                <a:cubicBezTo>
                  <a:pt x="1071640" y="137032"/>
                  <a:pt x="1049808" y="104516"/>
                  <a:pt x="1006608" y="104516"/>
                </a:cubicBezTo>
                <a:close/>
                <a:moveTo>
                  <a:pt x="475200" y="103586"/>
                </a:moveTo>
                <a:cubicBezTo>
                  <a:pt x="438039" y="103586"/>
                  <a:pt x="417136" y="127277"/>
                  <a:pt x="411097" y="169548"/>
                </a:cubicBezTo>
                <a:lnTo>
                  <a:pt x="536517" y="169548"/>
                </a:lnTo>
                <a:cubicBezTo>
                  <a:pt x="535123" y="133780"/>
                  <a:pt x="514684" y="103586"/>
                  <a:pt x="475200" y="103586"/>
                </a:cubicBezTo>
                <a:close/>
                <a:moveTo>
                  <a:pt x="1141318" y="81290"/>
                </a:moveTo>
                <a:lnTo>
                  <a:pt x="1173834" y="81290"/>
                </a:lnTo>
                <a:cubicBezTo>
                  <a:pt x="1176157" y="81290"/>
                  <a:pt x="1177550" y="83148"/>
                  <a:pt x="1177550" y="85006"/>
                </a:cubicBezTo>
                <a:lnTo>
                  <a:pt x="1176621" y="176516"/>
                </a:lnTo>
                <a:lnTo>
                  <a:pt x="1176621" y="219716"/>
                </a:lnTo>
                <a:cubicBezTo>
                  <a:pt x="1176621" y="260129"/>
                  <a:pt x="1195667" y="278245"/>
                  <a:pt x="1224002" y="278245"/>
                </a:cubicBezTo>
                <a:cubicBezTo>
                  <a:pt x="1253267" y="278245"/>
                  <a:pt x="1276957" y="254555"/>
                  <a:pt x="1285783" y="210425"/>
                </a:cubicBezTo>
                <a:lnTo>
                  <a:pt x="1285783" y="176516"/>
                </a:lnTo>
                <a:lnTo>
                  <a:pt x="1284854" y="85006"/>
                </a:lnTo>
                <a:cubicBezTo>
                  <a:pt x="1284854" y="82684"/>
                  <a:pt x="1286712" y="81290"/>
                  <a:pt x="1288570" y="81290"/>
                </a:cubicBezTo>
                <a:lnTo>
                  <a:pt x="1321551" y="81290"/>
                </a:lnTo>
                <a:cubicBezTo>
                  <a:pt x="1323873" y="81290"/>
                  <a:pt x="1325267" y="83148"/>
                  <a:pt x="1325267" y="85006"/>
                </a:cubicBezTo>
                <a:lnTo>
                  <a:pt x="1324802" y="183019"/>
                </a:lnTo>
                <a:lnTo>
                  <a:pt x="1325731" y="301006"/>
                </a:lnTo>
                <a:cubicBezTo>
                  <a:pt x="1325731" y="303329"/>
                  <a:pt x="1323873" y="304722"/>
                  <a:pt x="1322015" y="304722"/>
                </a:cubicBezTo>
                <a:lnTo>
                  <a:pt x="1291357" y="304722"/>
                </a:lnTo>
                <a:cubicBezTo>
                  <a:pt x="1289034" y="304722"/>
                  <a:pt x="1287641" y="302864"/>
                  <a:pt x="1287641" y="301006"/>
                </a:cubicBezTo>
                <a:lnTo>
                  <a:pt x="1288570" y="266632"/>
                </a:lnTo>
                <a:cubicBezTo>
                  <a:pt x="1274635" y="289393"/>
                  <a:pt x="1249086" y="309832"/>
                  <a:pt x="1213783" y="309832"/>
                </a:cubicBezTo>
                <a:cubicBezTo>
                  <a:pt x="1167796" y="309832"/>
                  <a:pt x="1138531" y="279174"/>
                  <a:pt x="1138531" y="220645"/>
                </a:cubicBezTo>
                <a:lnTo>
                  <a:pt x="1138531" y="176516"/>
                </a:lnTo>
                <a:lnTo>
                  <a:pt x="1137602" y="85006"/>
                </a:lnTo>
                <a:cubicBezTo>
                  <a:pt x="1137602" y="82684"/>
                  <a:pt x="1139460" y="81290"/>
                  <a:pt x="1141318" y="81290"/>
                </a:cubicBezTo>
                <a:close/>
                <a:moveTo>
                  <a:pt x="697240" y="81290"/>
                </a:moveTo>
                <a:lnTo>
                  <a:pt x="734401" y="81290"/>
                </a:lnTo>
                <a:cubicBezTo>
                  <a:pt x="736724" y="81290"/>
                  <a:pt x="738582" y="83148"/>
                  <a:pt x="739511" y="84542"/>
                </a:cubicBezTo>
                <a:lnTo>
                  <a:pt x="803150" y="253625"/>
                </a:lnTo>
                <a:lnTo>
                  <a:pt x="856570" y="85006"/>
                </a:lnTo>
                <a:cubicBezTo>
                  <a:pt x="857499" y="82684"/>
                  <a:pt x="859821" y="81290"/>
                  <a:pt x="861679" y="81290"/>
                </a:cubicBezTo>
                <a:lnTo>
                  <a:pt x="894660" y="81290"/>
                </a:lnTo>
                <a:cubicBezTo>
                  <a:pt x="896982" y="81290"/>
                  <a:pt x="897912" y="83148"/>
                  <a:pt x="897447" y="85006"/>
                </a:cubicBezTo>
                <a:lnTo>
                  <a:pt x="796647" y="371148"/>
                </a:lnTo>
                <a:cubicBezTo>
                  <a:pt x="795718" y="373471"/>
                  <a:pt x="793395" y="374864"/>
                  <a:pt x="791537" y="374864"/>
                </a:cubicBezTo>
                <a:lnTo>
                  <a:pt x="761343" y="374864"/>
                </a:lnTo>
                <a:cubicBezTo>
                  <a:pt x="759485" y="374864"/>
                  <a:pt x="758092" y="373006"/>
                  <a:pt x="758556" y="371148"/>
                </a:cubicBezTo>
                <a:lnTo>
                  <a:pt x="782247" y="305187"/>
                </a:lnTo>
                <a:lnTo>
                  <a:pt x="694453" y="84542"/>
                </a:lnTo>
                <a:cubicBezTo>
                  <a:pt x="693988" y="82684"/>
                  <a:pt x="695382" y="81290"/>
                  <a:pt x="697240" y="81290"/>
                </a:cubicBezTo>
                <a:close/>
                <a:moveTo>
                  <a:pt x="161187" y="80361"/>
                </a:moveTo>
                <a:lnTo>
                  <a:pt x="196026" y="80361"/>
                </a:lnTo>
                <a:cubicBezTo>
                  <a:pt x="198348" y="80361"/>
                  <a:pt x="200207" y="82219"/>
                  <a:pt x="201136" y="84077"/>
                </a:cubicBezTo>
                <a:lnTo>
                  <a:pt x="264310" y="270813"/>
                </a:lnTo>
                <a:lnTo>
                  <a:pt x="328878" y="84077"/>
                </a:lnTo>
                <a:cubicBezTo>
                  <a:pt x="329807" y="81755"/>
                  <a:pt x="332129" y="80361"/>
                  <a:pt x="333987" y="80361"/>
                </a:cubicBezTo>
                <a:lnTo>
                  <a:pt x="364646" y="80361"/>
                </a:lnTo>
                <a:cubicBezTo>
                  <a:pt x="366968" y="80361"/>
                  <a:pt x="367897" y="82219"/>
                  <a:pt x="367433" y="83613"/>
                </a:cubicBezTo>
                <a:lnTo>
                  <a:pt x="288929" y="301006"/>
                </a:lnTo>
                <a:cubicBezTo>
                  <a:pt x="288000" y="302864"/>
                  <a:pt x="285678" y="304258"/>
                  <a:pt x="283820" y="304258"/>
                </a:cubicBezTo>
                <a:lnTo>
                  <a:pt x="243871" y="304258"/>
                </a:lnTo>
                <a:cubicBezTo>
                  <a:pt x="241549" y="304258"/>
                  <a:pt x="239691" y="302400"/>
                  <a:pt x="238761" y="301006"/>
                </a:cubicBezTo>
                <a:lnTo>
                  <a:pt x="158400" y="83613"/>
                </a:lnTo>
                <a:cubicBezTo>
                  <a:pt x="157936" y="81755"/>
                  <a:pt x="159329" y="80361"/>
                  <a:pt x="161187" y="80361"/>
                </a:cubicBezTo>
                <a:close/>
                <a:moveTo>
                  <a:pt x="95226" y="79896"/>
                </a:moveTo>
                <a:lnTo>
                  <a:pt x="127742" y="79896"/>
                </a:lnTo>
                <a:cubicBezTo>
                  <a:pt x="130065" y="79896"/>
                  <a:pt x="131458" y="81754"/>
                  <a:pt x="131458" y="83613"/>
                </a:cubicBezTo>
                <a:lnTo>
                  <a:pt x="130994" y="188129"/>
                </a:lnTo>
                <a:lnTo>
                  <a:pt x="131923" y="300077"/>
                </a:lnTo>
                <a:cubicBezTo>
                  <a:pt x="131923" y="302400"/>
                  <a:pt x="130065" y="303793"/>
                  <a:pt x="128207" y="303793"/>
                </a:cubicBezTo>
                <a:lnTo>
                  <a:pt x="95226" y="303793"/>
                </a:lnTo>
                <a:cubicBezTo>
                  <a:pt x="92904" y="303793"/>
                  <a:pt x="91510" y="301935"/>
                  <a:pt x="91510" y="300077"/>
                </a:cubicBezTo>
                <a:lnTo>
                  <a:pt x="92439" y="188593"/>
                </a:lnTo>
                <a:lnTo>
                  <a:pt x="91510" y="83613"/>
                </a:lnTo>
                <a:cubicBezTo>
                  <a:pt x="91510" y="81290"/>
                  <a:pt x="93368" y="79896"/>
                  <a:pt x="95226" y="79896"/>
                </a:cubicBezTo>
                <a:close/>
                <a:moveTo>
                  <a:pt x="1006608" y="75251"/>
                </a:moveTo>
                <a:cubicBezTo>
                  <a:pt x="1074892" y="75251"/>
                  <a:pt x="1112518" y="121703"/>
                  <a:pt x="1112518" y="192309"/>
                </a:cubicBezTo>
                <a:cubicBezTo>
                  <a:pt x="1112518" y="262916"/>
                  <a:pt x="1074892" y="309832"/>
                  <a:pt x="1006608" y="309832"/>
                </a:cubicBezTo>
                <a:cubicBezTo>
                  <a:pt x="938788" y="309832"/>
                  <a:pt x="900698" y="263845"/>
                  <a:pt x="900698" y="193238"/>
                </a:cubicBezTo>
                <a:cubicBezTo>
                  <a:pt x="900698" y="122167"/>
                  <a:pt x="938788" y="75251"/>
                  <a:pt x="1006608" y="75251"/>
                </a:cubicBezTo>
                <a:close/>
                <a:moveTo>
                  <a:pt x="1485061" y="74322"/>
                </a:moveTo>
                <a:cubicBezTo>
                  <a:pt x="1489706" y="74322"/>
                  <a:pt x="1494351" y="74787"/>
                  <a:pt x="1498067" y="75716"/>
                </a:cubicBezTo>
                <a:cubicBezTo>
                  <a:pt x="1500390" y="76180"/>
                  <a:pt x="1501783" y="78503"/>
                  <a:pt x="1501783" y="80361"/>
                </a:cubicBezTo>
                <a:lnTo>
                  <a:pt x="1501783" y="105445"/>
                </a:lnTo>
                <a:cubicBezTo>
                  <a:pt x="1501783" y="107303"/>
                  <a:pt x="1499925" y="108696"/>
                  <a:pt x="1498067" y="108696"/>
                </a:cubicBezTo>
                <a:cubicBezTo>
                  <a:pt x="1494816" y="108232"/>
                  <a:pt x="1490170" y="107767"/>
                  <a:pt x="1485525" y="107767"/>
                </a:cubicBezTo>
                <a:cubicBezTo>
                  <a:pt x="1447899" y="107767"/>
                  <a:pt x="1414919" y="130993"/>
                  <a:pt x="1410273" y="179767"/>
                </a:cubicBezTo>
                <a:lnTo>
                  <a:pt x="1410738" y="297290"/>
                </a:lnTo>
                <a:cubicBezTo>
                  <a:pt x="1410738" y="299612"/>
                  <a:pt x="1408880" y="301006"/>
                  <a:pt x="1407022" y="301006"/>
                </a:cubicBezTo>
                <a:lnTo>
                  <a:pt x="1374970" y="301006"/>
                </a:lnTo>
                <a:cubicBezTo>
                  <a:pt x="1372647" y="301006"/>
                  <a:pt x="1371254" y="299148"/>
                  <a:pt x="1371254" y="297290"/>
                </a:cubicBezTo>
                <a:lnTo>
                  <a:pt x="1372647" y="186735"/>
                </a:lnTo>
                <a:lnTo>
                  <a:pt x="1371254" y="80825"/>
                </a:lnTo>
                <a:cubicBezTo>
                  <a:pt x="1371254" y="78503"/>
                  <a:pt x="1373112" y="77109"/>
                  <a:pt x="1374970" y="77109"/>
                </a:cubicBezTo>
                <a:lnTo>
                  <a:pt x="1407022" y="77109"/>
                </a:lnTo>
                <a:cubicBezTo>
                  <a:pt x="1409344" y="77109"/>
                  <a:pt x="1410738" y="78967"/>
                  <a:pt x="1410738" y="80825"/>
                </a:cubicBezTo>
                <a:lnTo>
                  <a:pt x="1408880" y="118451"/>
                </a:lnTo>
                <a:cubicBezTo>
                  <a:pt x="1425138" y="89651"/>
                  <a:pt x="1453474" y="74322"/>
                  <a:pt x="1485061" y="74322"/>
                </a:cubicBezTo>
                <a:close/>
                <a:moveTo>
                  <a:pt x="474736" y="74322"/>
                </a:moveTo>
                <a:cubicBezTo>
                  <a:pt x="539304" y="74322"/>
                  <a:pt x="577859" y="118451"/>
                  <a:pt x="579252" y="193238"/>
                </a:cubicBezTo>
                <a:cubicBezTo>
                  <a:pt x="579252" y="195561"/>
                  <a:pt x="577394" y="196954"/>
                  <a:pt x="575536" y="196954"/>
                </a:cubicBezTo>
                <a:lnTo>
                  <a:pt x="409703" y="196954"/>
                </a:lnTo>
                <a:cubicBezTo>
                  <a:pt x="411097" y="250838"/>
                  <a:pt x="433394" y="279638"/>
                  <a:pt x="477058" y="279638"/>
                </a:cubicBezTo>
                <a:cubicBezTo>
                  <a:pt x="510039" y="279638"/>
                  <a:pt x="530013" y="262451"/>
                  <a:pt x="536517" y="229470"/>
                </a:cubicBezTo>
                <a:cubicBezTo>
                  <a:pt x="536981" y="227148"/>
                  <a:pt x="539304" y="225754"/>
                  <a:pt x="541162" y="225754"/>
                </a:cubicBezTo>
                <a:lnTo>
                  <a:pt x="571820" y="225754"/>
                </a:lnTo>
                <a:lnTo>
                  <a:pt x="571820" y="226219"/>
                </a:lnTo>
                <a:cubicBezTo>
                  <a:pt x="574143" y="226219"/>
                  <a:pt x="575072" y="228077"/>
                  <a:pt x="575072" y="229935"/>
                </a:cubicBezTo>
                <a:cubicBezTo>
                  <a:pt x="568104" y="275457"/>
                  <a:pt x="534194" y="308903"/>
                  <a:pt x="476594" y="308903"/>
                </a:cubicBezTo>
                <a:cubicBezTo>
                  <a:pt x="406916" y="308903"/>
                  <a:pt x="369755" y="260593"/>
                  <a:pt x="369755" y="192309"/>
                </a:cubicBezTo>
                <a:cubicBezTo>
                  <a:pt x="369755" y="122167"/>
                  <a:pt x="409703" y="74322"/>
                  <a:pt x="474736" y="74322"/>
                </a:cubicBezTo>
                <a:close/>
                <a:moveTo>
                  <a:pt x="95226" y="11148"/>
                </a:moveTo>
                <a:lnTo>
                  <a:pt x="127742" y="11148"/>
                </a:lnTo>
                <a:cubicBezTo>
                  <a:pt x="130065" y="11148"/>
                  <a:pt x="131458" y="13006"/>
                  <a:pt x="131458" y="14864"/>
                </a:cubicBezTo>
                <a:lnTo>
                  <a:pt x="131458" y="50632"/>
                </a:lnTo>
                <a:cubicBezTo>
                  <a:pt x="131458" y="52954"/>
                  <a:pt x="129600" y="54348"/>
                  <a:pt x="127742" y="54348"/>
                </a:cubicBezTo>
                <a:lnTo>
                  <a:pt x="95226" y="54348"/>
                </a:lnTo>
                <a:cubicBezTo>
                  <a:pt x="92904" y="54348"/>
                  <a:pt x="91510" y="52490"/>
                  <a:pt x="91510" y="50632"/>
                </a:cubicBezTo>
                <a:lnTo>
                  <a:pt x="91510" y="14864"/>
                </a:lnTo>
                <a:cubicBezTo>
                  <a:pt x="91510" y="12542"/>
                  <a:pt x="93368" y="11148"/>
                  <a:pt x="95226" y="11148"/>
                </a:cubicBezTo>
                <a:close/>
                <a:moveTo>
                  <a:pt x="6038" y="0"/>
                </a:moveTo>
                <a:lnTo>
                  <a:pt x="38090" y="0"/>
                </a:lnTo>
                <a:cubicBezTo>
                  <a:pt x="40412" y="0"/>
                  <a:pt x="41806" y="1858"/>
                  <a:pt x="41806" y="3716"/>
                </a:cubicBezTo>
                <a:lnTo>
                  <a:pt x="39948" y="150039"/>
                </a:lnTo>
                <a:lnTo>
                  <a:pt x="41806" y="300542"/>
                </a:lnTo>
                <a:cubicBezTo>
                  <a:pt x="41806" y="302865"/>
                  <a:pt x="39948" y="304258"/>
                  <a:pt x="38090" y="304258"/>
                </a:cubicBezTo>
                <a:lnTo>
                  <a:pt x="6038" y="304258"/>
                </a:lnTo>
                <a:lnTo>
                  <a:pt x="6038" y="303794"/>
                </a:lnTo>
                <a:cubicBezTo>
                  <a:pt x="3716" y="303794"/>
                  <a:pt x="2322" y="301936"/>
                  <a:pt x="2322" y="300077"/>
                </a:cubicBezTo>
                <a:lnTo>
                  <a:pt x="4180" y="150039"/>
                </a:lnTo>
                <a:lnTo>
                  <a:pt x="2322" y="3716"/>
                </a:lnTo>
                <a:cubicBezTo>
                  <a:pt x="2322" y="1394"/>
                  <a:pt x="4180" y="0"/>
                  <a:pt x="6038" y="0"/>
                </a:cubicBezTo>
                <a:close/>
              </a:path>
            </a:pathLst>
          </a:custGeom>
          <a:solidFill>
            <a:schemeClr val="tx1"/>
          </a:solidFill>
        </p:spPr>
        <p:txBody>
          <a:bodyPr wrap="square">
            <a:noAutofit/>
          </a:bodyPr>
          <a:lstStyle/>
          <a:p>
            <a:pPr lvl="0"/>
            <a:r>
              <a:rPr lang="en-US"/>
              <a:t> </a:t>
            </a:r>
          </a:p>
        </p:txBody>
      </p:sp>
      <p:sp>
        <p:nvSpPr>
          <p:cNvPr id="6" name="LYBL 1" descr="live your best life tagline graphic">
            <a:extLst>
              <a:ext uri="{FF2B5EF4-FFF2-40B4-BE49-F238E27FC236}">
                <a16:creationId xmlns:a16="http://schemas.microsoft.com/office/drawing/2014/main" id="{A6CDBEC9-60E8-EBB1-7FBE-5E58B79668C1}"/>
              </a:ext>
            </a:extLst>
          </p:cNvPr>
          <p:cNvSpPr>
            <a:spLocks noGrp="1"/>
          </p:cNvSpPr>
          <p:nvPr>
            <p:ph type="body" sz="quarter" idx="22" hasCustomPrompt="1"/>
          </p:nvPr>
        </p:nvSpPr>
        <p:spPr>
          <a:xfrm>
            <a:off x="13940543" y="1088687"/>
            <a:ext cx="783622" cy="1440313"/>
          </a:xfrm>
          <a:custGeom>
            <a:avLst/>
            <a:gdLst>
              <a:gd name="connsiteX0" fmla="*/ 402004 w 783622"/>
              <a:gd name="connsiteY0" fmla="*/ 1240933 h 1440313"/>
              <a:gd name="connsiteX1" fmla="*/ 339754 w 783622"/>
              <a:gd name="connsiteY1" fmla="*/ 1304987 h 1440313"/>
              <a:gd name="connsiteX2" fmla="*/ 461547 w 783622"/>
              <a:gd name="connsiteY2" fmla="*/ 1304987 h 1440313"/>
              <a:gd name="connsiteX3" fmla="*/ 402004 w 783622"/>
              <a:gd name="connsiteY3" fmla="*/ 1240933 h 1440313"/>
              <a:gd name="connsiteX4" fmla="*/ 112860 w 783622"/>
              <a:gd name="connsiteY4" fmla="*/ 1218379 h 1440313"/>
              <a:gd name="connsiteX5" fmla="*/ 144436 w 783622"/>
              <a:gd name="connsiteY5" fmla="*/ 1218379 h 1440313"/>
              <a:gd name="connsiteX6" fmla="*/ 148044 w 783622"/>
              <a:gd name="connsiteY6" fmla="*/ 1221987 h 1440313"/>
              <a:gd name="connsiteX7" fmla="*/ 147142 w 783622"/>
              <a:gd name="connsiteY7" fmla="*/ 1323481 h 1440313"/>
              <a:gd name="connsiteX8" fmla="*/ 148044 w 783622"/>
              <a:gd name="connsiteY8" fmla="*/ 1432193 h 1440313"/>
              <a:gd name="connsiteX9" fmla="*/ 144436 w 783622"/>
              <a:gd name="connsiteY9" fmla="*/ 1435801 h 1440313"/>
              <a:gd name="connsiteX10" fmla="*/ 112860 w 783622"/>
              <a:gd name="connsiteY10" fmla="*/ 1435801 h 1440313"/>
              <a:gd name="connsiteX11" fmla="*/ 109251 w 783622"/>
              <a:gd name="connsiteY11" fmla="*/ 1432193 h 1440313"/>
              <a:gd name="connsiteX12" fmla="*/ 110153 w 783622"/>
              <a:gd name="connsiteY12" fmla="*/ 1323932 h 1440313"/>
              <a:gd name="connsiteX13" fmla="*/ 109251 w 783622"/>
              <a:gd name="connsiteY13" fmla="*/ 1221987 h 1440313"/>
              <a:gd name="connsiteX14" fmla="*/ 112860 w 783622"/>
              <a:gd name="connsiteY14" fmla="*/ 1218379 h 1440313"/>
              <a:gd name="connsiteX15" fmla="*/ 401553 w 783622"/>
              <a:gd name="connsiteY15" fmla="*/ 1212515 h 1440313"/>
              <a:gd name="connsiteX16" fmla="*/ 503047 w 783622"/>
              <a:gd name="connsiteY16" fmla="*/ 1327993 h 1440313"/>
              <a:gd name="connsiteX17" fmla="*/ 499438 w 783622"/>
              <a:gd name="connsiteY17" fmla="*/ 1331601 h 1440313"/>
              <a:gd name="connsiteX18" fmla="*/ 338852 w 783622"/>
              <a:gd name="connsiteY18" fmla="*/ 1331601 h 1440313"/>
              <a:gd name="connsiteX19" fmla="*/ 404260 w 783622"/>
              <a:gd name="connsiteY19" fmla="*/ 1411894 h 1440313"/>
              <a:gd name="connsiteX20" fmla="*/ 461998 w 783622"/>
              <a:gd name="connsiteY20" fmla="*/ 1363177 h 1440313"/>
              <a:gd name="connsiteX21" fmla="*/ 466509 w 783622"/>
              <a:gd name="connsiteY21" fmla="*/ 1359569 h 1440313"/>
              <a:gd name="connsiteX22" fmla="*/ 495830 w 783622"/>
              <a:gd name="connsiteY22" fmla="*/ 1359569 h 1440313"/>
              <a:gd name="connsiteX23" fmla="*/ 495830 w 783622"/>
              <a:gd name="connsiteY23" fmla="*/ 1360020 h 1440313"/>
              <a:gd name="connsiteX24" fmla="*/ 498987 w 783622"/>
              <a:gd name="connsiteY24" fmla="*/ 1363628 h 1440313"/>
              <a:gd name="connsiteX25" fmla="*/ 403357 w 783622"/>
              <a:gd name="connsiteY25" fmla="*/ 1440313 h 1440313"/>
              <a:gd name="connsiteX26" fmla="*/ 299608 w 783622"/>
              <a:gd name="connsiteY26" fmla="*/ 1327090 h 1440313"/>
              <a:gd name="connsiteX27" fmla="*/ 401553 w 783622"/>
              <a:gd name="connsiteY27" fmla="*/ 1212515 h 1440313"/>
              <a:gd name="connsiteX28" fmla="*/ 112860 w 783622"/>
              <a:gd name="connsiteY28" fmla="*/ 1151167 h 1440313"/>
              <a:gd name="connsiteX29" fmla="*/ 144436 w 783622"/>
              <a:gd name="connsiteY29" fmla="*/ 1151167 h 1440313"/>
              <a:gd name="connsiteX30" fmla="*/ 148044 w 783622"/>
              <a:gd name="connsiteY30" fmla="*/ 1154776 h 1440313"/>
              <a:gd name="connsiteX31" fmla="*/ 148044 w 783622"/>
              <a:gd name="connsiteY31" fmla="*/ 1189509 h 1440313"/>
              <a:gd name="connsiteX32" fmla="*/ 144436 w 783622"/>
              <a:gd name="connsiteY32" fmla="*/ 1193118 h 1440313"/>
              <a:gd name="connsiteX33" fmla="*/ 112860 w 783622"/>
              <a:gd name="connsiteY33" fmla="*/ 1193118 h 1440313"/>
              <a:gd name="connsiteX34" fmla="*/ 109251 w 783622"/>
              <a:gd name="connsiteY34" fmla="*/ 1189509 h 1440313"/>
              <a:gd name="connsiteX35" fmla="*/ 109251 w 783622"/>
              <a:gd name="connsiteY35" fmla="*/ 1154776 h 1440313"/>
              <a:gd name="connsiteX36" fmla="*/ 112860 w 783622"/>
              <a:gd name="connsiteY36" fmla="*/ 1151167 h 1440313"/>
              <a:gd name="connsiteX37" fmla="*/ 29860 w 783622"/>
              <a:gd name="connsiteY37" fmla="*/ 1140793 h 1440313"/>
              <a:gd name="connsiteX38" fmla="*/ 60984 w 783622"/>
              <a:gd name="connsiteY38" fmla="*/ 1140793 h 1440313"/>
              <a:gd name="connsiteX39" fmla="*/ 64593 w 783622"/>
              <a:gd name="connsiteY39" fmla="*/ 1144402 h 1440313"/>
              <a:gd name="connsiteX40" fmla="*/ 62789 w 783622"/>
              <a:gd name="connsiteY40" fmla="*/ 1286493 h 1440313"/>
              <a:gd name="connsiteX41" fmla="*/ 64593 w 783622"/>
              <a:gd name="connsiteY41" fmla="*/ 1432644 h 1440313"/>
              <a:gd name="connsiteX42" fmla="*/ 60984 w 783622"/>
              <a:gd name="connsiteY42" fmla="*/ 1436253 h 1440313"/>
              <a:gd name="connsiteX43" fmla="*/ 29860 w 783622"/>
              <a:gd name="connsiteY43" fmla="*/ 1436253 h 1440313"/>
              <a:gd name="connsiteX44" fmla="*/ 29860 w 783622"/>
              <a:gd name="connsiteY44" fmla="*/ 1435802 h 1440313"/>
              <a:gd name="connsiteX45" fmla="*/ 26251 w 783622"/>
              <a:gd name="connsiteY45" fmla="*/ 1432193 h 1440313"/>
              <a:gd name="connsiteX46" fmla="*/ 28055 w 783622"/>
              <a:gd name="connsiteY46" fmla="*/ 1286493 h 1440313"/>
              <a:gd name="connsiteX47" fmla="*/ 26251 w 783622"/>
              <a:gd name="connsiteY47" fmla="*/ 1144402 h 1440313"/>
              <a:gd name="connsiteX48" fmla="*/ 29860 w 783622"/>
              <a:gd name="connsiteY48" fmla="*/ 1140793 h 1440313"/>
              <a:gd name="connsiteX49" fmla="*/ 268483 w 783622"/>
              <a:gd name="connsiteY49" fmla="*/ 1134928 h 1440313"/>
              <a:gd name="connsiteX50" fmla="*/ 296901 w 783622"/>
              <a:gd name="connsiteY50" fmla="*/ 1138086 h 1440313"/>
              <a:gd name="connsiteX51" fmla="*/ 300510 w 783622"/>
              <a:gd name="connsiteY51" fmla="*/ 1142596 h 1440313"/>
              <a:gd name="connsiteX52" fmla="*/ 300510 w 783622"/>
              <a:gd name="connsiteY52" fmla="*/ 1164248 h 1440313"/>
              <a:gd name="connsiteX53" fmla="*/ 296901 w 783622"/>
              <a:gd name="connsiteY53" fmla="*/ 1167406 h 1440313"/>
              <a:gd name="connsiteX54" fmla="*/ 277054 w 783622"/>
              <a:gd name="connsiteY54" fmla="*/ 1164700 h 1440313"/>
              <a:gd name="connsiteX55" fmla="*/ 249086 w 783622"/>
              <a:gd name="connsiteY55" fmla="*/ 1202591 h 1440313"/>
              <a:gd name="connsiteX56" fmla="*/ 249086 w 783622"/>
              <a:gd name="connsiteY56" fmla="*/ 1218830 h 1440313"/>
              <a:gd name="connsiteX57" fmla="*/ 296450 w 783622"/>
              <a:gd name="connsiteY57" fmla="*/ 1218830 h 1440313"/>
              <a:gd name="connsiteX58" fmla="*/ 300059 w 783622"/>
              <a:gd name="connsiteY58" fmla="*/ 1222438 h 1440313"/>
              <a:gd name="connsiteX59" fmla="*/ 300059 w 783622"/>
              <a:gd name="connsiteY59" fmla="*/ 1244542 h 1440313"/>
              <a:gd name="connsiteX60" fmla="*/ 296450 w 783622"/>
              <a:gd name="connsiteY60" fmla="*/ 1248150 h 1440313"/>
              <a:gd name="connsiteX61" fmla="*/ 248635 w 783622"/>
              <a:gd name="connsiteY61" fmla="*/ 1248150 h 1440313"/>
              <a:gd name="connsiteX62" fmla="*/ 248635 w 783622"/>
              <a:gd name="connsiteY62" fmla="*/ 1337465 h 1440313"/>
              <a:gd name="connsiteX63" fmla="*/ 249988 w 783622"/>
              <a:gd name="connsiteY63" fmla="*/ 1431742 h 1440313"/>
              <a:gd name="connsiteX64" fmla="*/ 246380 w 783622"/>
              <a:gd name="connsiteY64" fmla="*/ 1435350 h 1440313"/>
              <a:gd name="connsiteX65" fmla="*/ 213902 w 783622"/>
              <a:gd name="connsiteY65" fmla="*/ 1435350 h 1440313"/>
              <a:gd name="connsiteX66" fmla="*/ 210293 w 783622"/>
              <a:gd name="connsiteY66" fmla="*/ 1431742 h 1440313"/>
              <a:gd name="connsiteX67" fmla="*/ 211646 w 783622"/>
              <a:gd name="connsiteY67" fmla="*/ 1337465 h 1440313"/>
              <a:gd name="connsiteX68" fmla="*/ 211646 w 783622"/>
              <a:gd name="connsiteY68" fmla="*/ 1247699 h 1440313"/>
              <a:gd name="connsiteX69" fmla="*/ 181424 w 783622"/>
              <a:gd name="connsiteY69" fmla="*/ 1247699 h 1440313"/>
              <a:gd name="connsiteX70" fmla="*/ 177815 w 783622"/>
              <a:gd name="connsiteY70" fmla="*/ 1244090 h 1440313"/>
              <a:gd name="connsiteX71" fmla="*/ 177815 w 783622"/>
              <a:gd name="connsiteY71" fmla="*/ 1221987 h 1440313"/>
              <a:gd name="connsiteX72" fmla="*/ 181424 w 783622"/>
              <a:gd name="connsiteY72" fmla="*/ 1218379 h 1440313"/>
              <a:gd name="connsiteX73" fmla="*/ 211646 w 783622"/>
              <a:gd name="connsiteY73" fmla="*/ 1218379 h 1440313"/>
              <a:gd name="connsiteX74" fmla="*/ 211646 w 783622"/>
              <a:gd name="connsiteY74" fmla="*/ 1199433 h 1440313"/>
              <a:gd name="connsiteX75" fmla="*/ 268483 w 783622"/>
              <a:gd name="connsiteY75" fmla="*/ 1134928 h 1440313"/>
              <a:gd name="connsiteX76" fmla="*/ 121430 w 783622"/>
              <a:gd name="connsiteY76" fmla="*/ 828191 h 1440313"/>
              <a:gd name="connsiteX77" fmla="*/ 60534 w 783622"/>
              <a:gd name="connsiteY77" fmla="*/ 910288 h 1440313"/>
              <a:gd name="connsiteX78" fmla="*/ 120528 w 783622"/>
              <a:gd name="connsiteY78" fmla="*/ 996897 h 1440313"/>
              <a:gd name="connsiteX79" fmla="*/ 182327 w 783622"/>
              <a:gd name="connsiteY79" fmla="*/ 914348 h 1440313"/>
              <a:gd name="connsiteX80" fmla="*/ 121430 w 783622"/>
              <a:gd name="connsiteY80" fmla="*/ 828191 h 1440313"/>
              <a:gd name="connsiteX81" fmla="*/ 345619 w 783622"/>
              <a:gd name="connsiteY81" fmla="*/ 826838 h 1440313"/>
              <a:gd name="connsiteX82" fmla="*/ 283369 w 783622"/>
              <a:gd name="connsiteY82" fmla="*/ 890892 h 1440313"/>
              <a:gd name="connsiteX83" fmla="*/ 405162 w 783622"/>
              <a:gd name="connsiteY83" fmla="*/ 890892 h 1440313"/>
              <a:gd name="connsiteX84" fmla="*/ 345619 w 783622"/>
              <a:gd name="connsiteY84" fmla="*/ 826838 h 1440313"/>
              <a:gd name="connsiteX85" fmla="*/ 556726 w 783622"/>
              <a:gd name="connsiteY85" fmla="*/ 800224 h 1440313"/>
              <a:gd name="connsiteX86" fmla="*/ 647394 w 783622"/>
              <a:gd name="connsiteY86" fmla="*/ 866533 h 1440313"/>
              <a:gd name="connsiteX87" fmla="*/ 643785 w 783622"/>
              <a:gd name="connsiteY87" fmla="*/ 870142 h 1440313"/>
              <a:gd name="connsiteX88" fmla="*/ 615367 w 783622"/>
              <a:gd name="connsiteY88" fmla="*/ 870142 h 1440313"/>
              <a:gd name="connsiteX89" fmla="*/ 611307 w 783622"/>
              <a:gd name="connsiteY89" fmla="*/ 866533 h 1440313"/>
              <a:gd name="connsiteX90" fmla="*/ 556275 w 783622"/>
              <a:gd name="connsiteY90" fmla="*/ 826387 h 1440313"/>
              <a:gd name="connsiteX91" fmla="*/ 507558 w 783622"/>
              <a:gd name="connsiteY91" fmla="*/ 861571 h 1440313"/>
              <a:gd name="connsiteX92" fmla="*/ 654160 w 783622"/>
              <a:gd name="connsiteY92" fmla="*/ 959908 h 1440313"/>
              <a:gd name="connsiteX93" fmla="*/ 563041 w 783622"/>
              <a:gd name="connsiteY93" fmla="*/ 1026217 h 1440313"/>
              <a:gd name="connsiteX94" fmla="*/ 466058 w 783622"/>
              <a:gd name="connsiteY94" fmla="*/ 950435 h 1440313"/>
              <a:gd name="connsiteX95" fmla="*/ 469667 w 783622"/>
              <a:gd name="connsiteY95" fmla="*/ 946826 h 1440313"/>
              <a:gd name="connsiteX96" fmla="*/ 499438 w 783622"/>
              <a:gd name="connsiteY96" fmla="*/ 946826 h 1440313"/>
              <a:gd name="connsiteX97" fmla="*/ 503047 w 783622"/>
              <a:gd name="connsiteY97" fmla="*/ 950435 h 1440313"/>
              <a:gd name="connsiteX98" fmla="*/ 564394 w 783622"/>
              <a:gd name="connsiteY98" fmla="*/ 1000054 h 1440313"/>
              <a:gd name="connsiteX99" fmla="*/ 617622 w 783622"/>
              <a:gd name="connsiteY99" fmla="*/ 962614 h 1440313"/>
              <a:gd name="connsiteX100" fmla="*/ 471020 w 783622"/>
              <a:gd name="connsiteY100" fmla="*/ 863827 h 1440313"/>
              <a:gd name="connsiteX101" fmla="*/ 556726 w 783622"/>
              <a:gd name="connsiteY101" fmla="*/ 800224 h 1440313"/>
              <a:gd name="connsiteX102" fmla="*/ 345168 w 783622"/>
              <a:gd name="connsiteY102" fmla="*/ 798420 h 1440313"/>
              <a:gd name="connsiteX103" fmla="*/ 446662 w 783622"/>
              <a:gd name="connsiteY103" fmla="*/ 913898 h 1440313"/>
              <a:gd name="connsiteX104" fmla="*/ 443053 w 783622"/>
              <a:gd name="connsiteY104" fmla="*/ 917506 h 1440313"/>
              <a:gd name="connsiteX105" fmla="*/ 282467 w 783622"/>
              <a:gd name="connsiteY105" fmla="*/ 917506 h 1440313"/>
              <a:gd name="connsiteX106" fmla="*/ 347875 w 783622"/>
              <a:gd name="connsiteY106" fmla="*/ 997799 h 1440313"/>
              <a:gd name="connsiteX107" fmla="*/ 405613 w 783622"/>
              <a:gd name="connsiteY107" fmla="*/ 949082 h 1440313"/>
              <a:gd name="connsiteX108" fmla="*/ 410124 w 783622"/>
              <a:gd name="connsiteY108" fmla="*/ 945473 h 1440313"/>
              <a:gd name="connsiteX109" fmla="*/ 439445 w 783622"/>
              <a:gd name="connsiteY109" fmla="*/ 945473 h 1440313"/>
              <a:gd name="connsiteX110" fmla="*/ 439445 w 783622"/>
              <a:gd name="connsiteY110" fmla="*/ 945925 h 1440313"/>
              <a:gd name="connsiteX111" fmla="*/ 442602 w 783622"/>
              <a:gd name="connsiteY111" fmla="*/ 949533 h 1440313"/>
              <a:gd name="connsiteX112" fmla="*/ 346972 w 783622"/>
              <a:gd name="connsiteY112" fmla="*/ 1026218 h 1440313"/>
              <a:gd name="connsiteX113" fmla="*/ 243223 w 783622"/>
              <a:gd name="connsiteY113" fmla="*/ 912995 h 1440313"/>
              <a:gd name="connsiteX114" fmla="*/ 345168 w 783622"/>
              <a:gd name="connsiteY114" fmla="*/ 798420 h 1440313"/>
              <a:gd name="connsiteX115" fmla="*/ 691149 w 783622"/>
              <a:gd name="connsiteY115" fmla="*/ 749702 h 1440313"/>
              <a:gd name="connsiteX116" fmla="*/ 722274 w 783622"/>
              <a:gd name="connsiteY116" fmla="*/ 749702 h 1440313"/>
              <a:gd name="connsiteX117" fmla="*/ 725882 w 783622"/>
              <a:gd name="connsiteY117" fmla="*/ 753311 h 1440313"/>
              <a:gd name="connsiteX118" fmla="*/ 725431 w 783622"/>
              <a:gd name="connsiteY118" fmla="*/ 803832 h 1440313"/>
              <a:gd name="connsiteX119" fmla="*/ 775050 w 783622"/>
              <a:gd name="connsiteY119" fmla="*/ 803832 h 1440313"/>
              <a:gd name="connsiteX120" fmla="*/ 778659 w 783622"/>
              <a:gd name="connsiteY120" fmla="*/ 807441 h 1440313"/>
              <a:gd name="connsiteX121" fmla="*/ 778659 w 783622"/>
              <a:gd name="connsiteY121" fmla="*/ 829995 h 1440313"/>
              <a:gd name="connsiteX122" fmla="*/ 775050 w 783622"/>
              <a:gd name="connsiteY122" fmla="*/ 833604 h 1440313"/>
              <a:gd name="connsiteX123" fmla="*/ 725431 w 783622"/>
              <a:gd name="connsiteY123" fmla="*/ 833604 h 1440313"/>
              <a:gd name="connsiteX124" fmla="*/ 725431 w 783622"/>
              <a:gd name="connsiteY124" fmla="*/ 960358 h 1440313"/>
              <a:gd name="connsiteX125" fmla="*/ 752947 w 783622"/>
              <a:gd name="connsiteY125" fmla="*/ 994641 h 1440313"/>
              <a:gd name="connsiteX126" fmla="*/ 775501 w 783622"/>
              <a:gd name="connsiteY126" fmla="*/ 991934 h 1440313"/>
              <a:gd name="connsiteX127" fmla="*/ 779110 w 783622"/>
              <a:gd name="connsiteY127" fmla="*/ 994641 h 1440313"/>
              <a:gd name="connsiteX128" fmla="*/ 779110 w 783622"/>
              <a:gd name="connsiteY128" fmla="*/ 1014940 h 1440313"/>
              <a:gd name="connsiteX129" fmla="*/ 779561 w 783622"/>
              <a:gd name="connsiteY129" fmla="*/ 1014940 h 1440313"/>
              <a:gd name="connsiteX130" fmla="*/ 775953 w 783622"/>
              <a:gd name="connsiteY130" fmla="*/ 1019902 h 1440313"/>
              <a:gd name="connsiteX131" fmla="*/ 746181 w 783622"/>
              <a:gd name="connsiteY131" fmla="*/ 1024863 h 1440313"/>
              <a:gd name="connsiteX132" fmla="*/ 687991 w 783622"/>
              <a:gd name="connsiteY132" fmla="*/ 961261 h 1440313"/>
              <a:gd name="connsiteX133" fmla="*/ 687991 w 783622"/>
              <a:gd name="connsiteY133" fmla="*/ 833604 h 1440313"/>
              <a:gd name="connsiteX134" fmla="*/ 664084 w 783622"/>
              <a:gd name="connsiteY134" fmla="*/ 833604 h 1440313"/>
              <a:gd name="connsiteX135" fmla="*/ 660475 w 783622"/>
              <a:gd name="connsiteY135" fmla="*/ 829995 h 1440313"/>
              <a:gd name="connsiteX136" fmla="*/ 660475 w 783622"/>
              <a:gd name="connsiteY136" fmla="*/ 807441 h 1440313"/>
              <a:gd name="connsiteX137" fmla="*/ 664084 w 783622"/>
              <a:gd name="connsiteY137" fmla="*/ 803832 h 1440313"/>
              <a:gd name="connsiteX138" fmla="*/ 687991 w 783622"/>
              <a:gd name="connsiteY138" fmla="*/ 803832 h 1440313"/>
              <a:gd name="connsiteX139" fmla="*/ 687540 w 783622"/>
              <a:gd name="connsiteY139" fmla="*/ 753311 h 1440313"/>
              <a:gd name="connsiteX140" fmla="*/ 691149 w 783622"/>
              <a:gd name="connsiteY140" fmla="*/ 749702 h 1440313"/>
              <a:gd name="connsiteX141" fmla="*/ 27605 w 783622"/>
              <a:gd name="connsiteY141" fmla="*/ 737072 h 1440313"/>
              <a:gd name="connsiteX142" fmla="*/ 59181 w 783622"/>
              <a:gd name="connsiteY142" fmla="*/ 737072 h 1440313"/>
              <a:gd name="connsiteX143" fmla="*/ 62789 w 783622"/>
              <a:gd name="connsiteY143" fmla="*/ 740681 h 1440313"/>
              <a:gd name="connsiteX144" fmla="*/ 62338 w 783622"/>
              <a:gd name="connsiteY144" fmla="*/ 837664 h 1440313"/>
              <a:gd name="connsiteX145" fmla="*/ 131354 w 783622"/>
              <a:gd name="connsiteY145" fmla="*/ 799773 h 1440313"/>
              <a:gd name="connsiteX146" fmla="*/ 221120 w 783622"/>
              <a:gd name="connsiteY146" fmla="*/ 912093 h 1440313"/>
              <a:gd name="connsiteX147" fmla="*/ 130452 w 783622"/>
              <a:gd name="connsiteY147" fmla="*/ 1025766 h 1440313"/>
              <a:gd name="connsiteX148" fmla="*/ 61436 w 783622"/>
              <a:gd name="connsiteY148" fmla="*/ 987875 h 1440313"/>
              <a:gd name="connsiteX149" fmla="*/ 62338 w 783622"/>
              <a:gd name="connsiteY149" fmla="*/ 1017646 h 1440313"/>
              <a:gd name="connsiteX150" fmla="*/ 58729 w 783622"/>
              <a:gd name="connsiteY150" fmla="*/ 1021255 h 1440313"/>
              <a:gd name="connsiteX151" fmla="*/ 27605 w 783622"/>
              <a:gd name="connsiteY151" fmla="*/ 1021255 h 1440313"/>
              <a:gd name="connsiteX152" fmla="*/ 23996 w 783622"/>
              <a:gd name="connsiteY152" fmla="*/ 1017646 h 1440313"/>
              <a:gd name="connsiteX153" fmla="*/ 25349 w 783622"/>
              <a:gd name="connsiteY153" fmla="*/ 859316 h 1440313"/>
              <a:gd name="connsiteX154" fmla="*/ 23996 w 783622"/>
              <a:gd name="connsiteY154" fmla="*/ 740681 h 1440313"/>
              <a:gd name="connsiteX155" fmla="*/ 27605 w 783622"/>
              <a:gd name="connsiteY155" fmla="*/ 737072 h 1440313"/>
              <a:gd name="connsiteX156" fmla="*/ 302766 w 783622"/>
              <a:gd name="connsiteY156" fmla="*/ 438003 h 1440313"/>
              <a:gd name="connsiteX157" fmla="*/ 239163 w 783622"/>
              <a:gd name="connsiteY157" fmla="*/ 524160 h 1440313"/>
              <a:gd name="connsiteX158" fmla="*/ 302766 w 783622"/>
              <a:gd name="connsiteY158" fmla="*/ 608964 h 1440313"/>
              <a:gd name="connsiteX159" fmla="*/ 365918 w 783622"/>
              <a:gd name="connsiteY159" fmla="*/ 524160 h 1440313"/>
              <a:gd name="connsiteX160" fmla="*/ 302766 w 783622"/>
              <a:gd name="connsiteY160" fmla="*/ 438003 h 1440313"/>
              <a:gd name="connsiteX161" fmla="*/ 433129 w 783622"/>
              <a:gd name="connsiteY161" fmla="*/ 415449 h 1440313"/>
              <a:gd name="connsiteX162" fmla="*/ 464705 w 783622"/>
              <a:gd name="connsiteY162" fmla="*/ 415449 h 1440313"/>
              <a:gd name="connsiteX163" fmla="*/ 468313 w 783622"/>
              <a:gd name="connsiteY163" fmla="*/ 419058 h 1440313"/>
              <a:gd name="connsiteX164" fmla="*/ 467411 w 783622"/>
              <a:gd name="connsiteY164" fmla="*/ 507921 h 1440313"/>
              <a:gd name="connsiteX165" fmla="*/ 467411 w 783622"/>
              <a:gd name="connsiteY165" fmla="*/ 549872 h 1440313"/>
              <a:gd name="connsiteX166" fmla="*/ 513422 w 783622"/>
              <a:gd name="connsiteY166" fmla="*/ 606709 h 1440313"/>
              <a:gd name="connsiteX167" fmla="*/ 573416 w 783622"/>
              <a:gd name="connsiteY167" fmla="*/ 540850 h 1440313"/>
              <a:gd name="connsiteX168" fmla="*/ 573416 w 783622"/>
              <a:gd name="connsiteY168" fmla="*/ 507921 h 1440313"/>
              <a:gd name="connsiteX169" fmla="*/ 572514 w 783622"/>
              <a:gd name="connsiteY169" fmla="*/ 419058 h 1440313"/>
              <a:gd name="connsiteX170" fmla="*/ 576122 w 783622"/>
              <a:gd name="connsiteY170" fmla="*/ 415449 h 1440313"/>
              <a:gd name="connsiteX171" fmla="*/ 608149 w 783622"/>
              <a:gd name="connsiteY171" fmla="*/ 415449 h 1440313"/>
              <a:gd name="connsiteX172" fmla="*/ 611758 w 783622"/>
              <a:gd name="connsiteY172" fmla="*/ 419058 h 1440313"/>
              <a:gd name="connsiteX173" fmla="*/ 610405 w 783622"/>
              <a:gd name="connsiteY173" fmla="*/ 514688 h 1440313"/>
              <a:gd name="connsiteX174" fmla="*/ 611307 w 783622"/>
              <a:gd name="connsiteY174" fmla="*/ 629263 h 1440313"/>
              <a:gd name="connsiteX175" fmla="*/ 607698 w 783622"/>
              <a:gd name="connsiteY175" fmla="*/ 632872 h 1440313"/>
              <a:gd name="connsiteX176" fmla="*/ 577927 w 783622"/>
              <a:gd name="connsiteY176" fmla="*/ 632872 h 1440313"/>
              <a:gd name="connsiteX177" fmla="*/ 574318 w 783622"/>
              <a:gd name="connsiteY177" fmla="*/ 629263 h 1440313"/>
              <a:gd name="connsiteX178" fmla="*/ 575220 w 783622"/>
              <a:gd name="connsiteY178" fmla="*/ 595883 h 1440313"/>
              <a:gd name="connsiteX179" fmla="*/ 503498 w 783622"/>
              <a:gd name="connsiteY179" fmla="*/ 637383 h 1440313"/>
              <a:gd name="connsiteX180" fmla="*/ 430422 w 783622"/>
              <a:gd name="connsiteY180" fmla="*/ 550774 h 1440313"/>
              <a:gd name="connsiteX181" fmla="*/ 430422 w 783622"/>
              <a:gd name="connsiteY181" fmla="*/ 507921 h 1440313"/>
              <a:gd name="connsiteX182" fmla="*/ 429520 w 783622"/>
              <a:gd name="connsiteY182" fmla="*/ 419058 h 1440313"/>
              <a:gd name="connsiteX183" fmla="*/ 433129 w 783622"/>
              <a:gd name="connsiteY183" fmla="*/ 415449 h 1440313"/>
              <a:gd name="connsiteX184" fmla="*/ 2795 w 783622"/>
              <a:gd name="connsiteY184" fmla="*/ 414998 h 1440313"/>
              <a:gd name="connsiteX185" fmla="*/ 38882 w 783622"/>
              <a:gd name="connsiteY185" fmla="*/ 414998 h 1440313"/>
              <a:gd name="connsiteX186" fmla="*/ 43844 w 783622"/>
              <a:gd name="connsiteY186" fmla="*/ 418156 h 1440313"/>
              <a:gd name="connsiteX187" fmla="*/ 105642 w 783622"/>
              <a:gd name="connsiteY187" fmla="*/ 582350 h 1440313"/>
              <a:gd name="connsiteX188" fmla="*/ 157517 w 783622"/>
              <a:gd name="connsiteY188" fmla="*/ 418607 h 1440313"/>
              <a:gd name="connsiteX189" fmla="*/ 162479 w 783622"/>
              <a:gd name="connsiteY189" fmla="*/ 414998 h 1440313"/>
              <a:gd name="connsiteX190" fmla="*/ 194506 w 783622"/>
              <a:gd name="connsiteY190" fmla="*/ 414998 h 1440313"/>
              <a:gd name="connsiteX191" fmla="*/ 197212 w 783622"/>
              <a:gd name="connsiteY191" fmla="*/ 418607 h 1440313"/>
              <a:gd name="connsiteX192" fmla="*/ 98876 w 783622"/>
              <a:gd name="connsiteY192" fmla="*/ 696475 h 1440313"/>
              <a:gd name="connsiteX193" fmla="*/ 93914 w 783622"/>
              <a:gd name="connsiteY193" fmla="*/ 700083 h 1440313"/>
              <a:gd name="connsiteX194" fmla="*/ 64593 w 783622"/>
              <a:gd name="connsiteY194" fmla="*/ 700083 h 1440313"/>
              <a:gd name="connsiteX195" fmla="*/ 61887 w 783622"/>
              <a:gd name="connsiteY195" fmla="*/ 696475 h 1440313"/>
              <a:gd name="connsiteX196" fmla="*/ 84892 w 783622"/>
              <a:gd name="connsiteY196" fmla="*/ 632421 h 1440313"/>
              <a:gd name="connsiteX197" fmla="*/ 88 w 783622"/>
              <a:gd name="connsiteY197" fmla="*/ 418156 h 1440313"/>
              <a:gd name="connsiteX198" fmla="*/ 2795 w 783622"/>
              <a:gd name="connsiteY198" fmla="*/ 414998 h 1440313"/>
              <a:gd name="connsiteX199" fmla="*/ 302766 w 783622"/>
              <a:gd name="connsiteY199" fmla="*/ 409585 h 1440313"/>
              <a:gd name="connsiteX200" fmla="*/ 405613 w 783622"/>
              <a:gd name="connsiteY200" fmla="*/ 523258 h 1440313"/>
              <a:gd name="connsiteX201" fmla="*/ 302766 w 783622"/>
              <a:gd name="connsiteY201" fmla="*/ 637383 h 1440313"/>
              <a:gd name="connsiteX202" fmla="*/ 199919 w 783622"/>
              <a:gd name="connsiteY202" fmla="*/ 524160 h 1440313"/>
              <a:gd name="connsiteX203" fmla="*/ 302766 w 783622"/>
              <a:gd name="connsiteY203" fmla="*/ 409585 h 1440313"/>
              <a:gd name="connsiteX204" fmla="*/ 767383 w 783622"/>
              <a:gd name="connsiteY204" fmla="*/ 408683 h 1440313"/>
              <a:gd name="connsiteX205" fmla="*/ 780013 w 783622"/>
              <a:gd name="connsiteY205" fmla="*/ 410036 h 1440313"/>
              <a:gd name="connsiteX206" fmla="*/ 783622 w 783622"/>
              <a:gd name="connsiteY206" fmla="*/ 414547 h 1440313"/>
              <a:gd name="connsiteX207" fmla="*/ 783622 w 783622"/>
              <a:gd name="connsiteY207" fmla="*/ 438003 h 1440313"/>
              <a:gd name="connsiteX208" fmla="*/ 780013 w 783622"/>
              <a:gd name="connsiteY208" fmla="*/ 441161 h 1440313"/>
              <a:gd name="connsiteX209" fmla="*/ 767834 w 783622"/>
              <a:gd name="connsiteY209" fmla="*/ 440259 h 1440313"/>
              <a:gd name="connsiteX210" fmla="*/ 694758 w 783622"/>
              <a:gd name="connsiteY210" fmla="*/ 510177 h 1440313"/>
              <a:gd name="connsiteX211" fmla="*/ 695209 w 783622"/>
              <a:gd name="connsiteY211" fmla="*/ 624301 h 1440313"/>
              <a:gd name="connsiteX212" fmla="*/ 691600 w 783622"/>
              <a:gd name="connsiteY212" fmla="*/ 627910 h 1440313"/>
              <a:gd name="connsiteX213" fmla="*/ 660476 w 783622"/>
              <a:gd name="connsiteY213" fmla="*/ 627910 h 1440313"/>
              <a:gd name="connsiteX214" fmla="*/ 660476 w 783622"/>
              <a:gd name="connsiteY214" fmla="*/ 628361 h 1440313"/>
              <a:gd name="connsiteX215" fmla="*/ 656867 w 783622"/>
              <a:gd name="connsiteY215" fmla="*/ 624752 h 1440313"/>
              <a:gd name="connsiteX216" fmla="*/ 658220 w 783622"/>
              <a:gd name="connsiteY216" fmla="*/ 517394 h 1440313"/>
              <a:gd name="connsiteX217" fmla="*/ 656867 w 783622"/>
              <a:gd name="connsiteY217" fmla="*/ 414998 h 1440313"/>
              <a:gd name="connsiteX218" fmla="*/ 660476 w 783622"/>
              <a:gd name="connsiteY218" fmla="*/ 411390 h 1440313"/>
              <a:gd name="connsiteX219" fmla="*/ 691600 w 783622"/>
              <a:gd name="connsiteY219" fmla="*/ 411390 h 1440313"/>
              <a:gd name="connsiteX220" fmla="*/ 695209 w 783622"/>
              <a:gd name="connsiteY220" fmla="*/ 414998 h 1440313"/>
              <a:gd name="connsiteX221" fmla="*/ 693405 w 783622"/>
              <a:gd name="connsiteY221" fmla="*/ 451536 h 1440313"/>
              <a:gd name="connsiteX222" fmla="*/ 767383 w 783622"/>
              <a:gd name="connsiteY222" fmla="*/ 408683 h 1440313"/>
              <a:gd name="connsiteX223" fmla="*/ 485455 w 783622"/>
              <a:gd name="connsiteY223" fmla="*/ 100592 h 1440313"/>
              <a:gd name="connsiteX224" fmla="*/ 423205 w 783622"/>
              <a:gd name="connsiteY224" fmla="*/ 164646 h 1440313"/>
              <a:gd name="connsiteX225" fmla="*/ 544998 w 783622"/>
              <a:gd name="connsiteY225" fmla="*/ 164646 h 1440313"/>
              <a:gd name="connsiteX226" fmla="*/ 485455 w 783622"/>
              <a:gd name="connsiteY226" fmla="*/ 100592 h 1440313"/>
              <a:gd name="connsiteX227" fmla="*/ 180522 w 783622"/>
              <a:gd name="connsiteY227" fmla="*/ 78038 h 1440313"/>
              <a:gd name="connsiteX228" fmla="*/ 214353 w 783622"/>
              <a:gd name="connsiteY228" fmla="*/ 78038 h 1440313"/>
              <a:gd name="connsiteX229" fmla="*/ 219315 w 783622"/>
              <a:gd name="connsiteY229" fmla="*/ 81647 h 1440313"/>
              <a:gd name="connsiteX230" fmla="*/ 280663 w 783622"/>
              <a:gd name="connsiteY230" fmla="*/ 262983 h 1440313"/>
              <a:gd name="connsiteX231" fmla="*/ 343363 w 783622"/>
              <a:gd name="connsiteY231" fmla="*/ 81647 h 1440313"/>
              <a:gd name="connsiteX232" fmla="*/ 348325 w 783622"/>
              <a:gd name="connsiteY232" fmla="*/ 78038 h 1440313"/>
              <a:gd name="connsiteX233" fmla="*/ 378097 w 783622"/>
              <a:gd name="connsiteY233" fmla="*/ 78038 h 1440313"/>
              <a:gd name="connsiteX234" fmla="*/ 380803 w 783622"/>
              <a:gd name="connsiteY234" fmla="*/ 81196 h 1440313"/>
              <a:gd name="connsiteX235" fmla="*/ 304570 w 783622"/>
              <a:gd name="connsiteY235" fmla="*/ 292303 h 1440313"/>
              <a:gd name="connsiteX236" fmla="*/ 299608 w 783622"/>
              <a:gd name="connsiteY236" fmla="*/ 295461 h 1440313"/>
              <a:gd name="connsiteX237" fmla="*/ 260815 w 783622"/>
              <a:gd name="connsiteY237" fmla="*/ 295461 h 1440313"/>
              <a:gd name="connsiteX238" fmla="*/ 255853 w 783622"/>
              <a:gd name="connsiteY238" fmla="*/ 292303 h 1440313"/>
              <a:gd name="connsiteX239" fmla="*/ 177815 w 783622"/>
              <a:gd name="connsiteY239" fmla="*/ 81196 h 1440313"/>
              <a:gd name="connsiteX240" fmla="*/ 180522 w 783622"/>
              <a:gd name="connsiteY240" fmla="*/ 78038 h 1440313"/>
              <a:gd name="connsiteX241" fmla="*/ 116468 w 783622"/>
              <a:gd name="connsiteY241" fmla="*/ 77586 h 1440313"/>
              <a:gd name="connsiteX242" fmla="*/ 148044 w 783622"/>
              <a:gd name="connsiteY242" fmla="*/ 77586 h 1440313"/>
              <a:gd name="connsiteX243" fmla="*/ 151652 w 783622"/>
              <a:gd name="connsiteY243" fmla="*/ 81195 h 1440313"/>
              <a:gd name="connsiteX244" fmla="*/ 151201 w 783622"/>
              <a:gd name="connsiteY244" fmla="*/ 182689 h 1440313"/>
              <a:gd name="connsiteX245" fmla="*/ 152103 w 783622"/>
              <a:gd name="connsiteY245" fmla="*/ 291400 h 1440313"/>
              <a:gd name="connsiteX246" fmla="*/ 148495 w 783622"/>
              <a:gd name="connsiteY246" fmla="*/ 295009 h 1440313"/>
              <a:gd name="connsiteX247" fmla="*/ 116468 w 783622"/>
              <a:gd name="connsiteY247" fmla="*/ 295009 h 1440313"/>
              <a:gd name="connsiteX248" fmla="*/ 112859 w 783622"/>
              <a:gd name="connsiteY248" fmla="*/ 291400 h 1440313"/>
              <a:gd name="connsiteX249" fmla="*/ 113761 w 783622"/>
              <a:gd name="connsiteY249" fmla="*/ 183140 h 1440313"/>
              <a:gd name="connsiteX250" fmla="*/ 112859 w 783622"/>
              <a:gd name="connsiteY250" fmla="*/ 81195 h 1440313"/>
              <a:gd name="connsiteX251" fmla="*/ 116468 w 783622"/>
              <a:gd name="connsiteY251" fmla="*/ 77586 h 1440313"/>
              <a:gd name="connsiteX252" fmla="*/ 485004 w 783622"/>
              <a:gd name="connsiteY252" fmla="*/ 72174 h 1440313"/>
              <a:gd name="connsiteX253" fmla="*/ 586498 w 783622"/>
              <a:gd name="connsiteY253" fmla="*/ 187652 h 1440313"/>
              <a:gd name="connsiteX254" fmla="*/ 582889 w 783622"/>
              <a:gd name="connsiteY254" fmla="*/ 191260 h 1440313"/>
              <a:gd name="connsiteX255" fmla="*/ 421852 w 783622"/>
              <a:gd name="connsiteY255" fmla="*/ 191260 h 1440313"/>
              <a:gd name="connsiteX256" fmla="*/ 487259 w 783622"/>
              <a:gd name="connsiteY256" fmla="*/ 271553 h 1440313"/>
              <a:gd name="connsiteX257" fmla="*/ 544998 w 783622"/>
              <a:gd name="connsiteY257" fmla="*/ 222836 h 1440313"/>
              <a:gd name="connsiteX258" fmla="*/ 549509 w 783622"/>
              <a:gd name="connsiteY258" fmla="*/ 219227 h 1440313"/>
              <a:gd name="connsiteX259" fmla="*/ 579281 w 783622"/>
              <a:gd name="connsiteY259" fmla="*/ 219227 h 1440313"/>
              <a:gd name="connsiteX260" fmla="*/ 579281 w 783622"/>
              <a:gd name="connsiteY260" fmla="*/ 219679 h 1440313"/>
              <a:gd name="connsiteX261" fmla="*/ 582438 w 783622"/>
              <a:gd name="connsiteY261" fmla="*/ 223287 h 1440313"/>
              <a:gd name="connsiteX262" fmla="*/ 486808 w 783622"/>
              <a:gd name="connsiteY262" fmla="*/ 299972 h 1440313"/>
              <a:gd name="connsiteX263" fmla="*/ 383059 w 783622"/>
              <a:gd name="connsiteY263" fmla="*/ 186749 h 1440313"/>
              <a:gd name="connsiteX264" fmla="*/ 485004 w 783622"/>
              <a:gd name="connsiteY264" fmla="*/ 72174 h 1440313"/>
              <a:gd name="connsiteX265" fmla="*/ 116468 w 783622"/>
              <a:gd name="connsiteY265" fmla="*/ 10826 h 1440313"/>
              <a:gd name="connsiteX266" fmla="*/ 148044 w 783622"/>
              <a:gd name="connsiteY266" fmla="*/ 10826 h 1440313"/>
              <a:gd name="connsiteX267" fmla="*/ 151652 w 783622"/>
              <a:gd name="connsiteY267" fmla="*/ 14435 h 1440313"/>
              <a:gd name="connsiteX268" fmla="*/ 151652 w 783622"/>
              <a:gd name="connsiteY268" fmla="*/ 49168 h 1440313"/>
              <a:gd name="connsiteX269" fmla="*/ 148044 w 783622"/>
              <a:gd name="connsiteY269" fmla="*/ 52777 h 1440313"/>
              <a:gd name="connsiteX270" fmla="*/ 116468 w 783622"/>
              <a:gd name="connsiteY270" fmla="*/ 52777 h 1440313"/>
              <a:gd name="connsiteX271" fmla="*/ 112859 w 783622"/>
              <a:gd name="connsiteY271" fmla="*/ 49168 h 1440313"/>
              <a:gd name="connsiteX272" fmla="*/ 112859 w 783622"/>
              <a:gd name="connsiteY272" fmla="*/ 14435 h 1440313"/>
              <a:gd name="connsiteX273" fmla="*/ 116468 w 783622"/>
              <a:gd name="connsiteY273" fmla="*/ 10826 h 1440313"/>
              <a:gd name="connsiteX274" fmla="*/ 29860 w 783622"/>
              <a:gd name="connsiteY274" fmla="*/ 0 h 1440313"/>
              <a:gd name="connsiteX275" fmla="*/ 60984 w 783622"/>
              <a:gd name="connsiteY275" fmla="*/ 0 h 1440313"/>
              <a:gd name="connsiteX276" fmla="*/ 64593 w 783622"/>
              <a:gd name="connsiteY276" fmla="*/ 3609 h 1440313"/>
              <a:gd name="connsiteX277" fmla="*/ 62789 w 783622"/>
              <a:gd name="connsiteY277" fmla="*/ 145700 h 1440313"/>
              <a:gd name="connsiteX278" fmla="*/ 64593 w 783622"/>
              <a:gd name="connsiteY278" fmla="*/ 291852 h 1440313"/>
              <a:gd name="connsiteX279" fmla="*/ 60984 w 783622"/>
              <a:gd name="connsiteY279" fmla="*/ 295460 h 1440313"/>
              <a:gd name="connsiteX280" fmla="*/ 29860 w 783622"/>
              <a:gd name="connsiteY280" fmla="*/ 295460 h 1440313"/>
              <a:gd name="connsiteX281" fmla="*/ 29860 w 783622"/>
              <a:gd name="connsiteY281" fmla="*/ 295009 h 1440313"/>
              <a:gd name="connsiteX282" fmla="*/ 26251 w 783622"/>
              <a:gd name="connsiteY282" fmla="*/ 291401 h 1440313"/>
              <a:gd name="connsiteX283" fmla="*/ 28055 w 783622"/>
              <a:gd name="connsiteY283" fmla="*/ 145700 h 1440313"/>
              <a:gd name="connsiteX284" fmla="*/ 26251 w 783622"/>
              <a:gd name="connsiteY284" fmla="*/ 3609 h 1440313"/>
              <a:gd name="connsiteX285" fmla="*/ 29860 w 783622"/>
              <a:gd name="connsiteY285" fmla="*/ 0 h 144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783622" h="1440313">
                <a:moveTo>
                  <a:pt x="402004" y="1240933"/>
                </a:moveTo>
                <a:cubicBezTo>
                  <a:pt x="365917" y="1240933"/>
                  <a:pt x="345619" y="1263939"/>
                  <a:pt x="339754" y="1304987"/>
                </a:cubicBezTo>
                <a:lnTo>
                  <a:pt x="461547" y="1304987"/>
                </a:lnTo>
                <a:cubicBezTo>
                  <a:pt x="460194" y="1270705"/>
                  <a:pt x="440346" y="1240933"/>
                  <a:pt x="402004" y="1240933"/>
                </a:cubicBezTo>
                <a:close/>
                <a:moveTo>
                  <a:pt x="112860" y="1218379"/>
                </a:moveTo>
                <a:lnTo>
                  <a:pt x="144436" y="1218379"/>
                </a:lnTo>
                <a:cubicBezTo>
                  <a:pt x="146691" y="1218379"/>
                  <a:pt x="148044" y="1220183"/>
                  <a:pt x="148044" y="1221987"/>
                </a:cubicBezTo>
                <a:lnTo>
                  <a:pt x="147142" y="1323481"/>
                </a:lnTo>
                <a:lnTo>
                  <a:pt x="148044" y="1432193"/>
                </a:lnTo>
                <a:cubicBezTo>
                  <a:pt x="148044" y="1434448"/>
                  <a:pt x="146240" y="1435801"/>
                  <a:pt x="144436" y="1435801"/>
                </a:cubicBezTo>
                <a:lnTo>
                  <a:pt x="112860" y="1435801"/>
                </a:lnTo>
                <a:cubicBezTo>
                  <a:pt x="110604" y="1435801"/>
                  <a:pt x="109251" y="1433997"/>
                  <a:pt x="109251" y="1432193"/>
                </a:cubicBezTo>
                <a:lnTo>
                  <a:pt x="110153" y="1323932"/>
                </a:lnTo>
                <a:lnTo>
                  <a:pt x="109251" y="1221987"/>
                </a:lnTo>
                <a:cubicBezTo>
                  <a:pt x="109251" y="1219732"/>
                  <a:pt x="111055" y="1218379"/>
                  <a:pt x="112860" y="1218379"/>
                </a:cubicBezTo>
                <a:close/>
                <a:moveTo>
                  <a:pt x="401553" y="1212515"/>
                </a:moveTo>
                <a:cubicBezTo>
                  <a:pt x="464254" y="1212515"/>
                  <a:pt x="501694" y="1255368"/>
                  <a:pt x="503047" y="1327993"/>
                </a:cubicBezTo>
                <a:cubicBezTo>
                  <a:pt x="503047" y="1330248"/>
                  <a:pt x="501243" y="1331601"/>
                  <a:pt x="499438" y="1331601"/>
                </a:cubicBezTo>
                <a:lnTo>
                  <a:pt x="338852" y="1331601"/>
                </a:lnTo>
                <a:cubicBezTo>
                  <a:pt x="340206" y="1383927"/>
                  <a:pt x="361858" y="1411894"/>
                  <a:pt x="404260" y="1411894"/>
                </a:cubicBezTo>
                <a:cubicBezTo>
                  <a:pt x="436286" y="1411894"/>
                  <a:pt x="455683" y="1395204"/>
                  <a:pt x="461998" y="1363177"/>
                </a:cubicBezTo>
                <a:cubicBezTo>
                  <a:pt x="462449" y="1360922"/>
                  <a:pt x="464705" y="1359569"/>
                  <a:pt x="466509" y="1359569"/>
                </a:cubicBezTo>
                <a:lnTo>
                  <a:pt x="495830" y="1359569"/>
                </a:lnTo>
                <a:lnTo>
                  <a:pt x="495830" y="1360020"/>
                </a:lnTo>
                <a:cubicBezTo>
                  <a:pt x="498085" y="1360020"/>
                  <a:pt x="498987" y="1361824"/>
                  <a:pt x="498987" y="1363628"/>
                </a:cubicBezTo>
                <a:cubicBezTo>
                  <a:pt x="492221" y="1407834"/>
                  <a:pt x="459292" y="1440313"/>
                  <a:pt x="403357" y="1440313"/>
                </a:cubicBezTo>
                <a:cubicBezTo>
                  <a:pt x="335695" y="1440313"/>
                  <a:pt x="299608" y="1393400"/>
                  <a:pt x="299608" y="1327090"/>
                </a:cubicBezTo>
                <a:cubicBezTo>
                  <a:pt x="299608" y="1258977"/>
                  <a:pt x="338401" y="1212515"/>
                  <a:pt x="401553" y="1212515"/>
                </a:cubicBezTo>
                <a:close/>
                <a:moveTo>
                  <a:pt x="112860" y="1151167"/>
                </a:moveTo>
                <a:lnTo>
                  <a:pt x="144436" y="1151167"/>
                </a:lnTo>
                <a:cubicBezTo>
                  <a:pt x="146691" y="1151167"/>
                  <a:pt x="148044" y="1152971"/>
                  <a:pt x="148044" y="1154776"/>
                </a:cubicBezTo>
                <a:lnTo>
                  <a:pt x="148044" y="1189509"/>
                </a:lnTo>
                <a:cubicBezTo>
                  <a:pt x="148044" y="1191765"/>
                  <a:pt x="146240" y="1193118"/>
                  <a:pt x="144436" y="1193118"/>
                </a:cubicBezTo>
                <a:lnTo>
                  <a:pt x="112860" y="1193118"/>
                </a:lnTo>
                <a:cubicBezTo>
                  <a:pt x="110604" y="1193118"/>
                  <a:pt x="109251" y="1191313"/>
                  <a:pt x="109251" y="1189509"/>
                </a:cubicBezTo>
                <a:lnTo>
                  <a:pt x="109251" y="1154776"/>
                </a:lnTo>
                <a:cubicBezTo>
                  <a:pt x="109251" y="1152520"/>
                  <a:pt x="111055" y="1151167"/>
                  <a:pt x="112860" y="1151167"/>
                </a:cubicBezTo>
                <a:close/>
                <a:moveTo>
                  <a:pt x="29860" y="1140793"/>
                </a:moveTo>
                <a:lnTo>
                  <a:pt x="60984" y="1140793"/>
                </a:lnTo>
                <a:cubicBezTo>
                  <a:pt x="63240" y="1140793"/>
                  <a:pt x="64593" y="1142597"/>
                  <a:pt x="64593" y="1144402"/>
                </a:cubicBezTo>
                <a:lnTo>
                  <a:pt x="62789" y="1286493"/>
                </a:lnTo>
                <a:lnTo>
                  <a:pt x="64593" y="1432644"/>
                </a:lnTo>
                <a:cubicBezTo>
                  <a:pt x="64593" y="1434900"/>
                  <a:pt x="62789" y="1436253"/>
                  <a:pt x="60984" y="1436253"/>
                </a:cubicBezTo>
                <a:lnTo>
                  <a:pt x="29860" y="1436253"/>
                </a:lnTo>
                <a:lnTo>
                  <a:pt x="29860" y="1435802"/>
                </a:lnTo>
                <a:cubicBezTo>
                  <a:pt x="27604" y="1435802"/>
                  <a:pt x="26251" y="1433998"/>
                  <a:pt x="26251" y="1432193"/>
                </a:cubicBezTo>
                <a:lnTo>
                  <a:pt x="28055" y="1286493"/>
                </a:lnTo>
                <a:lnTo>
                  <a:pt x="26251" y="1144402"/>
                </a:lnTo>
                <a:cubicBezTo>
                  <a:pt x="26251" y="1142146"/>
                  <a:pt x="28055" y="1140793"/>
                  <a:pt x="29860" y="1140793"/>
                </a:cubicBezTo>
                <a:close/>
                <a:moveTo>
                  <a:pt x="268483" y="1134928"/>
                </a:moveTo>
                <a:cubicBezTo>
                  <a:pt x="278407" y="1134928"/>
                  <a:pt x="289233" y="1136281"/>
                  <a:pt x="296901" y="1138086"/>
                </a:cubicBezTo>
                <a:cubicBezTo>
                  <a:pt x="299157" y="1138537"/>
                  <a:pt x="300510" y="1140792"/>
                  <a:pt x="300510" y="1142596"/>
                </a:cubicBezTo>
                <a:lnTo>
                  <a:pt x="300510" y="1164248"/>
                </a:lnTo>
                <a:cubicBezTo>
                  <a:pt x="300510" y="1166053"/>
                  <a:pt x="298706" y="1167406"/>
                  <a:pt x="296901" y="1167406"/>
                </a:cubicBezTo>
                <a:cubicBezTo>
                  <a:pt x="291037" y="1165602"/>
                  <a:pt x="284271" y="1164700"/>
                  <a:pt x="277054" y="1164700"/>
                </a:cubicBezTo>
                <a:cubicBezTo>
                  <a:pt x="259912" y="1164700"/>
                  <a:pt x="249086" y="1175074"/>
                  <a:pt x="249086" y="1202591"/>
                </a:cubicBezTo>
                <a:lnTo>
                  <a:pt x="249086" y="1218830"/>
                </a:lnTo>
                <a:lnTo>
                  <a:pt x="296450" y="1218830"/>
                </a:lnTo>
                <a:cubicBezTo>
                  <a:pt x="298706" y="1218830"/>
                  <a:pt x="300059" y="1220634"/>
                  <a:pt x="300059" y="1222438"/>
                </a:cubicBezTo>
                <a:lnTo>
                  <a:pt x="300059" y="1244542"/>
                </a:lnTo>
                <a:cubicBezTo>
                  <a:pt x="300059" y="1246797"/>
                  <a:pt x="298254" y="1248150"/>
                  <a:pt x="296450" y="1248150"/>
                </a:cubicBezTo>
                <a:lnTo>
                  <a:pt x="248635" y="1248150"/>
                </a:lnTo>
                <a:lnTo>
                  <a:pt x="248635" y="1337465"/>
                </a:lnTo>
                <a:lnTo>
                  <a:pt x="249988" y="1431742"/>
                </a:lnTo>
                <a:cubicBezTo>
                  <a:pt x="249988" y="1433997"/>
                  <a:pt x="248184" y="1435350"/>
                  <a:pt x="246380" y="1435350"/>
                </a:cubicBezTo>
                <a:lnTo>
                  <a:pt x="213902" y="1435350"/>
                </a:lnTo>
                <a:cubicBezTo>
                  <a:pt x="211646" y="1435350"/>
                  <a:pt x="210293" y="1433546"/>
                  <a:pt x="210293" y="1431742"/>
                </a:cubicBezTo>
                <a:lnTo>
                  <a:pt x="211646" y="1337465"/>
                </a:lnTo>
                <a:lnTo>
                  <a:pt x="211646" y="1247699"/>
                </a:lnTo>
                <a:lnTo>
                  <a:pt x="181424" y="1247699"/>
                </a:lnTo>
                <a:cubicBezTo>
                  <a:pt x="179168" y="1247699"/>
                  <a:pt x="177815" y="1245895"/>
                  <a:pt x="177815" y="1244090"/>
                </a:cubicBezTo>
                <a:lnTo>
                  <a:pt x="177815" y="1221987"/>
                </a:lnTo>
                <a:cubicBezTo>
                  <a:pt x="177815" y="1219732"/>
                  <a:pt x="179619" y="1218379"/>
                  <a:pt x="181424" y="1218379"/>
                </a:cubicBezTo>
                <a:lnTo>
                  <a:pt x="211646" y="1218379"/>
                </a:lnTo>
                <a:lnTo>
                  <a:pt x="211646" y="1199433"/>
                </a:lnTo>
                <a:cubicBezTo>
                  <a:pt x="211646" y="1151618"/>
                  <a:pt x="240967" y="1134928"/>
                  <a:pt x="268483" y="1134928"/>
                </a:cubicBezTo>
                <a:close/>
                <a:moveTo>
                  <a:pt x="121430" y="828191"/>
                </a:moveTo>
                <a:cubicBezTo>
                  <a:pt x="84892" y="828191"/>
                  <a:pt x="60985" y="855707"/>
                  <a:pt x="60534" y="910288"/>
                </a:cubicBezTo>
                <a:cubicBezTo>
                  <a:pt x="60083" y="965321"/>
                  <a:pt x="82186" y="996897"/>
                  <a:pt x="120528" y="996897"/>
                </a:cubicBezTo>
                <a:cubicBezTo>
                  <a:pt x="162479" y="997348"/>
                  <a:pt x="182327" y="963065"/>
                  <a:pt x="182327" y="914348"/>
                </a:cubicBezTo>
                <a:cubicBezTo>
                  <a:pt x="182327" y="862925"/>
                  <a:pt x="162930" y="827740"/>
                  <a:pt x="121430" y="828191"/>
                </a:cubicBezTo>
                <a:close/>
                <a:moveTo>
                  <a:pt x="345619" y="826838"/>
                </a:moveTo>
                <a:cubicBezTo>
                  <a:pt x="309532" y="826838"/>
                  <a:pt x="289234" y="849844"/>
                  <a:pt x="283369" y="890892"/>
                </a:cubicBezTo>
                <a:lnTo>
                  <a:pt x="405162" y="890892"/>
                </a:lnTo>
                <a:cubicBezTo>
                  <a:pt x="403809" y="856159"/>
                  <a:pt x="383961" y="826838"/>
                  <a:pt x="345619" y="826838"/>
                </a:cubicBezTo>
                <a:close/>
                <a:moveTo>
                  <a:pt x="556726" y="800224"/>
                </a:moveTo>
                <a:cubicBezTo>
                  <a:pt x="607247" y="800224"/>
                  <a:pt x="644236" y="821425"/>
                  <a:pt x="647394" y="866533"/>
                </a:cubicBezTo>
                <a:cubicBezTo>
                  <a:pt x="647394" y="868789"/>
                  <a:pt x="645590" y="870142"/>
                  <a:pt x="643785" y="870142"/>
                </a:cubicBezTo>
                <a:lnTo>
                  <a:pt x="615367" y="870142"/>
                </a:lnTo>
                <a:cubicBezTo>
                  <a:pt x="613111" y="870142"/>
                  <a:pt x="611758" y="868338"/>
                  <a:pt x="611307" y="866533"/>
                </a:cubicBezTo>
                <a:cubicBezTo>
                  <a:pt x="608601" y="839017"/>
                  <a:pt x="587851" y="826387"/>
                  <a:pt x="556275" y="826387"/>
                </a:cubicBezTo>
                <a:cubicBezTo>
                  <a:pt x="526503" y="826387"/>
                  <a:pt x="507558" y="837213"/>
                  <a:pt x="507558" y="861571"/>
                </a:cubicBezTo>
                <a:cubicBezTo>
                  <a:pt x="507558" y="915702"/>
                  <a:pt x="654160" y="868789"/>
                  <a:pt x="654160" y="959908"/>
                </a:cubicBezTo>
                <a:cubicBezTo>
                  <a:pt x="654160" y="1001408"/>
                  <a:pt x="614916" y="1026217"/>
                  <a:pt x="563041" y="1026217"/>
                </a:cubicBezTo>
                <a:cubicBezTo>
                  <a:pt x="505302" y="1026217"/>
                  <a:pt x="467411" y="1000957"/>
                  <a:pt x="466058" y="950435"/>
                </a:cubicBezTo>
                <a:cubicBezTo>
                  <a:pt x="466058" y="948180"/>
                  <a:pt x="467862" y="946826"/>
                  <a:pt x="469667" y="946826"/>
                </a:cubicBezTo>
                <a:lnTo>
                  <a:pt x="499438" y="946826"/>
                </a:lnTo>
                <a:cubicBezTo>
                  <a:pt x="501694" y="946826"/>
                  <a:pt x="503047" y="948631"/>
                  <a:pt x="503047" y="950435"/>
                </a:cubicBezTo>
                <a:cubicBezTo>
                  <a:pt x="504851" y="984718"/>
                  <a:pt x="525601" y="1000054"/>
                  <a:pt x="564394" y="1000054"/>
                </a:cubicBezTo>
                <a:cubicBezTo>
                  <a:pt x="596421" y="1000054"/>
                  <a:pt x="617622" y="986522"/>
                  <a:pt x="617622" y="962614"/>
                </a:cubicBezTo>
                <a:cubicBezTo>
                  <a:pt x="617622" y="905778"/>
                  <a:pt x="471020" y="951788"/>
                  <a:pt x="471020" y="863827"/>
                </a:cubicBezTo>
                <a:cubicBezTo>
                  <a:pt x="471020" y="821876"/>
                  <a:pt x="505302" y="800224"/>
                  <a:pt x="556726" y="800224"/>
                </a:cubicBezTo>
                <a:close/>
                <a:moveTo>
                  <a:pt x="345168" y="798420"/>
                </a:moveTo>
                <a:cubicBezTo>
                  <a:pt x="407869" y="798420"/>
                  <a:pt x="445309" y="841273"/>
                  <a:pt x="446662" y="913898"/>
                </a:cubicBezTo>
                <a:cubicBezTo>
                  <a:pt x="446662" y="916153"/>
                  <a:pt x="444858" y="917506"/>
                  <a:pt x="443053" y="917506"/>
                </a:cubicBezTo>
                <a:lnTo>
                  <a:pt x="282467" y="917506"/>
                </a:lnTo>
                <a:cubicBezTo>
                  <a:pt x="283821" y="969832"/>
                  <a:pt x="305473" y="997799"/>
                  <a:pt x="347875" y="997799"/>
                </a:cubicBezTo>
                <a:cubicBezTo>
                  <a:pt x="379901" y="997799"/>
                  <a:pt x="399298" y="981109"/>
                  <a:pt x="405613" y="949082"/>
                </a:cubicBezTo>
                <a:cubicBezTo>
                  <a:pt x="406064" y="946827"/>
                  <a:pt x="408320" y="945473"/>
                  <a:pt x="410124" y="945473"/>
                </a:cubicBezTo>
                <a:lnTo>
                  <a:pt x="439445" y="945473"/>
                </a:lnTo>
                <a:lnTo>
                  <a:pt x="439445" y="945925"/>
                </a:lnTo>
                <a:cubicBezTo>
                  <a:pt x="441700" y="945925"/>
                  <a:pt x="442602" y="947729"/>
                  <a:pt x="442602" y="949533"/>
                </a:cubicBezTo>
                <a:cubicBezTo>
                  <a:pt x="435836" y="993740"/>
                  <a:pt x="402907" y="1026218"/>
                  <a:pt x="346972" y="1026218"/>
                </a:cubicBezTo>
                <a:cubicBezTo>
                  <a:pt x="279310" y="1026218"/>
                  <a:pt x="243223" y="979305"/>
                  <a:pt x="243223" y="912995"/>
                </a:cubicBezTo>
                <a:cubicBezTo>
                  <a:pt x="243223" y="844882"/>
                  <a:pt x="282016" y="798420"/>
                  <a:pt x="345168" y="798420"/>
                </a:cubicBezTo>
                <a:close/>
                <a:moveTo>
                  <a:pt x="691149" y="749702"/>
                </a:moveTo>
                <a:lnTo>
                  <a:pt x="722274" y="749702"/>
                </a:lnTo>
                <a:cubicBezTo>
                  <a:pt x="724529" y="749702"/>
                  <a:pt x="725882" y="751506"/>
                  <a:pt x="725882" y="753311"/>
                </a:cubicBezTo>
                <a:lnTo>
                  <a:pt x="725431" y="803832"/>
                </a:lnTo>
                <a:lnTo>
                  <a:pt x="775050" y="803832"/>
                </a:lnTo>
                <a:cubicBezTo>
                  <a:pt x="777306" y="803832"/>
                  <a:pt x="778659" y="805636"/>
                  <a:pt x="778659" y="807441"/>
                </a:cubicBezTo>
                <a:lnTo>
                  <a:pt x="778659" y="829995"/>
                </a:lnTo>
                <a:cubicBezTo>
                  <a:pt x="778659" y="832250"/>
                  <a:pt x="776855" y="833604"/>
                  <a:pt x="775050" y="833604"/>
                </a:cubicBezTo>
                <a:lnTo>
                  <a:pt x="725431" y="833604"/>
                </a:lnTo>
                <a:lnTo>
                  <a:pt x="725431" y="960358"/>
                </a:lnTo>
                <a:cubicBezTo>
                  <a:pt x="725431" y="986521"/>
                  <a:pt x="734453" y="994641"/>
                  <a:pt x="752947" y="994641"/>
                </a:cubicBezTo>
                <a:cubicBezTo>
                  <a:pt x="761518" y="994641"/>
                  <a:pt x="769637" y="993288"/>
                  <a:pt x="775501" y="991934"/>
                </a:cubicBezTo>
                <a:cubicBezTo>
                  <a:pt x="777757" y="991032"/>
                  <a:pt x="779110" y="992836"/>
                  <a:pt x="779110" y="994641"/>
                </a:cubicBezTo>
                <a:lnTo>
                  <a:pt x="779110" y="1014940"/>
                </a:lnTo>
                <a:lnTo>
                  <a:pt x="779561" y="1014940"/>
                </a:lnTo>
                <a:cubicBezTo>
                  <a:pt x="779561" y="1017195"/>
                  <a:pt x="777757" y="1018999"/>
                  <a:pt x="775953" y="1019902"/>
                </a:cubicBezTo>
                <a:cubicBezTo>
                  <a:pt x="767382" y="1022608"/>
                  <a:pt x="756556" y="1024863"/>
                  <a:pt x="746181" y="1024863"/>
                </a:cubicBezTo>
                <a:cubicBezTo>
                  <a:pt x="714605" y="1024863"/>
                  <a:pt x="687991" y="1008624"/>
                  <a:pt x="687991" y="961261"/>
                </a:cubicBezTo>
                <a:lnTo>
                  <a:pt x="687991" y="833604"/>
                </a:lnTo>
                <a:lnTo>
                  <a:pt x="664084" y="833604"/>
                </a:lnTo>
                <a:cubicBezTo>
                  <a:pt x="661828" y="833604"/>
                  <a:pt x="660475" y="831799"/>
                  <a:pt x="660475" y="829995"/>
                </a:cubicBezTo>
                <a:lnTo>
                  <a:pt x="660475" y="807441"/>
                </a:lnTo>
                <a:cubicBezTo>
                  <a:pt x="660475" y="805185"/>
                  <a:pt x="662279" y="803832"/>
                  <a:pt x="664084" y="803832"/>
                </a:cubicBezTo>
                <a:lnTo>
                  <a:pt x="687991" y="803832"/>
                </a:lnTo>
                <a:lnTo>
                  <a:pt x="687540" y="753311"/>
                </a:lnTo>
                <a:cubicBezTo>
                  <a:pt x="687540" y="751055"/>
                  <a:pt x="689344" y="749702"/>
                  <a:pt x="691149" y="749702"/>
                </a:cubicBezTo>
                <a:close/>
                <a:moveTo>
                  <a:pt x="27605" y="737072"/>
                </a:moveTo>
                <a:lnTo>
                  <a:pt x="59181" y="737072"/>
                </a:lnTo>
                <a:cubicBezTo>
                  <a:pt x="61436" y="737072"/>
                  <a:pt x="62789" y="738876"/>
                  <a:pt x="62789" y="740681"/>
                </a:cubicBezTo>
                <a:lnTo>
                  <a:pt x="62338" y="837664"/>
                </a:lnTo>
                <a:cubicBezTo>
                  <a:pt x="77224" y="814207"/>
                  <a:pt x="100229" y="799773"/>
                  <a:pt x="131354" y="799773"/>
                </a:cubicBezTo>
                <a:cubicBezTo>
                  <a:pt x="189995" y="799773"/>
                  <a:pt x="221120" y="848941"/>
                  <a:pt x="221120" y="912093"/>
                </a:cubicBezTo>
                <a:cubicBezTo>
                  <a:pt x="221120" y="974793"/>
                  <a:pt x="188191" y="1025766"/>
                  <a:pt x="130452" y="1025766"/>
                </a:cubicBezTo>
                <a:cubicBezTo>
                  <a:pt x="99327" y="1025766"/>
                  <a:pt x="75871" y="1012685"/>
                  <a:pt x="61436" y="987875"/>
                </a:cubicBezTo>
                <a:lnTo>
                  <a:pt x="62338" y="1017646"/>
                </a:lnTo>
                <a:cubicBezTo>
                  <a:pt x="62338" y="1019902"/>
                  <a:pt x="60534" y="1021255"/>
                  <a:pt x="58729" y="1021255"/>
                </a:cubicBezTo>
                <a:lnTo>
                  <a:pt x="27605" y="1021255"/>
                </a:lnTo>
                <a:cubicBezTo>
                  <a:pt x="25349" y="1021255"/>
                  <a:pt x="23996" y="1019451"/>
                  <a:pt x="23996" y="1017646"/>
                </a:cubicBezTo>
                <a:lnTo>
                  <a:pt x="25349" y="859316"/>
                </a:lnTo>
                <a:lnTo>
                  <a:pt x="23996" y="740681"/>
                </a:lnTo>
                <a:cubicBezTo>
                  <a:pt x="23996" y="738425"/>
                  <a:pt x="25800" y="737072"/>
                  <a:pt x="27605" y="737072"/>
                </a:cubicBezTo>
                <a:close/>
                <a:moveTo>
                  <a:pt x="302766" y="438003"/>
                </a:moveTo>
                <a:cubicBezTo>
                  <a:pt x="259913" y="438454"/>
                  <a:pt x="239163" y="469579"/>
                  <a:pt x="239163" y="524160"/>
                </a:cubicBezTo>
                <a:cubicBezTo>
                  <a:pt x="238712" y="578291"/>
                  <a:pt x="259913" y="608964"/>
                  <a:pt x="302766" y="608964"/>
                </a:cubicBezTo>
                <a:cubicBezTo>
                  <a:pt x="345619" y="608964"/>
                  <a:pt x="365918" y="578742"/>
                  <a:pt x="365918" y="524160"/>
                </a:cubicBezTo>
                <a:cubicBezTo>
                  <a:pt x="365918" y="469579"/>
                  <a:pt x="344717" y="438003"/>
                  <a:pt x="302766" y="438003"/>
                </a:cubicBezTo>
                <a:close/>
                <a:moveTo>
                  <a:pt x="433129" y="415449"/>
                </a:moveTo>
                <a:lnTo>
                  <a:pt x="464705" y="415449"/>
                </a:lnTo>
                <a:cubicBezTo>
                  <a:pt x="466960" y="415449"/>
                  <a:pt x="468313" y="417253"/>
                  <a:pt x="468313" y="419058"/>
                </a:cubicBezTo>
                <a:lnTo>
                  <a:pt x="467411" y="507921"/>
                </a:lnTo>
                <a:lnTo>
                  <a:pt x="467411" y="549872"/>
                </a:lnTo>
                <a:cubicBezTo>
                  <a:pt x="467411" y="589116"/>
                  <a:pt x="485906" y="606709"/>
                  <a:pt x="513422" y="606709"/>
                </a:cubicBezTo>
                <a:cubicBezTo>
                  <a:pt x="541840" y="606709"/>
                  <a:pt x="564845" y="583703"/>
                  <a:pt x="573416" y="540850"/>
                </a:cubicBezTo>
                <a:lnTo>
                  <a:pt x="573416" y="507921"/>
                </a:lnTo>
                <a:lnTo>
                  <a:pt x="572514" y="419058"/>
                </a:lnTo>
                <a:cubicBezTo>
                  <a:pt x="572514" y="416802"/>
                  <a:pt x="574318" y="415449"/>
                  <a:pt x="576122" y="415449"/>
                </a:cubicBezTo>
                <a:lnTo>
                  <a:pt x="608149" y="415449"/>
                </a:lnTo>
                <a:cubicBezTo>
                  <a:pt x="610405" y="415449"/>
                  <a:pt x="611758" y="417253"/>
                  <a:pt x="611758" y="419058"/>
                </a:cubicBezTo>
                <a:lnTo>
                  <a:pt x="610405" y="514688"/>
                </a:lnTo>
                <a:lnTo>
                  <a:pt x="611307" y="629263"/>
                </a:lnTo>
                <a:cubicBezTo>
                  <a:pt x="611307" y="631518"/>
                  <a:pt x="609503" y="632872"/>
                  <a:pt x="607698" y="632872"/>
                </a:cubicBezTo>
                <a:lnTo>
                  <a:pt x="577927" y="632872"/>
                </a:lnTo>
                <a:cubicBezTo>
                  <a:pt x="575671" y="632872"/>
                  <a:pt x="574318" y="631067"/>
                  <a:pt x="574318" y="629263"/>
                </a:cubicBezTo>
                <a:lnTo>
                  <a:pt x="575220" y="595883"/>
                </a:lnTo>
                <a:cubicBezTo>
                  <a:pt x="562590" y="617535"/>
                  <a:pt x="538231" y="637383"/>
                  <a:pt x="503498" y="637383"/>
                </a:cubicBezTo>
                <a:cubicBezTo>
                  <a:pt x="458840" y="637383"/>
                  <a:pt x="430422" y="607611"/>
                  <a:pt x="430422" y="550774"/>
                </a:cubicBezTo>
                <a:lnTo>
                  <a:pt x="430422" y="507921"/>
                </a:lnTo>
                <a:lnTo>
                  <a:pt x="429520" y="419058"/>
                </a:lnTo>
                <a:cubicBezTo>
                  <a:pt x="429520" y="416802"/>
                  <a:pt x="431324" y="415449"/>
                  <a:pt x="433129" y="415449"/>
                </a:cubicBezTo>
                <a:close/>
                <a:moveTo>
                  <a:pt x="2795" y="414998"/>
                </a:moveTo>
                <a:lnTo>
                  <a:pt x="38882" y="414998"/>
                </a:lnTo>
                <a:cubicBezTo>
                  <a:pt x="41137" y="414998"/>
                  <a:pt x="42941" y="416802"/>
                  <a:pt x="43844" y="418156"/>
                </a:cubicBezTo>
                <a:lnTo>
                  <a:pt x="105642" y="582350"/>
                </a:lnTo>
                <a:lnTo>
                  <a:pt x="157517" y="418607"/>
                </a:lnTo>
                <a:cubicBezTo>
                  <a:pt x="158419" y="416351"/>
                  <a:pt x="160674" y="414998"/>
                  <a:pt x="162479" y="414998"/>
                </a:cubicBezTo>
                <a:lnTo>
                  <a:pt x="194506" y="414998"/>
                </a:lnTo>
                <a:cubicBezTo>
                  <a:pt x="196761" y="414998"/>
                  <a:pt x="197663" y="416802"/>
                  <a:pt x="197212" y="418607"/>
                </a:cubicBezTo>
                <a:lnTo>
                  <a:pt x="98876" y="696475"/>
                </a:lnTo>
                <a:cubicBezTo>
                  <a:pt x="97974" y="698730"/>
                  <a:pt x="95718" y="700083"/>
                  <a:pt x="93914" y="700083"/>
                </a:cubicBezTo>
                <a:lnTo>
                  <a:pt x="64593" y="700083"/>
                </a:lnTo>
                <a:cubicBezTo>
                  <a:pt x="62789" y="700083"/>
                  <a:pt x="61436" y="698279"/>
                  <a:pt x="61887" y="696475"/>
                </a:cubicBezTo>
                <a:lnTo>
                  <a:pt x="84892" y="632421"/>
                </a:lnTo>
                <a:lnTo>
                  <a:pt x="88" y="418156"/>
                </a:lnTo>
                <a:cubicBezTo>
                  <a:pt x="-363" y="416351"/>
                  <a:pt x="991" y="414998"/>
                  <a:pt x="2795" y="414998"/>
                </a:cubicBezTo>
                <a:close/>
                <a:moveTo>
                  <a:pt x="302766" y="409585"/>
                </a:moveTo>
                <a:cubicBezTo>
                  <a:pt x="369076" y="409585"/>
                  <a:pt x="405613" y="454693"/>
                  <a:pt x="405613" y="523258"/>
                </a:cubicBezTo>
                <a:cubicBezTo>
                  <a:pt x="405613" y="591823"/>
                  <a:pt x="369076" y="637383"/>
                  <a:pt x="302766" y="637383"/>
                </a:cubicBezTo>
                <a:cubicBezTo>
                  <a:pt x="236908" y="637383"/>
                  <a:pt x="199919" y="592725"/>
                  <a:pt x="199919" y="524160"/>
                </a:cubicBezTo>
                <a:cubicBezTo>
                  <a:pt x="199919" y="455144"/>
                  <a:pt x="236908" y="409585"/>
                  <a:pt x="302766" y="409585"/>
                </a:cubicBezTo>
                <a:close/>
                <a:moveTo>
                  <a:pt x="767383" y="408683"/>
                </a:moveTo>
                <a:cubicBezTo>
                  <a:pt x="771893" y="408683"/>
                  <a:pt x="776404" y="409134"/>
                  <a:pt x="780013" y="410036"/>
                </a:cubicBezTo>
                <a:cubicBezTo>
                  <a:pt x="782268" y="410487"/>
                  <a:pt x="783622" y="412743"/>
                  <a:pt x="783622" y="414547"/>
                </a:cubicBezTo>
                <a:lnTo>
                  <a:pt x="783622" y="438003"/>
                </a:lnTo>
                <a:cubicBezTo>
                  <a:pt x="783622" y="439808"/>
                  <a:pt x="781817" y="441161"/>
                  <a:pt x="780013" y="441161"/>
                </a:cubicBezTo>
                <a:cubicBezTo>
                  <a:pt x="776404" y="440710"/>
                  <a:pt x="772345" y="440259"/>
                  <a:pt x="767834" y="440259"/>
                </a:cubicBezTo>
                <a:cubicBezTo>
                  <a:pt x="731296" y="440259"/>
                  <a:pt x="699269" y="462813"/>
                  <a:pt x="694758" y="510177"/>
                </a:cubicBezTo>
                <a:lnTo>
                  <a:pt x="695209" y="624301"/>
                </a:lnTo>
                <a:cubicBezTo>
                  <a:pt x="695209" y="626557"/>
                  <a:pt x="693405" y="627910"/>
                  <a:pt x="691600" y="627910"/>
                </a:cubicBezTo>
                <a:lnTo>
                  <a:pt x="660476" y="627910"/>
                </a:lnTo>
                <a:lnTo>
                  <a:pt x="660476" y="628361"/>
                </a:lnTo>
                <a:cubicBezTo>
                  <a:pt x="658220" y="628361"/>
                  <a:pt x="656867" y="626557"/>
                  <a:pt x="656867" y="624752"/>
                </a:cubicBezTo>
                <a:lnTo>
                  <a:pt x="658220" y="517394"/>
                </a:lnTo>
                <a:lnTo>
                  <a:pt x="656867" y="414998"/>
                </a:lnTo>
                <a:cubicBezTo>
                  <a:pt x="656867" y="412743"/>
                  <a:pt x="658671" y="411390"/>
                  <a:pt x="660476" y="411390"/>
                </a:cubicBezTo>
                <a:lnTo>
                  <a:pt x="691600" y="411390"/>
                </a:lnTo>
                <a:cubicBezTo>
                  <a:pt x="693856" y="411390"/>
                  <a:pt x="695209" y="413194"/>
                  <a:pt x="695209" y="414998"/>
                </a:cubicBezTo>
                <a:lnTo>
                  <a:pt x="693405" y="451536"/>
                </a:lnTo>
                <a:cubicBezTo>
                  <a:pt x="709193" y="423569"/>
                  <a:pt x="736709" y="408683"/>
                  <a:pt x="767383" y="408683"/>
                </a:cubicBezTo>
                <a:close/>
                <a:moveTo>
                  <a:pt x="485455" y="100592"/>
                </a:moveTo>
                <a:cubicBezTo>
                  <a:pt x="449368" y="100592"/>
                  <a:pt x="429070" y="123598"/>
                  <a:pt x="423205" y="164646"/>
                </a:cubicBezTo>
                <a:lnTo>
                  <a:pt x="544998" y="164646"/>
                </a:lnTo>
                <a:cubicBezTo>
                  <a:pt x="543645" y="129913"/>
                  <a:pt x="523797" y="100592"/>
                  <a:pt x="485455" y="100592"/>
                </a:cubicBezTo>
                <a:close/>
                <a:moveTo>
                  <a:pt x="180522" y="78038"/>
                </a:moveTo>
                <a:lnTo>
                  <a:pt x="214353" y="78038"/>
                </a:lnTo>
                <a:cubicBezTo>
                  <a:pt x="216609" y="78038"/>
                  <a:pt x="218413" y="79842"/>
                  <a:pt x="219315" y="81647"/>
                </a:cubicBezTo>
                <a:lnTo>
                  <a:pt x="280663" y="262983"/>
                </a:lnTo>
                <a:lnTo>
                  <a:pt x="343363" y="81647"/>
                </a:lnTo>
                <a:cubicBezTo>
                  <a:pt x="344265" y="79391"/>
                  <a:pt x="346521" y="78038"/>
                  <a:pt x="348325" y="78038"/>
                </a:cubicBezTo>
                <a:lnTo>
                  <a:pt x="378097" y="78038"/>
                </a:lnTo>
                <a:cubicBezTo>
                  <a:pt x="380352" y="78038"/>
                  <a:pt x="381254" y="79842"/>
                  <a:pt x="380803" y="81196"/>
                </a:cubicBezTo>
                <a:lnTo>
                  <a:pt x="304570" y="292303"/>
                </a:lnTo>
                <a:cubicBezTo>
                  <a:pt x="303668" y="294107"/>
                  <a:pt x="301412" y="295461"/>
                  <a:pt x="299608" y="295461"/>
                </a:cubicBezTo>
                <a:lnTo>
                  <a:pt x="260815" y="295461"/>
                </a:lnTo>
                <a:cubicBezTo>
                  <a:pt x="258559" y="295461"/>
                  <a:pt x="256755" y="293656"/>
                  <a:pt x="255853" y="292303"/>
                </a:cubicBezTo>
                <a:lnTo>
                  <a:pt x="177815" y="81196"/>
                </a:lnTo>
                <a:cubicBezTo>
                  <a:pt x="177364" y="79391"/>
                  <a:pt x="178718" y="78038"/>
                  <a:pt x="180522" y="78038"/>
                </a:cubicBezTo>
                <a:close/>
                <a:moveTo>
                  <a:pt x="116468" y="77586"/>
                </a:moveTo>
                <a:lnTo>
                  <a:pt x="148044" y="77586"/>
                </a:lnTo>
                <a:cubicBezTo>
                  <a:pt x="150299" y="77586"/>
                  <a:pt x="151652" y="79391"/>
                  <a:pt x="151652" y="81195"/>
                </a:cubicBezTo>
                <a:lnTo>
                  <a:pt x="151201" y="182689"/>
                </a:lnTo>
                <a:lnTo>
                  <a:pt x="152103" y="291400"/>
                </a:lnTo>
                <a:cubicBezTo>
                  <a:pt x="152103" y="293656"/>
                  <a:pt x="150299" y="295009"/>
                  <a:pt x="148495" y="295009"/>
                </a:cubicBezTo>
                <a:lnTo>
                  <a:pt x="116468" y="295009"/>
                </a:lnTo>
                <a:cubicBezTo>
                  <a:pt x="114212" y="295009"/>
                  <a:pt x="112859" y="293205"/>
                  <a:pt x="112859" y="291400"/>
                </a:cubicBezTo>
                <a:lnTo>
                  <a:pt x="113761" y="183140"/>
                </a:lnTo>
                <a:lnTo>
                  <a:pt x="112859" y="81195"/>
                </a:lnTo>
                <a:cubicBezTo>
                  <a:pt x="112859" y="78940"/>
                  <a:pt x="114663" y="77586"/>
                  <a:pt x="116468" y="77586"/>
                </a:cubicBezTo>
                <a:close/>
                <a:moveTo>
                  <a:pt x="485004" y="72174"/>
                </a:moveTo>
                <a:cubicBezTo>
                  <a:pt x="547705" y="72174"/>
                  <a:pt x="585145" y="115027"/>
                  <a:pt x="586498" y="187652"/>
                </a:cubicBezTo>
                <a:cubicBezTo>
                  <a:pt x="586498" y="189907"/>
                  <a:pt x="584694" y="191260"/>
                  <a:pt x="582889" y="191260"/>
                </a:cubicBezTo>
                <a:lnTo>
                  <a:pt x="421852" y="191260"/>
                </a:lnTo>
                <a:cubicBezTo>
                  <a:pt x="423205" y="243586"/>
                  <a:pt x="444858" y="271553"/>
                  <a:pt x="487259" y="271553"/>
                </a:cubicBezTo>
                <a:cubicBezTo>
                  <a:pt x="519286" y="271553"/>
                  <a:pt x="538683" y="254863"/>
                  <a:pt x="544998" y="222836"/>
                </a:cubicBezTo>
                <a:cubicBezTo>
                  <a:pt x="545449" y="220581"/>
                  <a:pt x="547705" y="219227"/>
                  <a:pt x="549509" y="219227"/>
                </a:cubicBezTo>
                <a:lnTo>
                  <a:pt x="579281" y="219227"/>
                </a:lnTo>
                <a:lnTo>
                  <a:pt x="579281" y="219679"/>
                </a:lnTo>
                <a:cubicBezTo>
                  <a:pt x="581536" y="219679"/>
                  <a:pt x="582438" y="221483"/>
                  <a:pt x="582438" y="223287"/>
                </a:cubicBezTo>
                <a:cubicBezTo>
                  <a:pt x="575672" y="267494"/>
                  <a:pt x="542743" y="299972"/>
                  <a:pt x="486808" y="299972"/>
                </a:cubicBezTo>
                <a:cubicBezTo>
                  <a:pt x="419146" y="299972"/>
                  <a:pt x="383059" y="253059"/>
                  <a:pt x="383059" y="186749"/>
                </a:cubicBezTo>
                <a:cubicBezTo>
                  <a:pt x="383059" y="118636"/>
                  <a:pt x="421852" y="72174"/>
                  <a:pt x="485004" y="72174"/>
                </a:cubicBezTo>
                <a:close/>
                <a:moveTo>
                  <a:pt x="116468" y="10826"/>
                </a:moveTo>
                <a:lnTo>
                  <a:pt x="148044" y="10826"/>
                </a:lnTo>
                <a:cubicBezTo>
                  <a:pt x="150299" y="10826"/>
                  <a:pt x="151652" y="12630"/>
                  <a:pt x="151652" y="14435"/>
                </a:cubicBezTo>
                <a:lnTo>
                  <a:pt x="151652" y="49168"/>
                </a:lnTo>
                <a:cubicBezTo>
                  <a:pt x="151652" y="51424"/>
                  <a:pt x="149848" y="52777"/>
                  <a:pt x="148044" y="52777"/>
                </a:cubicBezTo>
                <a:lnTo>
                  <a:pt x="116468" y="52777"/>
                </a:lnTo>
                <a:cubicBezTo>
                  <a:pt x="114212" y="52777"/>
                  <a:pt x="112859" y="50972"/>
                  <a:pt x="112859" y="49168"/>
                </a:cubicBezTo>
                <a:lnTo>
                  <a:pt x="112859" y="14435"/>
                </a:lnTo>
                <a:cubicBezTo>
                  <a:pt x="112859" y="12179"/>
                  <a:pt x="114663" y="10826"/>
                  <a:pt x="116468" y="10826"/>
                </a:cubicBezTo>
                <a:close/>
                <a:moveTo>
                  <a:pt x="29860" y="0"/>
                </a:moveTo>
                <a:lnTo>
                  <a:pt x="60984" y="0"/>
                </a:lnTo>
                <a:cubicBezTo>
                  <a:pt x="63240" y="0"/>
                  <a:pt x="64593" y="1804"/>
                  <a:pt x="64593" y="3609"/>
                </a:cubicBezTo>
                <a:lnTo>
                  <a:pt x="62789" y="145700"/>
                </a:lnTo>
                <a:lnTo>
                  <a:pt x="64593" y="291852"/>
                </a:lnTo>
                <a:cubicBezTo>
                  <a:pt x="64593" y="294107"/>
                  <a:pt x="62789" y="295460"/>
                  <a:pt x="60984" y="295460"/>
                </a:cubicBezTo>
                <a:lnTo>
                  <a:pt x="29860" y="295460"/>
                </a:lnTo>
                <a:lnTo>
                  <a:pt x="29860" y="295009"/>
                </a:lnTo>
                <a:cubicBezTo>
                  <a:pt x="27604" y="295009"/>
                  <a:pt x="26251" y="293205"/>
                  <a:pt x="26251" y="291401"/>
                </a:cubicBezTo>
                <a:lnTo>
                  <a:pt x="28055" y="145700"/>
                </a:lnTo>
                <a:lnTo>
                  <a:pt x="26251" y="3609"/>
                </a:lnTo>
                <a:cubicBezTo>
                  <a:pt x="26251" y="1353"/>
                  <a:pt x="28055" y="0"/>
                  <a:pt x="29860" y="0"/>
                </a:cubicBezTo>
                <a:close/>
              </a:path>
            </a:pathLst>
          </a:custGeom>
          <a:solidFill>
            <a:schemeClr val="tx1"/>
          </a:solidFill>
        </p:spPr>
        <p:txBody>
          <a:bodyPr wrap="square">
            <a:noAutofit/>
          </a:bodyPr>
          <a:lstStyle/>
          <a:p>
            <a:pPr lvl="0"/>
            <a:r>
              <a:rPr lang="en-US"/>
              <a:t> </a:t>
            </a:r>
          </a:p>
        </p:txBody>
      </p:sp>
    </p:spTree>
    <p:extLst>
      <p:ext uri="{BB962C8B-B14F-4D97-AF65-F5344CB8AC3E}">
        <p14:creationId xmlns:p14="http://schemas.microsoft.com/office/powerpoint/2010/main" val="253066300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2 Content - L Callout">
    <p:spTree>
      <p:nvGrpSpPr>
        <p:cNvPr id="1" name=""/>
        <p:cNvGrpSpPr/>
        <p:nvPr/>
      </p:nvGrpSpPr>
      <p:grpSpPr>
        <a:xfrm>
          <a:off x="0" y="0"/>
          <a:ext cx="0" cy="0"/>
          <a:chOff x="0" y="0"/>
          <a:chExt cx="0" cy="0"/>
        </a:xfrm>
      </p:grpSpPr>
      <p:graphicFrame>
        <p:nvGraphicFramePr>
          <p:cNvPr id="3" name="think-cell data - do not delete">
            <a:extLst>
              <a:ext uri="{FF2B5EF4-FFF2-40B4-BE49-F238E27FC236}">
                <a16:creationId xmlns:a16="http://schemas.microsoft.com/office/drawing/2014/main" id="{D3DD282B-1169-7CC8-6DE1-5C1B1567C3BB}"/>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37845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think-cell data - do not delete">
                        <a:extLst>
                          <a:ext uri="{FF2B5EF4-FFF2-40B4-BE49-F238E27FC236}">
                            <a16:creationId xmlns:a16="http://schemas.microsoft.com/office/drawing/2014/main" id="{D3DD282B-1169-7CC8-6DE1-5C1B1567C3BB}"/>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9E1EE9E1-21B6-0478-5B36-CDCA90B7AEB1}"/>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2" name="Subtitle 2">
            <a:extLst>
              <a:ext uri="{FF2B5EF4-FFF2-40B4-BE49-F238E27FC236}">
                <a16:creationId xmlns:a16="http://schemas.microsoft.com/office/drawing/2014/main" id="{F6797AFE-A6AB-52DD-3661-323571059564}"/>
              </a:ext>
            </a:extLst>
          </p:cNvPr>
          <p:cNvSpPr>
            <a:spLocks noGrp="1"/>
          </p:cNvSpPr>
          <p:nvPr>
            <p:ph type="body" sz="quarter" idx="16" hasCustomPrompt="1"/>
          </p:nvPr>
        </p:nvSpPr>
        <p:spPr>
          <a:xfrm>
            <a:off x="521208" y="1270518"/>
            <a:ext cx="11149580"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8" name="Content Placeholder 2">
            <a:extLst>
              <a:ext uri="{FF2B5EF4-FFF2-40B4-BE49-F238E27FC236}">
                <a16:creationId xmlns:a16="http://schemas.microsoft.com/office/drawing/2014/main" id="{43D2CC6A-3B0B-B5CF-9B23-ED6BB3DB97D2}"/>
              </a:ext>
            </a:extLst>
          </p:cNvPr>
          <p:cNvSpPr>
            <a:spLocks noGrp="1"/>
          </p:cNvSpPr>
          <p:nvPr>
            <p:ph sz="half" idx="1"/>
          </p:nvPr>
        </p:nvSpPr>
        <p:spPr>
          <a:xfrm>
            <a:off x="521208" y="1774800"/>
            <a:ext cx="3558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3" name="Subtitle">
            <a:extLst>
              <a:ext uri="{FF2B5EF4-FFF2-40B4-BE49-F238E27FC236}">
                <a16:creationId xmlns:a16="http://schemas.microsoft.com/office/drawing/2014/main" id="{535513A0-29A9-7D3B-9CDD-6733A2B1A2B1}"/>
              </a:ext>
            </a:extLst>
          </p:cNvPr>
          <p:cNvSpPr>
            <a:spLocks noGrp="1"/>
          </p:cNvSpPr>
          <p:nvPr>
            <p:ph type="body" sz="quarter" idx="13" hasCustomPrompt="1"/>
          </p:nvPr>
        </p:nvSpPr>
        <p:spPr>
          <a:xfrm>
            <a:off x="4404000" y="1772266"/>
            <a:ext cx="7266788" cy="324000"/>
          </a:xfrm>
          <a:prstGeom prst="rect">
            <a:avLst/>
          </a:prstGeom>
        </p:spPr>
        <p:txBody>
          <a:bodyPr>
            <a:noAutofit/>
          </a:bodyPr>
          <a:lstStyle>
            <a:lvl1pPr>
              <a:defRPr sz="2000" b="0" i="0">
                <a:latin typeface="+mj-lt"/>
              </a:defRPr>
            </a:lvl1pPr>
          </a:lstStyle>
          <a:p>
            <a:pPr lvl="0"/>
            <a:r>
              <a:rPr lang="en-US"/>
              <a:t>Click to edit subheading</a:t>
            </a:r>
          </a:p>
        </p:txBody>
      </p:sp>
      <p:sp>
        <p:nvSpPr>
          <p:cNvPr id="10" name="Content Placeholder 3">
            <a:extLst>
              <a:ext uri="{FF2B5EF4-FFF2-40B4-BE49-F238E27FC236}">
                <a16:creationId xmlns:a16="http://schemas.microsoft.com/office/drawing/2014/main" id="{B0D2CA8A-2E63-60D9-815D-424F0324BB6B}"/>
              </a:ext>
            </a:extLst>
          </p:cNvPr>
          <p:cNvSpPr>
            <a:spLocks noGrp="1"/>
          </p:cNvSpPr>
          <p:nvPr>
            <p:ph sz="half" idx="2"/>
          </p:nvPr>
        </p:nvSpPr>
        <p:spPr>
          <a:xfrm>
            <a:off x="4404000" y="2134800"/>
            <a:ext cx="7266788" cy="391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Slide Number Placeholder 3">
            <a:extLst>
              <a:ext uri="{FF2B5EF4-FFF2-40B4-BE49-F238E27FC236}">
                <a16:creationId xmlns:a16="http://schemas.microsoft.com/office/drawing/2014/main" id="{8696B04B-F07D-B536-A5CE-3204B355DCE9}"/>
              </a:ext>
              <a:ext uri="{C183D7F6-B498-43B3-948B-1728B52AA6E4}">
                <adec:decorative xmlns:adec="http://schemas.microsoft.com/office/drawing/2017/decorative" val="1"/>
              </a:ext>
            </a:extLst>
          </p:cNvPr>
          <p:cNvSpPr>
            <a:spLocks noGrp="1"/>
          </p:cNvSpPr>
          <p:nvPr>
            <p:ph type="sldNum" sz="quarter" idx="17"/>
          </p:nvPr>
        </p:nvSpPr>
        <p:spPr/>
        <p:txBody>
          <a:bodyPr/>
          <a:lstStyle/>
          <a:p>
            <a:fld id="{1C1606C5-D483-4832-A0E9-CF578A9B5883}" type="slidenum">
              <a:rPr lang="en-US" smtClean="0"/>
              <a:pPr/>
              <a:t>‹#›</a:t>
            </a:fld>
            <a:endParaRPr lang="en-US"/>
          </a:p>
        </p:txBody>
      </p:sp>
      <p:sp>
        <p:nvSpPr>
          <p:cNvPr id="11" name="footnotes">
            <a:extLst>
              <a:ext uri="{FF2B5EF4-FFF2-40B4-BE49-F238E27FC236}">
                <a16:creationId xmlns:a16="http://schemas.microsoft.com/office/drawing/2014/main" id="{CEFF289C-07DE-3943-AE8B-006D75C97E62}"/>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2" name="Text Placeholder 7">
            <a:extLst>
              <a:ext uri="{FF2B5EF4-FFF2-40B4-BE49-F238E27FC236}">
                <a16:creationId xmlns:a16="http://schemas.microsoft.com/office/drawing/2014/main" id="{BE1E9375-970B-204F-A9C3-F8F900789C7C}"/>
              </a:ext>
            </a:extLst>
          </p:cNvPr>
          <p:cNvSpPr>
            <a:spLocks noGrp="1"/>
          </p:cNvSpPr>
          <p:nvPr>
            <p:ph type="body" sz="quarter" idx="19"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1631879056"/>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2 Content - Right Callout">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37845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2EA6765A-0A24-8ECD-6ACA-745B37603493}"/>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8" name="Content Placeholder 2">
            <a:extLst>
              <a:ext uri="{FF2B5EF4-FFF2-40B4-BE49-F238E27FC236}">
                <a16:creationId xmlns:a16="http://schemas.microsoft.com/office/drawing/2014/main" id="{43D2CC6A-3B0B-B5CF-9B23-ED6BB3DB97D2}"/>
              </a:ext>
            </a:extLst>
          </p:cNvPr>
          <p:cNvSpPr>
            <a:spLocks noGrp="1"/>
          </p:cNvSpPr>
          <p:nvPr>
            <p:ph sz="half" idx="1"/>
          </p:nvPr>
        </p:nvSpPr>
        <p:spPr>
          <a:xfrm>
            <a:off x="521208" y="1414800"/>
            <a:ext cx="7266792" cy="463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3" name="Subtitle">
            <a:extLst>
              <a:ext uri="{FF2B5EF4-FFF2-40B4-BE49-F238E27FC236}">
                <a16:creationId xmlns:a16="http://schemas.microsoft.com/office/drawing/2014/main" id="{535513A0-29A9-7D3B-9CDD-6733A2B1A2B1}"/>
              </a:ext>
            </a:extLst>
          </p:cNvPr>
          <p:cNvSpPr>
            <a:spLocks noGrp="1"/>
          </p:cNvSpPr>
          <p:nvPr>
            <p:ph type="body" sz="quarter" idx="13" hasCustomPrompt="1"/>
          </p:nvPr>
        </p:nvSpPr>
        <p:spPr>
          <a:xfrm>
            <a:off x="8112000" y="1414800"/>
            <a:ext cx="3558788" cy="324000"/>
          </a:xfrm>
          <a:prstGeom prst="rect">
            <a:avLst/>
          </a:prstGeom>
        </p:spPr>
        <p:txBody>
          <a:bodyPr>
            <a:noAutofit/>
          </a:bodyPr>
          <a:lstStyle>
            <a:lvl1pPr>
              <a:defRPr sz="2000" b="0" i="0">
                <a:latin typeface="+mj-lt"/>
              </a:defRPr>
            </a:lvl1pPr>
          </a:lstStyle>
          <a:p>
            <a:pPr lvl="0"/>
            <a:r>
              <a:rPr lang="en-US"/>
              <a:t>Click to edit subheading</a:t>
            </a:r>
          </a:p>
        </p:txBody>
      </p:sp>
      <p:sp>
        <p:nvSpPr>
          <p:cNvPr id="10" name="Content Placeholder 3">
            <a:extLst>
              <a:ext uri="{FF2B5EF4-FFF2-40B4-BE49-F238E27FC236}">
                <a16:creationId xmlns:a16="http://schemas.microsoft.com/office/drawing/2014/main" id="{B0D2CA8A-2E63-60D9-815D-424F0324BB6B}"/>
              </a:ext>
            </a:extLst>
          </p:cNvPr>
          <p:cNvSpPr>
            <a:spLocks noGrp="1"/>
          </p:cNvSpPr>
          <p:nvPr>
            <p:ph sz="half" idx="2"/>
          </p:nvPr>
        </p:nvSpPr>
        <p:spPr>
          <a:xfrm>
            <a:off x="8112000" y="1774800"/>
            <a:ext cx="3558788"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3" name="Slide Number Placeholder 2">
            <a:extLst>
              <a:ext uri="{FF2B5EF4-FFF2-40B4-BE49-F238E27FC236}">
                <a16:creationId xmlns:a16="http://schemas.microsoft.com/office/drawing/2014/main" id="{78E32CC6-04C6-A1DF-EF98-BE4B1B7C525B}"/>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11" name="footnotes">
            <a:extLst>
              <a:ext uri="{FF2B5EF4-FFF2-40B4-BE49-F238E27FC236}">
                <a16:creationId xmlns:a16="http://schemas.microsoft.com/office/drawing/2014/main" id="{A5A83900-FF2D-3A49-88FD-9C61C20EB89F}"/>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2" name="Text Placeholder 7">
            <a:extLst>
              <a:ext uri="{FF2B5EF4-FFF2-40B4-BE49-F238E27FC236}">
                <a16:creationId xmlns:a16="http://schemas.microsoft.com/office/drawing/2014/main" id="{2E395483-2B6E-C34A-876A-EED09AEBF755}"/>
              </a:ext>
            </a:extLst>
          </p:cNvPr>
          <p:cNvSpPr>
            <a:spLocks noGrp="1"/>
          </p:cNvSpPr>
          <p:nvPr>
            <p:ph type="body" sz="quarter" idx="19"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1346310532"/>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ubtitle, 2 Content - R Callout">
    <p:spTree>
      <p:nvGrpSpPr>
        <p:cNvPr id="1" name=""/>
        <p:cNvGrpSpPr/>
        <p:nvPr/>
      </p:nvGrpSpPr>
      <p:grpSpPr>
        <a:xfrm>
          <a:off x="0" y="0"/>
          <a:ext cx="0" cy="0"/>
          <a:chOff x="0" y="0"/>
          <a:chExt cx="0" cy="0"/>
        </a:xfrm>
      </p:grpSpPr>
      <p:graphicFrame>
        <p:nvGraphicFramePr>
          <p:cNvPr id="3" name="think-cell data - do not delete">
            <a:extLst>
              <a:ext uri="{FF2B5EF4-FFF2-40B4-BE49-F238E27FC236}">
                <a16:creationId xmlns:a16="http://schemas.microsoft.com/office/drawing/2014/main" id="{1176B466-FD88-9B85-1FC2-B7567CFCE262}"/>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37845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think-cell data - do not delete">
                        <a:extLst>
                          <a:ext uri="{FF2B5EF4-FFF2-40B4-BE49-F238E27FC236}">
                            <a16:creationId xmlns:a16="http://schemas.microsoft.com/office/drawing/2014/main" id="{1176B466-FD88-9B85-1FC2-B7567CFCE262}"/>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8F88A386-51F3-F608-D918-EBE2385F35AF}"/>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2" name="Subtitle 2">
            <a:extLst>
              <a:ext uri="{FF2B5EF4-FFF2-40B4-BE49-F238E27FC236}">
                <a16:creationId xmlns:a16="http://schemas.microsoft.com/office/drawing/2014/main" id="{F6797AFE-A6AB-52DD-3661-323571059564}"/>
              </a:ext>
            </a:extLst>
          </p:cNvPr>
          <p:cNvSpPr>
            <a:spLocks noGrp="1"/>
          </p:cNvSpPr>
          <p:nvPr>
            <p:ph type="body" sz="quarter" idx="16" hasCustomPrompt="1"/>
          </p:nvPr>
        </p:nvSpPr>
        <p:spPr>
          <a:xfrm>
            <a:off x="521208" y="1270518"/>
            <a:ext cx="11149580"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8" name="Content Placeholder 2">
            <a:extLst>
              <a:ext uri="{FF2B5EF4-FFF2-40B4-BE49-F238E27FC236}">
                <a16:creationId xmlns:a16="http://schemas.microsoft.com/office/drawing/2014/main" id="{43D2CC6A-3B0B-B5CF-9B23-ED6BB3DB97D2}"/>
              </a:ext>
            </a:extLst>
          </p:cNvPr>
          <p:cNvSpPr>
            <a:spLocks noGrp="1"/>
          </p:cNvSpPr>
          <p:nvPr>
            <p:ph sz="half" idx="1"/>
          </p:nvPr>
        </p:nvSpPr>
        <p:spPr>
          <a:xfrm>
            <a:off x="521208" y="1774800"/>
            <a:ext cx="726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3" name="Subtitle">
            <a:extLst>
              <a:ext uri="{FF2B5EF4-FFF2-40B4-BE49-F238E27FC236}">
                <a16:creationId xmlns:a16="http://schemas.microsoft.com/office/drawing/2014/main" id="{535513A0-29A9-7D3B-9CDD-6733A2B1A2B1}"/>
              </a:ext>
            </a:extLst>
          </p:cNvPr>
          <p:cNvSpPr>
            <a:spLocks noGrp="1"/>
          </p:cNvSpPr>
          <p:nvPr>
            <p:ph type="body" sz="quarter" idx="13" hasCustomPrompt="1"/>
          </p:nvPr>
        </p:nvSpPr>
        <p:spPr>
          <a:xfrm>
            <a:off x="8112000" y="1772266"/>
            <a:ext cx="3558788" cy="324000"/>
          </a:xfrm>
          <a:prstGeom prst="rect">
            <a:avLst/>
          </a:prstGeom>
        </p:spPr>
        <p:txBody>
          <a:bodyPr>
            <a:noAutofit/>
          </a:bodyPr>
          <a:lstStyle>
            <a:lvl1pPr>
              <a:defRPr sz="2000" b="0" i="0">
                <a:latin typeface="+mj-lt"/>
              </a:defRPr>
            </a:lvl1pPr>
          </a:lstStyle>
          <a:p>
            <a:pPr lvl="0"/>
            <a:r>
              <a:rPr lang="en-US"/>
              <a:t>Click to edit subheading</a:t>
            </a:r>
          </a:p>
        </p:txBody>
      </p:sp>
      <p:sp>
        <p:nvSpPr>
          <p:cNvPr id="10" name="Content Placeholder 3">
            <a:extLst>
              <a:ext uri="{FF2B5EF4-FFF2-40B4-BE49-F238E27FC236}">
                <a16:creationId xmlns:a16="http://schemas.microsoft.com/office/drawing/2014/main" id="{B0D2CA8A-2E63-60D9-815D-424F0324BB6B}"/>
              </a:ext>
            </a:extLst>
          </p:cNvPr>
          <p:cNvSpPr>
            <a:spLocks noGrp="1"/>
          </p:cNvSpPr>
          <p:nvPr>
            <p:ph sz="half" idx="2"/>
          </p:nvPr>
        </p:nvSpPr>
        <p:spPr>
          <a:xfrm>
            <a:off x="8112000" y="2134800"/>
            <a:ext cx="3558788" cy="391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Slide Number Placeholder 3">
            <a:extLst>
              <a:ext uri="{FF2B5EF4-FFF2-40B4-BE49-F238E27FC236}">
                <a16:creationId xmlns:a16="http://schemas.microsoft.com/office/drawing/2014/main" id="{8696B04B-F07D-B536-A5CE-3204B355DCE9}"/>
              </a:ext>
              <a:ext uri="{C183D7F6-B498-43B3-948B-1728B52AA6E4}">
                <adec:decorative xmlns:adec="http://schemas.microsoft.com/office/drawing/2017/decorative" val="1"/>
              </a:ext>
            </a:extLst>
          </p:cNvPr>
          <p:cNvSpPr>
            <a:spLocks noGrp="1"/>
          </p:cNvSpPr>
          <p:nvPr>
            <p:ph type="sldNum" sz="quarter" idx="17"/>
          </p:nvPr>
        </p:nvSpPr>
        <p:spPr/>
        <p:txBody>
          <a:bodyPr/>
          <a:lstStyle/>
          <a:p>
            <a:fld id="{1C1606C5-D483-4832-A0E9-CF578A9B5883}" type="slidenum">
              <a:rPr lang="en-US" smtClean="0"/>
              <a:pPr/>
              <a:t>‹#›</a:t>
            </a:fld>
            <a:endParaRPr lang="en-US"/>
          </a:p>
        </p:txBody>
      </p:sp>
      <p:sp>
        <p:nvSpPr>
          <p:cNvPr id="11" name="footnotes">
            <a:extLst>
              <a:ext uri="{FF2B5EF4-FFF2-40B4-BE49-F238E27FC236}">
                <a16:creationId xmlns:a16="http://schemas.microsoft.com/office/drawing/2014/main" id="{6737F1FC-FBF6-FC41-BC8E-B0A4A3284020}"/>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2" name="Text Placeholder 7">
            <a:extLst>
              <a:ext uri="{FF2B5EF4-FFF2-40B4-BE49-F238E27FC236}">
                <a16:creationId xmlns:a16="http://schemas.microsoft.com/office/drawing/2014/main" id="{4DA6DEA2-1171-9D48-BDB7-261524FD2265}"/>
              </a:ext>
            </a:extLst>
          </p:cNvPr>
          <p:cNvSpPr>
            <a:spLocks noGrp="1"/>
          </p:cNvSpPr>
          <p:nvPr>
            <p:ph type="body" sz="quarter" idx="19"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751230580"/>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Cont, Image - White B">
    <p:spTree>
      <p:nvGrpSpPr>
        <p:cNvPr id="1" name=""/>
        <p:cNvGrpSpPr/>
        <p:nvPr/>
      </p:nvGrpSpPr>
      <p:grpSpPr>
        <a:xfrm>
          <a:off x="0" y="0"/>
          <a:ext cx="0" cy="0"/>
          <a:chOff x="0" y="0"/>
          <a:chExt cx="0" cy="0"/>
        </a:xfrm>
      </p:grpSpPr>
      <p:graphicFrame>
        <p:nvGraphicFramePr>
          <p:cNvPr id="7" name="think-cell data - do not delete">
            <a:extLst>
              <a:ext uri="{FF2B5EF4-FFF2-40B4-BE49-F238E27FC236}">
                <a16:creationId xmlns:a16="http://schemas.microsoft.com/office/drawing/2014/main" id="{7B238EE9-2F94-0CB1-FAED-27E13EFD0116}"/>
              </a:ext>
            </a:extLst>
          </p:cNvPr>
          <p:cNvGraphicFramePr>
            <a:graphicFrameLocks noChangeAspect="1"/>
          </p:cNvGraphicFramePr>
          <p:nvPr userDrawn="1">
            <p:custDataLst>
              <p:tags r:id="rId1"/>
            </p:custDataLst>
            <p:extLst>
              <p:ext uri="{D42A27DB-BD31-4B8C-83A1-F6EECF244321}">
                <p14:modId xmlns:p14="http://schemas.microsoft.com/office/powerpoint/2010/main" val="4011080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7" name="think-cell data - do not delete">
                        <a:extLst>
                          <a:ext uri="{FF2B5EF4-FFF2-40B4-BE49-F238E27FC236}">
                            <a16:creationId xmlns:a16="http://schemas.microsoft.com/office/drawing/2014/main" id="{7B238EE9-2F94-0CB1-FAED-27E13EFD01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D5FE5D1-6472-6F74-8C98-E6DC46AF9741}"/>
              </a:ext>
            </a:extLst>
          </p:cNvPr>
          <p:cNvSpPr>
            <a:spLocks noGrp="1"/>
          </p:cNvSpPr>
          <p:nvPr>
            <p:ph type="title"/>
          </p:nvPr>
        </p:nvSpPr>
        <p:spPr>
          <a:xfrm>
            <a:off x="521208" y="324362"/>
            <a:ext cx="5574792" cy="944637"/>
          </a:xfrm>
          <a:prstGeom prst="rect">
            <a:avLst/>
          </a:prstGeom>
        </p:spPr>
        <p:txBody>
          <a:bodyPr/>
          <a:lstStyle/>
          <a:p>
            <a:r>
              <a:rPr lang="en-US"/>
              <a:t>Click to edit Master title style</a:t>
            </a:r>
          </a:p>
        </p:txBody>
      </p:sp>
      <p:sp>
        <p:nvSpPr>
          <p:cNvPr id="6" name="Subtitle 2">
            <a:extLst>
              <a:ext uri="{FF2B5EF4-FFF2-40B4-BE49-F238E27FC236}">
                <a16:creationId xmlns:a16="http://schemas.microsoft.com/office/drawing/2014/main" id="{6AB4C73B-1CAB-F3E3-EA20-565CA9791C3D}"/>
              </a:ext>
            </a:extLst>
          </p:cNvPr>
          <p:cNvSpPr>
            <a:spLocks noGrp="1"/>
          </p:cNvSpPr>
          <p:nvPr>
            <p:ph type="body" sz="quarter" idx="17" hasCustomPrompt="1"/>
          </p:nvPr>
        </p:nvSpPr>
        <p:spPr>
          <a:xfrm>
            <a:off x="521208" y="1270518"/>
            <a:ext cx="5574792"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4" name="Content Placeholder 2">
            <a:extLst>
              <a:ext uri="{FF2B5EF4-FFF2-40B4-BE49-F238E27FC236}">
                <a16:creationId xmlns:a16="http://schemas.microsoft.com/office/drawing/2014/main" id="{D7ECA153-121A-CD69-3C84-5A96DFDAAF2D}"/>
              </a:ext>
            </a:extLst>
          </p:cNvPr>
          <p:cNvSpPr>
            <a:spLocks noGrp="1"/>
          </p:cNvSpPr>
          <p:nvPr>
            <p:ph idx="1"/>
          </p:nvPr>
        </p:nvSpPr>
        <p:spPr>
          <a:xfrm>
            <a:off x="521207" y="1774800"/>
            <a:ext cx="5574791"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 name="Picture Placeholder 3">
            <a:extLst>
              <a:ext uri="{FF2B5EF4-FFF2-40B4-BE49-F238E27FC236}">
                <a16:creationId xmlns:a16="http://schemas.microsoft.com/office/drawing/2014/main" id="{E7ED1FCC-D133-D9C2-D94E-D788FAABB148}"/>
              </a:ext>
            </a:extLst>
          </p:cNvPr>
          <p:cNvSpPr>
            <a:spLocks noGrp="1" noChangeAspect="1"/>
          </p:cNvSpPr>
          <p:nvPr>
            <p:ph type="pic" sz="quarter" idx="13" hasCustomPrompt="1"/>
          </p:nvPr>
        </p:nvSpPr>
        <p:spPr>
          <a:xfrm>
            <a:off x="6930766" y="1311298"/>
            <a:ext cx="4738651" cy="4738652"/>
          </a:xfrm>
          <a:custGeom>
            <a:avLst/>
            <a:gdLst>
              <a:gd name="connsiteX0" fmla="*/ 2954626 w 5909252"/>
              <a:gd name="connsiteY0" fmla="*/ 0 h 5909252"/>
              <a:gd name="connsiteX1" fmla="*/ 4780584 w 5909252"/>
              <a:gd name="connsiteY1" fmla="*/ 564332 h 5909252"/>
              <a:gd name="connsiteX2" fmla="*/ 5909252 w 5909252"/>
              <a:gd name="connsiteY2" fmla="*/ 2041645 h 5909252"/>
              <a:gd name="connsiteX3" fmla="*/ 5909252 w 5909252"/>
              <a:gd name="connsiteY3" fmla="*/ 3867607 h 5909252"/>
              <a:gd name="connsiteX4" fmla="*/ 4780584 w 5909252"/>
              <a:gd name="connsiteY4" fmla="*/ 5344920 h 5909252"/>
              <a:gd name="connsiteX5" fmla="*/ 2954626 w 5909252"/>
              <a:gd name="connsiteY5" fmla="*/ 5909252 h 5909252"/>
              <a:gd name="connsiteX6" fmla="*/ 1128668 w 5909252"/>
              <a:gd name="connsiteY6" fmla="*/ 5344920 h 5909252"/>
              <a:gd name="connsiteX7" fmla="*/ 0 w 5909252"/>
              <a:gd name="connsiteY7" fmla="*/ 3867607 h 5909252"/>
              <a:gd name="connsiteX8" fmla="*/ 0 w 5909252"/>
              <a:gd name="connsiteY8" fmla="*/ 2041645 h 5909252"/>
              <a:gd name="connsiteX9" fmla="*/ 1128668 w 5909252"/>
              <a:gd name="connsiteY9" fmla="*/ 564332 h 5909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09252" h="5909252">
                <a:moveTo>
                  <a:pt x="2954626" y="0"/>
                </a:moveTo>
                <a:lnTo>
                  <a:pt x="4780584" y="564332"/>
                </a:lnTo>
                <a:lnTo>
                  <a:pt x="5909252" y="2041645"/>
                </a:lnTo>
                <a:lnTo>
                  <a:pt x="5909252" y="3867607"/>
                </a:lnTo>
                <a:lnTo>
                  <a:pt x="4780584" y="5344920"/>
                </a:lnTo>
                <a:lnTo>
                  <a:pt x="2954626" y="5909252"/>
                </a:lnTo>
                <a:lnTo>
                  <a:pt x="1128668" y="5344920"/>
                </a:lnTo>
                <a:lnTo>
                  <a:pt x="0" y="3867607"/>
                </a:lnTo>
                <a:lnTo>
                  <a:pt x="0" y="2041645"/>
                </a:lnTo>
                <a:lnTo>
                  <a:pt x="1128668" y="564332"/>
                </a:lnTo>
                <a:close/>
              </a:path>
            </a:pathLst>
          </a:cu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wrap="square" lIns="203200" tIns="201600" rIns="201600" bIns="201600" anchor="ctr" anchorCtr="0">
            <a:noAutofit/>
          </a:bodyPr>
          <a:lstStyle>
            <a:lvl1pPr algn="ctr">
              <a:defRPr b="0" i="0">
                <a:latin typeface="Forever Forma Body Text" pitchFamily="2" charset="0"/>
              </a:defRPr>
            </a:lvl1pPr>
          </a:lstStyle>
          <a:p>
            <a:r>
              <a:rPr lang="en-US"/>
              <a:t>Click icon to insert an image</a:t>
            </a:r>
          </a:p>
        </p:txBody>
      </p:sp>
      <p:sp>
        <p:nvSpPr>
          <p:cNvPr id="5" name="Slide Number Placeholder 4">
            <a:extLst>
              <a:ext uri="{FF2B5EF4-FFF2-40B4-BE49-F238E27FC236}">
                <a16:creationId xmlns:a16="http://schemas.microsoft.com/office/drawing/2014/main" id="{A450C16C-4FD2-3762-E85A-31E72A8271C6}"/>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11" name="footnotes">
            <a:extLst>
              <a:ext uri="{FF2B5EF4-FFF2-40B4-BE49-F238E27FC236}">
                <a16:creationId xmlns:a16="http://schemas.microsoft.com/office/drawing/2014/main" id="{B12FC428-900D-DA4D-92BA-263414DAB4CB}"/>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2" name="Text Placeholder 7">
            <a:extLst>
              <a:ext uri="{FF2B5EF4-FFF2-40B4-BE49-F238E27FC236}">
                <a16:creationId xmlns:a16="http://schemas.microsoft.com/office/drawing/2014/main" id="{F68BEA1C-EF82-D14A-980B-A7D5A9E4D601}"/>
              </a:ext>
            </a:extLst>
          </p:cNvPr>
          <p:cNvSpPr>
            <a:spLocks noGrp="1"/>
          </p:cNvSpPr>
          <p:nvPr>
            <p:ph type="body" sz="quarter" idx="19"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131472611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Content, Shape - Light Back A">
    <p:bg>
      <p:bgPr>
        <a:solidFill>
          <a:srgbClr val="63B6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254176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hape">
            <a:extLst>
              <a:ext uri="{FF2B5EF4-FFF2-40B4-BE49-F238E27FC236}">
                <a16:creationId xmlns:a16="http://schemas.microsoft.com/office/drawing/2014/main" id="{344630B8-C98D-D3B9-67A1-E0937CD3CD02}"/>
              </a:ext>
              <a:ext uri="{C183D7F6-B498-43B3-948B-1728B52AA6E4}">
                <adec:decorative xmlns:adec="http://schemas.microsoft.com/office/drawing/2017/decorative" val="1"/>
              </a:ext>
            </a:extLst>
          </p:cNvPr>
          <p:cNvSpPr/>
          <p:nvPr userDrawn="1"/>
        </p:nvSpPr>
        <p:spPr>
          <a:xfrm>
            <a:off x="2928001" y="0"/>
            <a:ext cx="9264000" cy="6858000"/>
          </a:xfrm>
          <a:custGeom>
            <a:avLst/>
            <a:gdLst>
              <a:gd name="connsiteX0" fmla="*/ 0 w 10502900"/>
              <a:gd name="connsiteY0" fmla="*/ 0 h 6858000"/>
              <a:gd name="connsiteX1" fmla="*/ 10502900 w 10502900"/>
              <a:gd name="connsiteY1" fmla="*/ 0 h 6858000"/>
              <a:gd name="connsiteX2" fmla="*/ 10502900 w 10502900"/>
              <a:gd name="connsiteY2" fmla="*/ 6858000 h 6858000"/>
              <a:gd name="connsiteX3" fmla="*/ 1406333 w 10502900"/>
              <a:gd name="connsiteY3" fmla="*/ 6858000 h 6858000"/>
              <a:gd name="connsiteX4" fmla="*/ 3820073 w 10502900"/>
              <a:gd name="connsiteY4" fmla="*/ 5548121 h 6858000"/>
              <a:gd name="connsiteX5" fmla="*/ 4742125 w 10502900"/>
              <a:gd name="connsiteY5" fmla="*/ 3428998 h 6858000"/>
              <a:gd name="connsiteX6" fmla="*/ 3820073 w 10502900"/>
              <a:gd name="connsiteY6" fmla="*/ 1309879 h 6858000"/>
              <a:gd name="connsiteX7" fmla="*/ 1406333 w 10502900"/>
              <a:gd name="connsiteY7" fmla="*/ 1 h 6858000"/>
              <a:gd name="connsiteX8" fmla="*/ 0 w 10502900"/>
              <a:gd name="connsiteY8" fmla="*/ 1 h 6858000"/>
              <a:gd name="connsiteX0" fmla="*/ 0 w 10502900"/>
              <a:gd name="connsiteY0" fmla="*/ 1 h 6858000"/>
              <a:gd name="connsiteX1" fmla="*/ 10502900 w 10502900"/>
              <a:gd name="connsiteY1" fmla="*/ 0 h 6858000"/>
              <a:gd name="connsiteX2" fmla="*/ 10502900 w 10502900"/>
              <a:gd name="connsiteY2" fmla="*/ 6858000 h 6858000"/>
              <a:gd name="connsiteX3" fmla="*/ 1406333 w 10502900"/>
              <a:gd name="connsiteY3" fmla="*/ 6858000 h 6858000"/>
              <a:gd name="connsiteX4" fmla="*/ 3820073 w 10502900"/>
              <a:gd name="connsiteY4" fmla="*/ 5548121 h 6858000"/>
              <a:gd name="connsiteX5" fmla="*/ 4742125 w 10502900"/>
              <a:gd name="connsiteY5" fmla="*/ 3428998 h 6858000"/>
              <a:gd name="connsiteX6" fmla="*/ 3820073 w 10502900"/>
              <a:gd name="connsiteY6" fmla="*/ 1309879 h 6858000"/>
              <a:gd name="connsiteX7" fmla="*/ 1406333 w 10502900"/>
              <a:gd name="connsiteY7" fmla="*/ 1 h 6858000"/>
              <a:gd name="connsiteX8" fmla="*/ 0 w 10502900"/>
              <a:gd name="connsiteY8" fmla="*/ 1 h 6858000"/>
              <a:gd name="connsiteX0" fmla="*/ 0 w 9096567"/>
              <a:gd name="connsiteY0" fmla="*/ 1 h 6858000"/>
              <a:gd name="connsiteX1" fmla="*/ 9096567 w 9096567"/>
              <a:gd name="connsiteY1" fmla="*/ 0 h 6858000"/>
              <a:gd name="connsiteX2" fmla="*/ 9096567 w 9096567"/>
              <a:gd name="connsiteY2" fmla="*/ 6858000 h 6858000"/>
              <a:gd name="connsiteX3" fmla="*/ 0 w 9096567"/>
              <a:gd name="connsiteY3" fmla="*/ 6858000 h 6858000"/>
              <a:gd name="connsiteX4" fmla="*/ 2413740 w 9096567"/>
              <a:gd name="connsiteY4" fmla="*/ 5548121 h 6858000"/>
              <a:gd name="connsiteX5" fmla="*/ 3335792 w 9096567"/>
              <a:gd name="connsiteY5" fmla="*/ 3428998 h 6858000"/>
              <a:gd name="connsiteX6" fmla="*/ 2413740 w 9096567"/>
              <a:gd name="connsiteY6" fmla="*/ 1309879 h 6858000"/>
              <a:gd name="connsiteX7" fmla="*/ 0 w 9096567"/>
              <a:gd name="connsiteY7"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96567" h="6858000">
                <a:moveTo>
                  <a:pt x="0" y="1"/>
                </a:moveTo>
                <a:lnTo>
                  <a:pt x="9096567" y="0"/>
                </a:lnTo>
                <a:lnTo>
                  <a:pt x="9096567" y="6858000"/>
                </a:lnTo>
                <a:lnTo>
                  <a:pt x="0" y="6858000"/>
                </a:lnTo>
                <a:lnTo>
                  <a:pt x="2413740" y="5548121"/>
                </a:lnTo>
                <a:lnTo>
                  <a:pt x="3335792" y="3428998"/>
                </a:lnTo>
                <a:lnTo>
                  <a:pt x="2413740" y="1309879"/>
                </a:lnTo>
                <a:lnTo>
                  <a:pt x="0" y="1"/>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Forever Forma Body Text" pitchFamily="2" charset="0"/>
            </a:endParaRPr>
          </a:p>
        </p:txBody>
      </p:sp>
      <p:pic>
        <p:nvPicPr>
          <p:cNvPr id="8" name="logo sm" descr="Transamerica Logo">
            <a:extLst>
              <a:ext uri="{FF2B5EF4-FFF2-40B4-BE49-F238E27FC236}">
                <a16:creationId xmlns:a16="http://schemas.microsoft.com/office/drawing/2014/main" id="{F50AF79B-55C2-D55D-6201-BB3366488C4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799200" y="6053050"/>
            <a:ext cx="2138400" cy="804950"/>
          </a:xfrm>
          <a:prstGeom prst="rect">
            <a:avLst/>
          </a:prstGeom>
        </p:spPr>
      </p:pic>
      <p:sp>
        <p:nvSpPr>
          <p:cNvPr id="6" name="Title 5">
            <a:extLst>
              <a:ext uri="{FF2B5EF4-FFF2-40B4-BE49-F238E27FC236}">
                <a16:creationId xmlns:a16="http://schemas.microsoft.com/office/drawing/2014/main" id="{652D13E3-58BD-D104-4F90-BAC6FCDDB569}"/>
              </a:ext>
            </a:extLst>
          </p:cNvPr>
          <p:cNvSpPr>
            <a:spLocks noGrp="1"/>
          </p:cNvSpPr>
          <p:nvPr>
            <p:ph type="title"/>
          </p:nvPr>
        </p:nvSpPr>
        <p:spPr>
          <a:xfrm>
            <a:off x="521208" y="1269000"/>
            <a:ext cx="5106792" cy="4320000"/>
          </a:xfrm>
          <a:prstGeom prst="rect">
            <a:avLst/>
          </a:prstGeom>
        </p:spPr>
        <p:txBody>
          <a:bodyPr anchor="ctr" anchorCtr="0"/>
          <a:lstStyle/>
          <a:p>
            <a:r>
              <a:rPr lang="en-US"/>
              <a:t>Click to edit Master title style</a:t>
            </a:r>
          </a:p>
        </p:txBody>
      </p:sp>
      <p:sp>
        <p:nvSpPr>
          <p:cNvPr id="13" name="Text Placeholder 12">
            <a:extLst>
              <a:ext uri="{FF2B5EF4-FFF2-40B4-BE49-F238E27FC236}">
                <a16:creationId xmlns:a16="http://schemas.microsoft.com/office/drawing/2014/main" id="{98BA2B9A-D146-D79C-2973-FBA71B289A78}"/>
              </a:ext>
            </a:extLst>
          </p:cNvPr>
          <p:cNvSpPr>
            <a:spLocks noGrp="1"/>
          </p:cNvSpPr>
          <p:nvPr>
            <p:ph type="body" sz="quarter" idx="13"/>
          </p:nvPr>
        </p:nvSpPr>
        <p:spPr>
          <a:xfrm>
            <a:off x="6552000" y="1269000"/>
            <a:ext cx="5106792" cy="4320000"/>
          </a:xfrm>
          <a:prstGeom prst="rect">
            <a:avLst/>
          </a:prstGeom>
        </p:spPr>
        <p:txBody>
          <a:bodyPr anchor="ctr" anchorCtr="0"/>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Slide Number Placeholder 3">
            <a:extLst>
              <a:ext uri="{FF2B5EF4-FFF2-40B4-BE49-F238E27FC236}">
                <a16:creationId xmlns:a16="http://schemas.microsoft.com/office/drawing/2014/main" id="{A9F40096-D548-3E3A-1132-E6A716C6E5EB}"/>
              </a:ext>
              <a:ext uri="{C183D7F6-B498-43B3-948B-1728B52AA6E4}">
                <adec:decorative xmlns:adec="http://schemas.microsoft.com/office/drawing/2017/decorative" val="1"/>
              </a:ext>
            </a:extLst>
          </p:cNvPr>
          <p:cNvSpPr>
            <a:spLocks noGrp="1"/>
          </p:cNvSpPr>
          <p:nvPr>
            <p:ph type="sldNum" sz="quarter" idx="14"/>
          </p:nvPr>
        </p:nvSpPr>
        <p:spPr/>
        <p:txBody>
          <a:bodyPr/>
          <a:lstStyle/>
          <a:p>
            <a:fld id="{1C1606C5-D483-4832-A0E9-CF578A9B5883}" type="slidenum">
              <a:rPr lang="en-US" smtClean="0"/>
              <a:pPr/>
              <a:t>‹#›</a:t>
            </a:fld>
            <a:endParaRPr lang="en-US"/>
          </a:p>
        </p:txBody>
      </p:sp>
      <p:sp>
        <p:nvSpPr>
          <p:cNvPr id="7" name="footnotes">
            <a:extLst>
              <a:ext uri="{FF2B5EF4-FFF2-40B4-BE49-F238E27FC236}">
                <a16:creationId xmlns:a16="http://schemas.microsoft.com/office/drawing/2014/main" id="{DCA3043C-B828-E81E-3F43-ED0D5B85A799}"/>
              </a:ext>
            </a:extLst>
          </p:cNvPr>
          <p:cNvSpPr>
            <a:spLocks noGrp="1"/>
          </p:cNvSpPr>
          <p:nvPr>
            <p:ph type="body" sz="quarter" idx="15" hasCustomPrompt="1"/>
          </p:nvPr>
        </p:nvSpPr>
        <p:spPr>
          <a:xfrm>
            <a:off x="6552000" y="6049950"/>
            <a:ext cx="3247200"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2" name="Group 1">
            <a:extLst>
              <a:ext uri="{FF2B5EF4-FFF2-40B4-BE49-F238E27FC236}">
                <a16:creationId xmlns:a16="http://schemas.microsoft.com/office/drawing/2014/main" id="{0BFFE5EC-063B-2D3C-D729-5987FAC4F79D}"/>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3" name="Content Placeholder 15">
              <a:extLst>
                <a:ext uri="{FF2B5EF4-FFF2-40B4-BE49-F238E27FC236}">
                  <a16:creationId xmlns:a16="http://schemas.microsoft.com/office/drawing/2014/main" id="{A1D60412-7859-A832-244A-2F83F01DFDB7}"/>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9" name="TextBox 8">
              <a:extLst>
                <a:ext uri="{FF2B5EF4-FFF2-40B4-BE49-F238E27FC236}">
                  <a16:creationId xmlns:a16="http://schemas.microsoft.com/office/drawing/2014/main" id="{8BD124C9-34E2-085A-2DC8-B2BA363B632C}"/>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light background)</a:t>
              </a:r>
            </a:p>
            <a:p>
              <a:pPr algn="l">
                <a:buNone/>
              </a:pPr>
              <a:endParaRPr lang="en-US" sz="1200" kern="100" spc="-30"/>
            </a:p>
          </p:txBody>
        </p:sp>
        <p:pic>
          <p:nvPicPr>
            <p:cNvPr id="10" name="Picture 9" descr="A screenshot of a color chart&#10;&#10;Description automatically generated">
              <a:extLst>
                <a:ext uri="{FF2B5EF4-FFF2-40B4-BE49-F238E27FC236}">
                  <a16:creationId xmlns:a16="http://schemas.microsoft.com/office/drawing/2014/main" id="{B39ACC74-CBD3-468E-4E6A-D70A55492FFA}"/>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1" name="Rectangle 10">
              <a:extLst>
                <a:ext uri="{FF2B5EF4-FFF2-40B4-BE49-F238E27FC236}">
                  <a16:creationId xmlns:a16="http://schemas.microsoft.com/office/drawing/2014/main" id="{F7554876-97B0-3ED4-57DB-B991BAECE7AA}"/>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0C25B243-343E-36AE-670D-EBBCC05BA7BE}"/>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a:extLst>
                <a:ext uri="{FF2B5EF4-FFF2-40B4-BE49-F238E27FC236}">
                  <a16:creationId xmlns:a16="http://schemas.microsoft.com/office/drawing/2014/main" id="{71F38903-790C-1705-2C8A-D0906AA362EF}"/>
                </a:ext>
              </a:extLst>
            </p:cNvPr>
            <p:cNvGrpSpPr/>
            <p:nvPr userDrawn="1"/>
          </p:nvGrpSpPr>
          <p:grpSpPr>
            <a:xfrm>
              <a:off x="-2740234" y="3819615"/>
              <a:ext cx="2227594" cy="2600236"/>
              <a:chOff x="-3323174" y="3918039"/>
              <a:chExt cx="2782425" cy="3247881"/>
            </a:xfrm>
          </p:grpSpPr>
          <p:sp>
            <p:nvSpPr>
              <p:cNvPr id="18" name="Rectangle 17">
                <a:extLst>
                  <a:ext uri="{FF2B5EF4-FFF2-40B4-BE49-F238E27FC236}">
                    <a16:creationId xmlns:a16="http://schemas.microsoft.com/office/drawing/2014/main" id="{87D7C59A-2FE4-C25A-B4FD-197BA90C7628}"/>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9" name="Rectangle 18">
                <a:extLst>
                  <a:ext uri="{FF2B5EF4-FFF2-40B4-BE49-F238E27FC236}">
                    <a16:creationId xmlns:a16="http://schemas.microsoft.com/office/drawing/2014/main" id="{1840F1E7-0504-35BB-754A-87AD984CB520}"/>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0" name="Rectangle 19">
                <a:extLst>
                  <a:ext uri="{FF2B5EF4-FFF2-40B4-BE49-F238E27FC236}">
                    <a16:creationId xmlns:a16="http://schemas.microsoft.com/office/drawing/2014/main" id="{D587770B-74C7-EFDE-2CDE-22FC0FFE9FB3}"/>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1" name="TextBox 20">
                <a:extLst>
                  <a:ext uri="{FF2B5EF4-FFF2-40B4-BE49-F238E27FC236}">
                    <a16:creationId xmlns:a16="http://schemas.microsoft.com/office/drawing/2014/main" id="{22D75771-963F-4BB0-6FAC-88DA299C6D22}"/>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Light Background Colors</a:t>
                </a:r>
              </a:p>
            </p:txBody>
          </p:sp>
          <p:sp>
            <p:nvSpPr>
              <p:cNvPr id="22" name="Right Brace 21">
                <a:extLst>
                  <a:ext uri="{FF2B5EF4-FFF2-40B4-BE49-F238E27FC236}">
                    <a16:creationId xmlns:a16="http://schemas.microsoft.com/office/drawing/2014/main" id="{5F085A77-95F9-456A-64ED-D349F0A9B9D6}"/>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3" name="Rectangle 22">
                <a:extLst>
                  <a:ext uri="{FF2B5EF4-FFF2-40B4-BE49-F238E27FC236}">
                    <a16:creationId xmlns:a16="http://schemas.microsoft.com/office/drawing/2014/main" id="{74D1DF3E-B5BD-521F-D0CE-81E72135D864}"/>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sp>
            <p:nvSpPr>
              <p:cNvPr id="24" name="Rectangle 23">
                <a:extLst>
                  <a:ext uri="{FF2B5EF4-FFF2-40B4-BE49-F238E27FC236}">
                    <a16:creationId xmlns:a16="http://schemas.microsoft.com/office/drawing/2014/main" id="{3E35F0F1-0344-9B04-2223-212AB74FE59B}"/>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6" name="Picture 15">
              <a:extLst>
                <a:ext uri="{FF2B5EF4-FFF2-40B4-BE49-F238E27FC236}">
                  <a16:creationId xmlns:a16="http://schemas.microsoft.com/office/drawing/2014/main" id="{D5F2C49A-FFC0-3B65-1AD5-4BEAEBDF1857}"/>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17" name="Picture 16">
              <a:extLst>
                <a:ext uri="{FF2B5EF4-FFF2-40B4-BE49-F238E27FC236}">
                  <a16:creationId xmlns:a16="http://schemas.microsoft.com/office/drawing/2014/main" id="{EC90CAFF-F7A2-6C25-047A-3786FEAD141F}"/>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
        <p:nvSpPr>
          <p:cNvPr id="25" name="Text Placeholder 7">
            <a:extLst>
              <a:ext uri="{FF2B5EF4-FFF2-40B4-BE49-F238E27FC236}">
                <a16:creationId xmlns:a16="http://schemas.microsoft.com/office/drawing/2014/main" id="{869CD14C-ACFE-0089-3EDC-C7AD3318ADD0}"/>
              </a:ext>
            </a:extLst>
          </p:cNvPr>
          <p:cNvSpPr>
            <a:spLocks noGrp="1"/>
          </p:cNvSpPr>
          <p:nvPr>
            <p:ph type="body" sz="quarter" idx="32" hasCustomPrompt="1"/>
          </p:nvPr>
        </p:nvSpPr>
        <p:spPr>
          <a:xfrm>
            <a:off x="10836865" y="246565"/>
            <a:ext cx="1014771" cy="298870"/>
          </a:xfrm>
          <a:prstGeom prst="rect">
            <a:avLst/>
          </a:prstGeom>
          <a:solidFill>
            <a:srgbClr val="1D2550"/>
          </a:solidFill>
        </p:spPr>
        <p:txBody>
          <a:bodyPr wrap="none" lIns="75600" tIns="75600" rIns="75600" bIns="75600" anchor="t"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786350771"/>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hape - Dark Back B">
    <p:bg>
      <p:bgPr>
        <a:solidFill>
          <a:srgbClr val="CF0000"/>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1046387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Shape">
            <a:extLst>
              <a:ext uri="{FF2B5EF4-FFF2-40B4-BE49-F238E27FC236}">
                <a16:creationId xmlns:a16="http://schemas.microsoft.com/office/drawing/2014/main" id="{46671BC0-703D-83FB-368F-D22C5FD489B9}"/>
              </a:ext>
              <a:ext uri="{C183D7F6-B498-43B3-948B-1728B52AA6E4}">
                <adec:decorative xmlns:adec="http://schemas.microsoft.com/office/drawing/2017/decorative" val="1"/>
              </a:ext>
            </a:extLst>
          </p:cNvPr>
          <p:cNvSpPr/>
          <p:nvPr userDrawn="1"/>
        </p:nvSpPr>
        <p:spPr>
          <a:xfrm>
            <a:off x="2055733" y="0"/>
            <a:ext cx="10136268" cy="6858000"/>
          </a:xfrm>
          <a:custGeom>
            <a:avLst/>
            <a:gdLst>
              <a:gd name="connsiteX0" fmla="*/ 0 w 10136268"/>
              <a:gd name="connsiteY0" fmla="*/ 0 h 6858000"/>
              <a:gd name="connsiteX1" fmla="*/ 10136268 w 10136268"/>
              <a:gd name="connsiteY1" fmla="*/ 0 h 6858000"/>
              <a:gd name="connsiteX2" fmla="*/ 10136268 w 10136268"/>
              <a:gd name="connsiteY2" fmla="*/ 6858000 h 6858000"/>
              <a:gd name="connsiteX3" fmla="*/ 0 w 10136268"/>
              <a:gd name="connsiteY3" fmla="*/ 6858000 h 6858000"/>
              <a:gd name="connsiteX4" fmla="*/ 1942145 w 10136268"/>
              <a:gd name="connsiteY4" fmla="*/ 3429004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36268" h="6858000">
                <a:moveTo>
                  <a:pt x="0" y="0"/>
                </a:moveTo>
                <a:lnTo>
                  <a:pt x="10136268" y="0"/>
                </a:lnTo>
                <a:lnTo>
                  <a:pt x="10136268" y="6858000"/>
                </a:lnTo>
                <a:lnTo>
                  <a:pt x="0" y="6858000"/>
                </a:lnTo>
                <a:lnTo>
                  <a:pt x="1942145" y="3429004"/>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Forever Forma Body Text" pitchFamily="2" charset="0"/>
            </a:endParaRPr>
          </a:p>
        </p:txBody>
      </p:sp>
      <p:sp>
        <p:nvSpPr>
          <p:cNvPr id="4" name="Slide Number Placeholder 3">
            <a:extLst>
              <a:ext uri="{FF2B5EF4-FFF2-40B4-BE49-F238E27FC236}">
                <a16:creationId xmlns:a16="http://schemas.microsoft.com/office/drawing/2014/main" id="{A9F40096-D548-3E3A-1132-E6A716C6E5EB}"/>
              </a:ext>
              <a:ext uri="{C183D7F6-B498-43B3-948B-1728B52AA6E4}">
                <adec:decorative xmlns:adec="http://schemas.microsoft.com/office/drawing/2017/decorative" val="1"/>
              </a:ext>
            </a:extLst>
          </p:cNvPr>
          <p:cNvSpPr>
            <a:spLocks noGrp="1"/>
          </p:cNvSpPr>
          <p:nvPr>
            <p:ph type="sldNum" sz="quarter" idx="14"/>
          </p:nvPr>
        </p:nvSpPr>
        <p:spPr/>
        <p:txBody>
          <a:bodyPr/>
          <a:lstStyle>
            <a:lvl1pPr>
              <a:defRPr>
                <a:solidFill>
                  <a:schemeClr val="bg1"/>
                </a:solidFill>
              </a:defRPr>
            </a:lvl1pPr>
          </a:lstStyle>
          <a:p>
            <a:fld id="{1C1606C5-D483-4832-A0E9-CF578A9B5883}" type="slidenum">
              <a:rPr lang="en-US" smtClean="0"/>
              <a:pPr/>
              <a:t>‹#›</a:t>
            </a:fld>
            <a:endParaRPr lang="en-US"/>
          </a:p>
        </p:txBody>
      </p:sp>
      <p:sp>
        <p:nvSpPr>
          <p:cNvPr id="6" name="Title 5">
            <a:extLst>
              <a:ext uri="{FF2B5EF4-FFF2-40B4-BE49-F238E27FC236}">
                <a16:creationId xmlns:a16="http://schemas.microsoft.com/office/drawing/2014/main" id="{B1D6F022-9FE6-4B78-376D-BEF1357BC212}"/>
              </a:ext>
            </a:extLst>
          </p:cNvPr>
          <p:cNvSpPr>
            <a:spLocks noGrp="1"/>
          </p:cNvSpPr>
          <p:nvPr>
            <p:ph type="title"/>
          </p:nvPr>
        </p:nvSpPr>
        <p:spPr>
          <a:xfrm>
            <a:off x="521208" y="1269000"/>
            <a:ext cx="2334792" cy="4320000"/>
          </a:xfrm>
          <a:prstGeom prst="rect">
            <a:avLst/>
          </a:prstGeom>
        </p:spPr>
        <p:txBody>
          <a:bodyPr anchor="ctr" anchorCtr="0"/>
          <a:lstStyle>
            <a:lvl1pPr>
              <a:defRPr>
                <a:solidFill>
                  <a:schemeClr val="bg1"/>
                </a:solidFill>
              </a:defRPr>
            </a:lvl1pPr>
          </a:lstStyle>
          <a:p>
            <a:r>
              <a:rPr lang="en-US"/>
              <a:t>Click to edit Master title style</a:t>
            </a:r>
          </a:p>
        </p:txBody>
      </p:sp>
      <p:pic>
        <p:nvPicPr>
          <p:cNvPr id="7" name="logo sm">
            <a:extLst>
              <a:ext uri="{FF2B5EF4-FFF2-40B4-BE49-F238E27FC236}">
                <a16:creationId xmlns:a16="http://schemas.microsoft.com/office/drawing/2014/main" id="{28D7AC3D-2975-E7EA-5B9D-10CBB4960CC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799200" y="6053050"/>
            <a:ext cx="2138400" cy="804950"/>
          </a:xfrm>
          <a:prstGeom prst="rect">
            <a:avLst/>
          </a:prstGeom>
        </p:spPr>
      </p:pic>
      <p:sp>
        <p:nvSpPr>
          <p:cNvPr id="9" name="footnotes">
            <a:extLst>
              <a:ext uri="{FF2B5EF4-FFF2-40B4-BE49-F238E27FC236}">
                <a16:creationId xmlns:a16="http://schemas.microsoft.com/office/drawing/2014/main" id="{5B2B67AD-5AC8-419A-0C30-56DF9D6B8391}"/>
              </a:ext>
            </a:extLst>
          </p:cNvPr>
          <p:cNvSpPr>
            <a:spLocks noGrp="1"/>
          </p:cNvSpPr>
          <p:nvPr>
            <p:ph type="body" sz="quarter" idx="17" hasCustomPrompt="1"/>
          </p:nvPr>
        </p:nvSpPr>
        <p:spPr>
          <a:xfrm>
            <a:off x="3935999" y="6049950"/>
            <a:ext cx="5863201"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2" name="Group 1">
            <a:extLst>
              <a:ext uri="{FF2B5EF4-FFF2-40B4-BE49-F238E27FC236}">
                <a16:creationId xmlns:a16="http://schemas.microsoft.com/office/drawing/2014/main" id="{D6F0783A-8E0E-894F-0882-B72C0A7B0271}"/>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3" name="Content Placeholder 15">
              <a:extLst>
                <a:ext uri="{FF2B5EF4-FFF2-40B4-BE49-F238E27FC236}">
                  <a16:creationId xmlns:a16="http://schemas.microsoft.com/office/drawing/2014/main" id="{6D1ED4AD-B2EF-39F0-97AA-3B57C6EA4BAA}"/>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8" name="TextBox 7">
              <a:extLst>
                <a:ext uri="{FF2B5EF4-FFF2-40B4-BE49-F238E27FC236}">
                  <a16:creationId xmlns:a16="http://schemas.microsoft.com/office/drawing/2014/main" id="{F34023A3-851D-DC72-AE6D-9C2A10F18189}"/>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dark background)</a:t>
              </a:r>
            </a:p>
            <a:p>
              <a:pPr algn="l">
                <a:buNone/>
              </a:pPr>
              <a:endParaRPr lang="en-US" sz="1200" kern="100" spc="-30"/>
            </a:p>
          </p:txBody>
        </p:sp>
        <p:pic>
          <p:nvPicPr>
            <p:cNvPr id="11" name="Picture 10" descr="A screenshot of a color chart&#10;&#10;Description automatically generated">
              <a:extLst>
                <a:ext uri="{FF2B5EF4-FFF2-40B4-BE49-F238E27FC236}">
                  <a16:creationId xmlns:a16="http://schemas.microsoft.com/office/drawing/2014/main" id="{BFDF97D7-13CF-DC01-1175-E6091943BEAD}"/>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2" name="Rectangle 11">
              <a:extLst>
                <a:ext uri="{FF2B5EF4-FFF2-40B4-BE49-F238E27FC236}">
                  <a16:creationId xmlns:a16="http://schemas.microsoft.com/office/drawing/2014/main" id="{02975CA3-2087-74EC-1819-A58E1B24EA95}"/>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538DBD3-235B-6DB1-6E62-7145C624AEBA}"/>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 name="Group 13">
              <a:extLst>
                <a:ext uri="{FF2B5EF4-FFF2-40B4-BE49-F238E27FC236}">
                  <a16:creationId xmlns:a16="http://schemas.microsoft.com/office/drawing/2014/main" id="{EFBD5287-A671-E82A-7489-111979DE3A90}"/>
                </a:ext>
              </a:extLst>
            </p:cNvPr>
            <p:cNvGrpSpPr/>
            <p:nvPr userDrawn="1"/>
          </p:nvGrpSpPr>
          <p:grpSpPr>
            <a:xfrm>
              <a:off x="-2740233" y="3819615"/>
              <a:ext cx="2254459" cy="2600236"/>
              <a:chOff x="-3323173" y="3918039"/>
              <a:chExt cx="2815981" cy="3247881"/>
            </a:xfrm>
          </p:grpSpPr>
          <p:sp>
            <p:nvSpPr>
              <p:cNvPr id="17" name="Rectangle 16">
                <a:extLst>
                  <a:ext uri="{FF2B5EF4-FFF2-40B4-BE49-F238E27FC236}">
                    <a16:creationId xmlns:a16="http://schemas.microsoft.com/office/drawing/2014/main" id="{45A4E993-55B3-2D85-0F5B-1EB14C9B2F72}"/>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8" name="Rectangle 17">
                <a:extLst>
                  <a:ext uri="{FF2B5EF4-FFF2-40B4-BE49-F238E27FC236}">
                    <a16:creationId xmlns:a16="http://schemas.microsoft.com/office/drawing/2014/main" id="{19627226-4D85-895D-4413-69CA735D1E5B}"/>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9" name="Rectangle 18">
                <a:extLst>
                  <a:ext uri="{FF2B5EF4-FFF2-40B4-BE49-F238E27FC236}">
                    <a16:creationId xmlns:a16="http://schemas.microsoft.com/office/drawing/2014/main" id="{1D613096-FA07-5F7E-9D19-969CED9FD3CC}"/>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0" name="TextBox 19">
                <a:extLst>
                  <a:ext uri="{FF2B5EF4-FFF2-40B4-BE49-F238E27FC236}">
                    <a16:creationId xmlns:a16="http://schemas.microsoft.com/office/drawing/2014/main" id="{08D3DFA4-8F3D-53AD-5E5B-09C20B94D76D}"/>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Dark Background Colors</a:t>
                </a:r>
              </a:p>
            </p:txBody>
          </p:sp>
          <p:sp>
            <p:nvSpPr>
              <p:cNvPr id="21" name="Right Brace 20">
                <a:extLst>
                  <a:ext uri="{FF2B5EF4-FFF2-40B4-BE49-F238E27FC236}">
                    <a16:creationId xmlns:a16="http://schemas.microsoft.com/office/drawing/2014/main" id="{5A0FDA22-890F-D83B-BB4A-398A6C90EFE8}"/>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2" name="Rectangle 21">
                <a:extLst>
                  <a:ext uri="{FF2B5EF4-FFF2-40B4-BE49-F238E27FC236}">
                    <a16:creationId xmlns:a16="http://schemas.microsoft.com/office/drawing/2014/main" id="{A64520B5-1BEA-A087-6671-AF5F211EB1B5}"/>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5" name="Picture 14">
              <a:extLst>
                <a:ext uri="{FF2B5EF4-FFF2-40B4-BE49-F238E27FC236}">
                  <a16:creationId xmlns:a16="http://schemas.microsoft.com/office/drawing/2014/main" id="{E3CC9806-9838-E6FF-13D9-58286770BFD8}"/>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16" name="Picture 15">
              <a:extLst>
                <a:ext uri="{FF2B5EF4-FFF2-40B4-BE49-F238E27FC236}">
                  <a16:creationId xmlns:a16="http://schemas.microsoft.com/office/drawing/2014/main" id="{F3103CFE-58F8-FFF7-D64C-1254FC330E6C}"/>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
        <p:nvSpPr>
          <p:cNvPr id="23" name="Text Placeholder 7">
            <a:extLst>
              <a:ext uri="{FF2B5EF4-FFF2-40B4-BE49-F238E27FC236}">
                <a16:creationId xmlns:a16="http://schemas.microsoft.com/office/drawing/2014/main" id="{05F3A76C-A12D-376F-0C33-23753A7300EA}"/>
              </a:ext>
            </a:extLst>
          </p:cNvPr>
          <p:cNvSpPr>
            <a:spLocks noGrp="1"/>
          </p:cNvSpPr>
          <p:nvPr>
            <p:ph type="body" sz="quarter" idx="32" hasCustomPrompt="1"/>
          </p:nvPr>
        </p:nvSpPr>
        <p:spPr>
          <a:xfrm>
            <a:off x="10836865" y="246565"/>
            <a:ext cx="1014771" cy="298870"/>
          </a:xfrm>
          <a:prstGeom prst="rect">
            <a:avLst/>
          </a:prstGeom>
          <a:solidFill>
            <a:srgbClr val="1D2550"/>
          </a:solidFill>
        </p:spPr>
        <p:txBody>
          <a:bodyPr wrap="none" lIns="75600" tIns="75600" rIns="75600" bIns="75600" anchor="t"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4190702323"/>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think-cell data - do not delete">
            <a:extLst>
              <a:ext uri="{FF2B5EF4-FFF2-40B4-BE49-F238E27FC236}">
                <a16:creationId xmlns:a16="http://schemas.microsoft.com/office/drawing/2014/main" id="{B3E3C8DB-3479-AE98-A7B7-5DAFDCAE7C15}"/>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1459476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think-cell data - do not delete">
                        <a:extLst>
                          <a:ext uri="{FF2B5EF4-FFF2-40B4-BE49-F238E27FC236}">
                            <a16:creationId xmlns:a16="http://schemas.microsoft.com/office/drawing/2014/main" id="{B3E3C8DB-3479-AE98-A7B7-5DAFDCAE7C15}"/>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B44540-BD69-8598-9011-2ADF437DAC6E}"/>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A9C59A75-5D68-1E40-38BC-0B52954932CF}"/>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7" name="footnotes">
            <a:extLst>
              <a:ext uri="{FF2B5EF4-FFF2-40B4-BE49-F238E27FC236}">
                <a16:creationId xmlns:a16="http://schemas.microsoft.com/office/drawing/2014/main" id="{2C70A52D-C8AD-7144-89D2-0C4737A0145C}"/>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8" name="Text Placeholder 7">
            <a:extLst>
              <a:ext uri="{FF2B5EF4-FFF2-40B4-BE49-F238E27FC236}">
                <a16:creationId xmlns:a16="http://schemas.microsoft.com/office/drawing/2014/main" id="{217F1675-0580-1A45-9882-B1BF08221E26}"/>
              </a:ext>
            </a:extLst>
          </p:cNvPr>
          <p:cNvSpPr>
            <a:spLocks noGrp="1"/>
          </p:cNvSpPr>
          <p:nvPr>
            <p:ph type="body" sz="quarter" idx="19"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396943294"/>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graphicFrame>
        <p:nvGraphicFramePr>
          <p:cNvPr id="4" name="think-cell data - do not delete">
            <a:extLst>
              <a:ext uri="{FF2B5EF4-FFF2-40B4-BE49-F238E27FC236}">
                <a16:creationId xmlns:a16="http://schemas.microsoft.com/office/drawing/2014/main" id="{25F823D4-734A-C8DD-8496-79009477396D}"/>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772431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think-cell data - do not delete">
                        <a:extLst>
                          <a:ext uri="{FF2B5EF4-FFF2-40B4-BE49-F238E27FC236}">
                            <a16:creationId xmlns:a16="http://schemas.microsoft.com/office/drawing/2014/main" id="{25F823D4-734A-C8DD-8496-79009477396D}"/>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B44540-BD69-8598-9011-2ADF437DAC6E}"/>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3" name="Subtitle 2">
            <a:extLst>
              <a:ext uri="{FF2B5EF4-FFF2-40B4-BE49-F238E27FC236}">
                <a16:creationId xmlns:a16="http://schemas.microsoft.com/office/drawing/2014/main" id="{BAA0F187-73A7-1BDF-0558-084D178076E4}"/>
              </a:ext>
            </a:extLst>
          </p:cNvPr>
          <p:cNvSpPr>
            <a:spLocks noGrp="1"/>
          </p:cNvSpPr>
          <p:nvPr>
            <p:ph type="body" sz="quarter" idx="16" hasCustomPrompt="1"/>
          </p:nvPr>
        </p:nvSpPr>
        <p:spPr>
          <a:xfrm>
            <a:off x="521208" y="1270518"/>
            <a:ext cx="11149580"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5" name="Slide Number Placeholder 4">
            <a:extLst>
              <a:ext uri="{FF2B5EF4-FFF2-40B4-BE49-F238E27FC236}">
                <a16:creationId xmlns:a16="http://schemas.microsoft.com/office/drawing/2014/main" id="{A9C59A75-5D68-1E40-38BC-0B52954932CF}"/>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9" name="footnotes">
            <a:extLst>
              <a:ext uri="{FF2B5EF4-FFF2-40B4-BE49-F238E27FC236}">
                <a16:creationId xmlns:a16="http://schemas.microsoft.com/office/drawing/2014/main" id="{90C4B525-3D33-5741-981D-249E7AA365D3}"/>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0" name="Text Placeholder 7">
            <a:extLst>
              <a:ext uri="{FF2B5EF4-FFF2-40B4-BE49-F238E27FC236}">
                <a16:creationId xmlns:a16="http://schemas.microsoft.com/office/drawing/2014/main" id="{635B731F-2C5B-2D46-8B16-97D28F3EF94A}"/>
              </a:ext>
            </a:extLst>
          </p:cNvPr>
          <p:cNvSpPr>
            <a:spLocks noGrp="1"/>
          </p:cNvSpPr>
          <p:nvPr>
            <p:ph type="body" sz="quarter" idx="19"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1848215731"/>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4" name="think-cell data - do not delete">
            <a:extLst>
              <a:ext uri="{FF2B5EF4-FFF2-40B4-BE49-F238E27FC236}">
                <a16:creationId xmlns:a16="http://schemas.microsoft.com/office/drawing/2014/main" id="{1A05214F-878C-FF78-65EF-DA2F1298659E}"/>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772431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think-cell data - do not delete">
                        <a:extLst>
                          <a:ext uri="{FF2B5EF4-FFF2-40B4-BE49-F238E27FC236}">
                            <a16:creationId xmlns:a16="http://schemas.microsoft.com/office/drawing/2014/main" id="{1A05214F-878C-FF78-65EF-DA2F1298659E}"/>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AD2B48C-2466-076C-80B3-A6DE83135308}"/>
              </a:ext>
              <a:ext uri="{C183D7F6-B498-43B3-948B-1728B52AA6E4}">
                <adec:decorative xmlns:adec="http://schemas.microsoft.com/office/drawing/2017/decorative" val="0"/>
              </a:ext>
            </a:extLst>
          </p:cNvPr>
          <p:cNvSpPr>
            <a:spLocks noGrp="1"/>
          </p:cNvSpPr>
          <p:nvPr>
            <p:ph type="title"/>
          </p:nvPr>
        </p:nvSpPr>
        <p:spPr>
          <a:xfrm>
            <a:off x="1460499" y="-467833"/>
            <a:ext cx="10223499" cy="432000"/>
          </a:xfrm>
          <a:prstGeom prst="rect">
            <a:avLst/>
          </a:prstGeom>
        </p:spPr>
        <p:txBody>
          <a:bodyPr/>
          <a:lstStyle>
            <a:lvl1pPr>
              <a:defRPr sz="1800"/>
            </a:lvl1pPr>
          </a:lstStyle>
          <a:p>
            <a:r>
              <a:rPr lang="en-US"/>
              <a:t>Click to edit Master title style</a:t>
            </a:r>
          </a:p>
        </p:txBody>
      </p:sp>
      <p:sp>
        <p:nvSpPr>
          <p:cNvPr id="3" name="TextBox 2">
            <a:extLst>
              <a:ext uri="{FF2B5EF4-FFF2-40B4-BE49-F238E27FC236}">
                <a16:creationId xmlns:a16="http://schemas.microsoft.com/office/drawing/2014/main" id="{0FEC182F-8D48-3026-24D1-81577AE0215B}"/>
              </a:ext>
              <a:ext uri="{C183D7F6-B498-43B3-948B-1728B52AA6E4}">
                <adec:decorative xmlns:adec="http://schemas.microsoft.com/office/drawing/2017/decorative" val="1"/>
              </a:ext>
            </a:extLst>
          </p:cNvPr>
          <p:cNvSpPr txBox="1"/>
          <p:nvPr userDrawn="1"/>
        </p:nvSpPr>
        <p:spPr>
          <a:xfrm>
            <a:off x="0" y="-457400"/>
            <a:ext cx="1344000" cy="432000"/>
          </a:xfrm>
          <a:prstGeom prst="rect">
            <a:avLst/>
          </a:prstGeom>
          <a:noFill/>
        </p:spPr>
        <p:txBody>
          <a:bodyPr wrap="square" lIns="0" tIns="0" rIns="0" bIns="0" rtlCol="0">
            <a:noAutofit/>
          </a:bodyPr>
          <a:lstStyle/>
          <a:p>
            <a:pPr algn="l"/>
            <a:r>
              <a:rPr lang="en-US" sz="1200" b="0" i="0" kern="100" spc="-30">
                <a:latin typeface="Forever Forma Body Text" pitchFamily="2" charset="0"/>
              </a:rPr>
              <a:t>Title required for WCAG accessibility</a:t>
            </a:r>
          </a:p>
        </p:txBody>
      </p:sp>
      <p:sp>
        <p:nvSpPr>
          <p:cNvPr id="6" name="Slide Number Placeholder 5">
            <a:extLst>
              <a:ext uri="{FF2B5EF4-FFF2-40B4-BE49-F238E27FC236}">
                <a16:creationId xmlns:a16="http://schemas.microsoft.com/office/drawing/2014/main" id="{0DCB6134-1B10-2649-C015-2FC1F5370A08}"/>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9" name="footnotes">
            <a:extLst>
              <a:ext uri="{FF2B5EF4-FFF2-40B4-BE49-F238E27FC236}">
                <a16:creationId xmlns:a16="http://schemas.microsoft.com/office/drawing/2014/main" id="{DC81E0BE-C4ED-4A4B-A6FB-EF0D1A70A54A}"/>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0" name="Text Placeholder 7">
            <a:extLst>
              <a:ext uri="{FF2B5EF4-FFF2-40B4-BE49-F238E27FC236}">
                <a16:creationId xmlns:a16="http://schemas.microsoft.com/office/drawing/2014/main" id="{02BC7B52-1634-1B41-9C79-D4408578C608}"/>
              </a:ext>
            </a:extLst>
          </p:cNvPr>
          <p:cNvSpPr>
            <a:spLocks noGrp="1"/>
          </p:cNvSpPr>
          <p:nvPr>
            <p:ph type="body" sz="quarter" idx="19"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4021930642"/>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7DB518AD-5057-EF28-0A48-FAB23085412D}"/>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1623315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7DB518AD-5057-EF28-0A48-FAB23085412D}"/>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tle 12">
            <a:extLst>
              <a:ext uri="{FF2B5EF4-FFF2-40B4-BE49-F238E27FC236}">
                <a16:creationId xmlns:a16="http://schemas.microsoft.com/office/drawing/2014/main" id="{7F2B9C43-1D6F-7726-1CCE-0D1CE63CD27C}"/>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45" name="Media Placeholder 44">
            <a:extLst>
              <a:ext uri="{FF2B5EF4-FFF2-40B4-BE49-F238E27FC236}">
                <a16:creationId xmlns:a16="http://schemas.microsoft.com/office/drawing/2014/main" id="{FA45BFB3-67FB-D56E-F7EC-9EE4E9B366AA}"/>
              </a:ext>
            </a:extLst>
          </p:cNvPr>
          <p:cNvSpPr>
            <a:spLocks noGrp="1" noChangeAspect="1"/>
          </p:cNvSpPr>
          <p:nvPr>
            <p:ph type="media" sz="quarter" idx="11"/>
          </p:nvPr>
        </p:nvSpPr>
        <p:spPr>
          <a:xfrm>
            <a:off x="1812000" y="1304505"/>
            <a:ext cx="8568000" cy="47480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87E3522D-3F13-D300-F157-0D51CB0A292C}"/>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8" name="footnotes">
            <a:extLst>
              <a:ext uri="{FF2B5EF4-FFF2-40B4-BE49-F238E27FC236}">
                <a16:creationId xmlns:a16="http://schemas.microsoft.com/office/drawing/2014/main" id="{7128FFBF-7D4D-A340-A31F-00005D700840}"/>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9" name="Text Placeholder 7">
            <a:extLst>
              <a:ext uri="{FF2B5EF4-FFF2-40B4-BE49-F238E27FC236}">
                <a16:creationId xmlns:a16="http://schemas.microsoft.com/office/drawing/2014/main" id="{DD9ED058-9499-AE48-A5FE-87B8BE92C139}"/>
              </a:ext>
            </a:extLst>
          </p:cNvPr>
          <p:cNvSpPr>
            <a:spLocks noGrp="1"/>
          </p:cNvSpPr>
          <p:nvPr>
            <p:ph type="body" sz="quarter" idx="19"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462806932"/>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genda - 6 topic - Dark Back - 2 col A">
    <p:bg>
      <p:bgPr>
        <a:solidFill>
          <a:srgbClr val="641EE0"/>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1A0ACED-E331-1403-1DFD-5D1ABE86233A}"/>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607270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think-cell data - do not delete" hidden="1">
                        <a:extLst>
                          <a:ext uri="{FF2B5EF4-FFF2-40B4-BE49-F238E27FC236}">
                            <a16:creationId xmlns:a16="http://schemas.microsoft.com/office/drawing/2014/main" id="{F1A0ACED-E331-1403-1DFD-5D1ABE86233A}"/>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hape">
            <a:extLst>
              <a:ext uri="{FF2B5EF4-FFF2-40B4-BE49-F238E27FC236}">
                <a16:creationId xmlns:a16="http://schemas.microsoft.com/office/drawing/2014/main" id="{20FF496D-74BD-D90E-B686-EB8C1EC6E0BC}"/>
              </a:ext>
              <a:ext uri="{C183D7F6-B498-43B3-948B-1728B52AA6E4}">
                <adec:decorative xmlns:adec="http://schemas.microsoft.com/office/drawing/2017/decorative" val="1"/>
              </a:ext>
            </a:extLst>
          </p:cNvPr>
          <p:cNvSpPr/>
          <p:nvPr userDrawn="1"/>
        </p:nvSpPr>
        <p:spPr>
          <a:xfrm>
            <a:off x="1588168" y="0"/>
            <a:ext cx="10603833" cy="6858000"/>
          </a:xfrm>
          <a:custGeom>
            <a:avLst/>
            <a:gdLst>
              <a:gd name="connsiteX0" fmla="*/ 0 w 11988799"/>
              <a:gd name="connsiteY0" fmla="*/ 0 h 6858000"/>
              <a:gd name="connsiteX1" fmla="*/ 11988799 w 11988799"/>
              <a:gd name="connsiteY1" fmla="*/ 0 h 6858000"/>
              <a:gd name="connsiteX2" fmla="*/ 11988799 w 11988799"/>
              <a:gd name="connsiteY2" fmla="*/ 6858000 h 6858000"/>
              <a:gd name="connsiteX3" fmla="*/ 1406333 w 11988799"/>
              <a:gd name="connsiteY3" fmla="*/ 6858000 h 6858000"/>
              <a:gd name="connsiteX4" fmla="*/ 3820073 w 11988799"/>
              <a:gd name="connsiteY4" fmla="*/ 5548121 h 6858000"/>
              <a:gd name="connsiteX5" fmla="*/ 4742124 w 11988799"/>
              <a:gd name="connsiteY5" fmla="*/ 3428998 h 6858000"/>
              <a:gd name="connsiteX6" fmla="*/ 3820073 w 11988799"/>
              <a:gd name="connsiteY6" fmla="*/ 1309879 h 6858000"/>
              <a:gd name="connsiteX7" fmla="*/ 1406333 w 11988799"/>
              <a:gd name="connsiteY7" fmla="*/ 1 h 6858000"/>
              <a:gd name="connsiteX8" fmla="*/ 0 w 11988799"/>
              <a:gd name="connsiteY8" fmla="*/ 1 h 6858000"/>
              <a:gd name="connsiteX0" fmla="*/ 0 w 11988799"/>
              <a:gd name="connsiteY0" fmla="*/ 1 h 6858000"/>
              <a:gd name="connsiteX1" fmla="*/ 11988799 w 11988799"/>
              <a:gd name="connsiteY1" fmla="*/ 0 h 6858000"/>
              <a:gd name="connsiteX2" fmla="*/ 11988799 w 11988799"/>
              <a:gd name="connsiteY2" fmla="*/ 6858000 h 6858000"/>
              <a:gd name="connsiteX3" fmla="*/ 1406333 w 11988799"/>
              <a:gd name="connsiteY3" fmla="*/ 6858000 h 6858000"/>
              <a:gd name="connsiteX4" fmla="*/ 3820073 w 11988799"/>
              <a:gd name="connsiteY4" fmla="*/ 5548121 h 6858000"/>
              <a:gd name="connsiteX5" fmla="*/ 4742124 w 11988799"/>
              <a:gd name="connsiteY5" fmla="*/ 3428998 h 6858000"/>
              <a:gd name="connsiteX6" fmla="*/ 3820073 w 11988799"/>
              <a:gd name="connsiteY6" fmla="*/ 1309879 h 6858000"/>
              <a:gd name="connsiteX7" fmla="*/ 1406333 w 11988799"/>
              <a:gd name="connsiteY7" fmla="*/ 1 h 6858000"/>
              <a:gd name="connsiteX8" fmla="*/ 0 w 11988799"/>
              <a:gd name="connsiteY8" fmla="*/ 1 h 6858000"/>
              <a:gd name="connsiteX0" fmla="*/ 0 w 10582466"/>
              <a:gd name="connsiteY0" fmla="*/ 1 h 6858000"/>
              <a:gd name="connsiteX1" fmla="*/ 10582466 w 10582466"/>
              <a:gd name="connsiteY1" fmla="*/ 0 h 6858000"/>
              <a:gd name="connsiteX2" fmla="*/ 10582466 w 10582466"/>
              <a:gd name="connsiteY2" fmla="*/ 6858000 h 6858000"/>
              <a:gd name="connsiteX3" fmla="*/ 0 w 10582466"/>
              <a:gd name="connsiteY3" fmla="*/ 6858000 h 6858000"/>
              <a:gd name="connsiteX4" fmla="*/ 2413740 w 10582466"/>
              <a:gd name="connsiteY4" fmla="*/ 5548121 h 6858000"/>
              <a:gd name="connsiteX5" fmla="*/ 3335791 w 10582466"/>
              <a:gd name="connsiteY5" fmla="*/ 3428998 h 6858000"/>
              <a:gd name="connsiteX6" fmla="*/ 2413740 w 10582466"/>
              <a:gd name="connsiteY6" fmla="*/ 1309879 h 6858000"/>
              <a:gd name="connsiteX7" fmla="*/ 0 w 10582466"/>
              <a:gd name="connsiteY7"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82466" h="6858000">
                <a:moveTo>
                  <a:pt x="0" y="1"/>
                </a:moveTo>
                <a:lnTo>
                  <a:pt x="10582466" y="0"/>
                </a:lnTo>
                <a:lnTo>
                  <a:pt x="10582466" y="6858000"/>
                </a:lnTo>
                <a:lnTo>
                  <a:pt x="0" y="6858000"/>
                </a:lnTo>
                <a:lnTo>
                  <a:pt x="2413740" y="5548121"/>
                </a:lnTo>
                <a:lnTo>
                  <a:pt x="3335791" y="3428998"/>
                </a:lnTo>
                <a:lnTo>
                  <a:pt x="2413740" y="1309879"/>
                </a:lnTo>
                <a:lnTo>
                  <a:pt x="0" y="1"/>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Forever Forma Body Text" pitchFamily="2" charset="0"/>
            </a:endParaRPr>
          </a:p>
        </p:txBody>
      </p:sp>
      <p:pic>
        <p:nvPicPr>
          <p:cNvPr id="5" name="logo sm" descr="Transamerica Logo">
            <a:extLst>
              <a:ext uri="{FF2B5EF4-FFF2-40B4-BE49-F238E27FC236}">
                <a16:creationId xmlns:a16="http://schemas.microsoft.com/office/drawing/2014/main" id="{59EE7B51-2446-324A-F738-0EDB40BE281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840000" y="6053050"/>
            <a:ext cx="2138400" cy="804950"/>
          </a:xfrm>
          <a:prstGeom prst="rect">
            <a:avLst/>
          </a:prstGeom>
        </p:spPr>
      </p:pic>
      <p:sp>
        <p:nvSpPr>
          <p:cNvPr id="25" name="Title 24">
            <a:extLst>
              <a:ext uri="{FF2B5EF4-FFF2-40B4-BE49-F238E27FC236}">
                <a16:creationId xmlns:a16="http://schemas.microsoft.com/office/drawing/2014/main" id="{99A5A441-BF53-89AB-0EF7-C5C4DBC8D2CB}"/>
              </a:ext>
            </a:extLst>
          </p:cNvPr>
          <p:cNvSpPr>
            <a:spLocks noGrp="1"/>
          </p:cNvSpPr>
          <p:nvPr>
            <p:ph type="title"/>
          </p:nvPr>
        </p:nvSpPr>
        <p:spPr>
          <a:xfrm>
            <a:off x="521208" y="1989000"/>
            <a:ext cx="3486792" cy="2880000"/>
          </a:xfrm>
          <a:prstGeom prst="rect">
            <a:avLst/>
          </a:prstGeom>
        </p:spPr>
        <p:txBody>
          <a:bodyPr anchor="ctr" anchorCtr="0"/>
          <a:lstStyle>
            <a:lvl1pPr>
              <a:defRPr>
                <a:solidFill>
                  <a:schemeClr val="bg1"/>
                </a:solidFill>
              </a:defRPr>
            </a:lvl1pPr>
          </a:lstStyle>
          <a:p>
            <a:r>
              <a:rPr lang="en-US"/>
              <a:t>Click to edit Master title style</a:t>
            </a:r>
          </a:p>
        </p:txBody>
      </p:sp>
      <p:sp>
        <p:nvSpPr>
          <p:cNvPr id="9" name="Text Placeholder 19">
            <a:extLst>
              <a:ext uri="{FF2B5EF4-FFF2-40B4-BE49-F238E27FC236}">
                <a16:creationId xmlns:a16="http://schemas.microsoft.com/office/drawing/2014/main" id="{7341C52D-490F-1432-1653-501EF401A026}"/>
              </a:ext>
            </a:extLst>
          </p:cNvPr>
          <p:cNvSpPr>
            <a:spLocks noGrp="1"/>
          </p:cNvSpPr>
          <p:nvPr>
            <p:ph type="body" sz="quarter" idx="13" hasCustomPrompt="1"/>
          </p:nvPr>
        </p:nvSpPr>
        <p:spPr>
          <a:xfrm>
            <a:off x="5364000" y="68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2" name="Text Placeholder 21">
            <a:extLst>
              <a:ext uri="{FF2B5EF4-FFF2-40B4-BE49-F238E27FC236}">
                <a16:creationId xmlns:a16="http://schemas.microsoft.com/office/drawing/2014/main" id="{0E215712-819F-2D9E-EA72-3DC5951C570E}"/>
              </a:ext>
            </a:extLst>
          </p:cNvPr>
          <p:cNvSpPr>
            <a:spLocks noGrp="1"/>
          </p:cNvSpPr>
          <p:nvPr>
            <p:ph type="body" sz="quarter" idx="14" hasCustomPrompt="1"/>
          </p:nvPr>
        </p:nvSpPr>
        <p:spPr>
          <a:xfrm>
            <a:off x="5364000" y="1296000"/>
            <a:ext cx="2952000" cy="972000"/>
          </a:xfrm>
          <a:prstGeom prst="rect">
            <a:avLst/>
          </a:prstGeom>
        </p:spPr>
        <p:txBody>
          <a:bodyPr/>
          <a:lstStyle>
            <a:lvl1pPr>
              <a:defRPr/>
            </a:lvl1pPr>
          </a:lstStyle>
          <a:p>
            <a:pPr lvl="0"/>
            <a:r>
              <a:rPr lang="en-US"/>
              <a:t>Agenda topic</a:t>
            </a:r>
          </a:p>
        </p:txBody>
      </p:sp>
      <p:sp>
        <p:nvSpPr>
          <p:cNvPr id="13" name="Text Placeholder 19">
            <a:extLst>
              <a:ext uri="{FF2B5EF4-FFF2-40B4-BE49-F238E27FC236}">
                <a16:creationId xmlns:a16="http://schemas.microsoft.com/office/drawing/2014/main" id="{B43CAF3E-D765-8A25-4BEC-02C5A1FD850E}"/>
              </a:ext>
            </a:extLst>
          </p:cNvPr>
          <p:cNvSpPr>
            <a:spLocks noGrp="1"/>
          </p:cNvSpPr>
          <p:nvPr>
            <p:ph type="body" sz="quarter" idx="15" hasCustomPrompt="1"/>
          </p:nvPr>
        </p:nvSpPr>
        <p:spPr>
          <a:xfrm>
            <a:off x="5364000" y="257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4" name="Text Placeholder 21">
            <a:extLst>
              <a:ext uri="{FF2B5EF4-FFF2-40B4-BE49-F238E27FC236}">
                <a16:creationId xmlns:a16="http://schemas.microsoft.com/office/drawing/2014/main" id="{9FD24BAF-68F2-E28B-790E-7D6F0A5F4EA6}"/>
              </a:ext>
            </a:extLst>
          </p:cNvPr>
          <p:cNvSpPr>
            <a:spLocks noGrp="1"/>
          </p:cNvSpPr>
          <p:nvPr>
            <p:ph type="body" sz="quarter" idx="16" hasCustomPrompt="1"/>
          </p:nvPr>
        </p:nvSpPr>
        <p:spPr>
          <a:xfrm>
            <a:off x="5364000" y="3186000"/>
            <a:ext cx="2952000" cy="972000"/>
          </a:xfrm>
          <a:prstGeom prst="rect">
            <a:avLst/>
          </a:prstGeom>
        </p:spPr>
        <p:txBody>
          <a:bodyPr/>
          <a:lstStyle>
            <a:lvl1pPr>
              <a:defRPr/>
            </a:lvl1pPr>
          </a:lstStyle>
          <a:p>
            <a:pPr lvl="0"/>
            <a:r>
              <a:rPr lang="en-US"/>
              <a:t>Agenda topic</a:t>
            </a:r>
          </a:p>
        </p:txBody>
      </p:sp>
      <p:sp>
        <p:nvSpPr>
          <p:cNvPr id="15" name="Text Placeholder 19">
            <a:extLst>
              <a:ext uri="{FF2B5EF4-FFF2-40B4-BE49-F238E27FC236}">
                <a16:creationId xmlns:a16="http://schemas.microsoft.com/office/drawing/2014/main" id="{98D4B18B-5FE7-79B1-BD85-0B5E78D303FB}"/>
              </a:ext>
            </a:extLst>
          </p:cNvPr>
          <p:cNvSpPr>
            <a:spLocks noGrp="1"/>
          </p:cNvSpPr>
          <p:nvPr>
            <p:ph type="body" sz="quarter" idx="17" hasCustomPrompt="1"/>
          </p:nvPr>
        </p:nvSpPr>
        <p:spPr>
          <a:xfrm>
            <a:off x="5364000" y="446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6" name="Text Placeholder 21">
            <a:extLst>
              <a:ext uri="{FF2B5EF4-FFF2-40B4-BE49-F238E27FC236}">
                <a16:creationId xmlns:a16="http://schemas.microsoft.com/office/drawing/2014/main" id="{C86F4F90-3EF8-6E78-2BE0-F933FFE9A021}"/>
              </a:ext>
            </a:extLst>
          </p:cNvPr>
          <p:cNvSpPr>
            <a:spLocks noGrp="1"/>
          </p:cNvSpPr>
          <p:nvPr>
            <p:ph type="body" sz="quarter" idx="18" hasCustomPrompt="1"/>
          </p:nvPr>
        </p:nvSpPr>
        <p:spPr>
          <a:xfrm>
            <a:off x="5364000" y="5076000"/>
            <a:ext cx="2952000" cy="972000"/>
          </a:xfrm>
          <a:prstGeom prst="rect">
            <a:avLst/>
          </a:prstGeom>
        </p:spPr>
        <p:txBody>
          <a:bodyPr/>
          <a:lstStyle>
            <a:lvl1pPr>
              <a:defRPr/>
            </a:lvl1pPr>
          </a:lstStyle>
          <a:p>
            <a:pPr lvl="0"/>
            <a:r>
              <a:rPr lang="en-US"/>
              <a:t>Agenda topic</a:t>
            </a:r>
          </a:p>
        </p:txBody>
      </p:sp>
      <p:sp>
        <p:nvSpPr>
          <p:cNvPr id="17" name="Text Placeholder 19">
            <a:extLst>
              <a:ext uri="{FF2B5EF4-FFF2-40B4-BE49-F238E27FC236}">
                <a16:creationId xmlns:a16="http://schemas.microsoft.com/office/drawing/2014/main" id="{F9870F8B-0915-7A65-3BAA-83EE3446E806}"/>
              </a:ext>
            </a:extLst>
          </p:cNvPr>
          <p:cNvSpPr>
            <a:spLocks noGrp="1"/>
          </p:cNvSpPr>
          <p:nvPr>
            <p:ph type="body" sz="quarter" idx="19" hasCustomPrompt="1"/>
          </p:nvPr>
        </p:nvSpPr>
        <p:spPr>
          <a:xfrm>
            <a:off x="8718788" y="68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8" name="Text Placeholder 21">
            <a:extLst>
              <a:ext uri="{FF2B5EF4-FFF2-40B4-BE49-F238E27FC236}">
                <a16:creationId xmlns:a16="http://schemas.microsoft.com/office/drawing/2014/main" id="{1E30E7F4-CD4D-A152-1D72-1F0D8ABE17B9}"/>
              </a:ext>
            </a:extLst>
          </p:cNvPr>
          <p:cNvSpPr>
            <a:spLocks noGrp="1"/>
          </p:cNvSpPr>
          <p:nvPr>
            <p:ph type="body" sz="quarter" idx="20" hasCustomPrompt="1"/>
          </p:nvPr>
        </p:nvSpPr>
        <p:spPr>
          <a:xfrm>
            <a:off x="8718788" y="1296000"/>
            <a:ext cx="2952000" cy="972000"/>
          </a:xfrm>
          <a:prstGeom prst="rect">
            <a:avLst/>
          </a:prstGeom>
        </p:spPr>
        <p:txBody>
          <a:bodyPr/>
          <a:lstStyle>
            <a:lvl1pPr>
              <a:defRPr/>
            </a:lvl1pPr>
          </a:lstStyle>
          <a:p>
            <a:pPr lvl="0"/>
            <a:r>
              <a:rPr lang="en-US"/>
              <a:t>Agenda topic</a:t>
            </a:r>
          </a:p>
        </p:txBody>
      </p:sp>
      <p:sp>
        <p:nvSpPr>
          <p:cNvPr id="19" name="Text Placeholder 19">
            <a:extLst>
              <a:ext uri="{FF2B5EF4-FFF2-40B4-BE49-F238E27FC236}">
                <a16:creationId xmlns:a16="http://schemas.microsoft.com/office/drawing/2014/main" id="{F25BFA45-C130-F0AB-AA11-784D4F62219D}"/>
              </a:ext>
            </a:extLst>
          </p:cNvPr>
          <p:cNvSpPr>
            <a:spLocks noGrp="1"/>
          </p:cNvSpPr>
          <p:nvPr>
            <p:ph type="body" sz="quarter" idx="21" hasCustomPrompt="1"/>
          </p:nvPr>
        </p:nvSpPr>
        <p:spPr>
          <a:xfrm>
            <a:off x="8718788" y="257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21" name="Text Placeholder 21">
            <a:extLst>
              <a:ext uri="{FF2B5EF4-FFF2-40B4-BE49-F238E27FC236}">
                <a16:creationId xmlns:a16="http://schemas.microsoft.com/office/drawing/2014/main" id="{1421A988-A0D7-014D-AC35-35B80B0FD92A}"/>
              </a:ext>
            </a:extLst>
          </p:cNvPr>
          <p:cNvSpPr>
            <a:spLocks noGrp="1"/>
          </p:cNvSpPr>
          <p:nvPr>
            <p:ph type="body" sz="quarter" idx="22" hasCustomPrompt="1"/>
          </p:nvPr>
        </p:nvSpPr>
        <p:spPr>
          <a:xfrm>
            <a:off x="8718788" y="3186000"/>
            <a:ext cx="2952000" cy="972000"/>
          </a:xfrm>
          <a:prstGeom prst="rect">
            <a:avLst/>
          </a:prstGeom>
        </p:spPr>
        <p:txBody>
          <a:bodyPr/>
          <a:lstStyle>
            <a:lvl1pPr>
              <a:defRPr/>
            </a:lvl1pPr>
          </a:lstStyle>
          <a:p>
            <a:pPr lvl="0"/>
            <a:r>
              <a:rPr lang="en-US"/>
              <a:t>Agenda topic</a:t>
            </a:r>
          </a:p>
        </p:txBody>
      </p:sp>
      <p:sp>
        <p:nvSpPr>
          <p:cNvPr id="23" name="Text Placeholder 19">
            <a:extLst>
              <a:ext uri="{FF2B5EF4-FFF2-40B4-BE49-F238E27FC236}">
                <a16:creationId xmlns:a16="http://schemas.microsoft.com/office/drawing/2014/main" id="{9734DE0C-AD30-1996-B4A5-6EE4399CE814}"/>
              </a:ext>
            </a:extLst>
          </p:cNvPr>
          <p:cNvSpPr>
            <a:spLocks noGrp="1"/>
          </p:cNvSpPr>
          <p:nvPr>
            <p:ph type="body" sz="quarter" idx="23" hasCustomPrompt="1"/>
          </p:nvPr>
        </p:nvSpPr>
        <p:spPr>
          <a:xfrm>
            <a:off x="8718788" y="446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24" name="Text Placeholder 21">
            <a:extLst>
              <a:ext uri="{FF2B5EF4-FFF2-40B4-BE49-F238E27FC236}">
                <a16:creationId xmlns:a16="http://schemas.microsoft.com/office/drawing/2014/main" id="{5D7EF3CF-1F48-BE4F-D625-4D90E45F60A5}"/>
              </a:ext>
            </a:extLst>
          </p:cNvPr>
          <p:cNvSpPr>
            <a:spLocks noGrp="1"/>
          </p:cNvSpPr>
          <p:nvPr>
            <p:ph type="body" sz="quarter" idx="24" hasCustomPrompt="1"/>
          </p:nvPr>
        </p:nvSpPr>
        <p:spPr>
          <a:xfrm>
            <a:off x="8718788" y="5076000"/>
            <a:ext cx="2952000" cy="972000"/>
          </a:xfrm>
          <a:prstGeom prst="rect">
            <a:avLst/>
          </a:prstGeom>
        </p:spPr>
        <p:txBody>
          <a:bodyPr/>
          <a:lstStyle>
            <a:lvl1pPr>
              <a:defRPr/>
            </a:lvl1pPr>
          </a:lstStyle>
          <a:p>
            <a:pPr lvl="0"/>
            <a:r>
              <a:rPr lang="en-US"/>
              <a:t>Agenda topic</a:t>
            </a:r>
          </a:p>
        </p:txBody>
      </p:sp>
      <p:sp>
        <p:nvSpPr>
          <p:cNvPr id="2" name="Slide Number Placeholder 1">
            <a:extLst>
              <a:ext uri="{FF2B5EF4-FFF2-40B4-BE49-F238E27FC236}">
                <a16:creationId xmlns:a16="http://schemas.microsoft.com/office/drawing/2014/main" id="{50E28157-5628-6602-C7F1-3D4A648C2CC7}"/>
              </a:ext>
              <a:ext uri="{C183D7F6-B498-43B3-948B-1728B52AA6E4}">
                <adec:decorative xmlns:adec="http://schemas.microsoft.com/office/drawing/2017/decorative" val="1"/>
              </a:ext>
            </a:extLst>
          </p:cNvPr>
          <p:cNvSpPr>
            <a:spLocks noGrp="1"/>
          </p:cNvSpPr>
          <p:nvPr>
            <p:ph type="sldNum" sz="quarter" idx="25"/>
          </p:nvPr>
        </p:nvSpPr>
        <p:spPr/>
        <p:txBody>
          <a:bodyPr bIns="309600"/>
          <a:lstStyle>
            <a:lvl1pPr>
              <a:defRPr>
                <a:solidFill>
                  <a:schemeClr val="bg1"/>
                </a:solidFill>
              </a:defRPr>
            </a:lvl1pPr>
          </a:lstStyle>
          <a:p>
            <a:fld id="{1C1606C5-D483-4832-A0E9-CF578A9B5883}" type="slidenum">
              <a:rPr lang="en-US" smtClean="0"/>
              <a:pPr/>
              <a:t>‹#›</a:t>
            </a:fld>
            <a:endParaRPr lang="en-US"/>
          </a:p>
        </p:txBody>
      </p:sp>
      <p:grpSp>
        <p:nvGrpSpPr>
          <p:cNvPr id="4" name="Group 3">
            <a:extLst>
              <a:ext uri="{FF2B5EF4-FFF2-40B4-BE49-F238E27FC236}">
                <a16:creationId xmlns:a16="http://schemas.microsoft.com/office/drawing/2014/main" id="{A2FEE6A2-63D6-FDF4-B6AA-B8C2749F3401}"/>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6" name="Content Placeholder 15">
              <a:extLst>
                <a:ext uri="{FF2B5EF4-FFF2-40B4-BE49-F238E27FC236}">
                  <a16:creationId xmlns:a16="http://schemas.microsoft.com/office/drawing/2014/main" id="{F1CC8674-A82D-D488-2442-26142E5D5694}"/>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8" name="TextBox 7">
              <a:extLst>
                <a:ext uri="{FF2B5EF4-FFF2-40B4-BE49-F238E27FC236}">
                  <a16:creationId xmlns:a16="http://schemas.microsoft.com/office/drawing/2014/main" id="{193CB75E-672B-3BD1-F5A6-ECAD1D5BA23C}"/>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dark background)</a:t>
              </a:r>
            </a:p>
            <a:p>
              <a:pPr algn="l">
                <a:buNone/>
              </a:pPr>
              <a:endParaRPr lang="en-US" sz="1200" kern="100" spc="-30"/>
            </a:p>
          </p:txBody>
        </p:sp>
        <p:pic>
          <p:nvPicPr>
            <p:cNvPr id="10" name="Picture 9" descr="A screenshot of a color chart&#10;&#10;Description automatically generated">
              <a:extLst>
                <a:ext uri="{FF2B5EF4-FFF2-40B4-BE49-F238E27FC236}">
                  <a16:creationId xmlns:a16="http://schemas.microsoft.com/office/drawing/2014/main" id="{3DCE57C2-A530-1540-B065-46D99F26E638}"/>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1" name="Rectangle 10">
              <a:extLst>
                <a:ext uri="{FF2B5EF4-FFF2-40B4-BE49-F238E27FC236}">
                  <a16:creationId xmlns:a16="http://schemas.microsoft.com/office/drawing/2014/main" id="{711BD98B-1E91-D6E8-276A-2D40452FD737}"/>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2D78661B-C399-AEA9-6167-2C96556E834F}"/>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2" name="Group 21">
              <a:extLst>
                <a:ext uri="{FF2B5EF4-FFF2-40B4-BE49-F238E27FC236}">
                  <a16:creationId xmlns:a16="http://schemas.microsoft.com/office/drawing/2014/main" id="{E1470566-7505-D810-3DF9-C535E2027D6C}"/>
                </a:ext>
              </a:extLst>
            </p:cNvPr>
            <p:cNvGrpSpPr/>
            <p:nvPr userDrawn="1"/>
          </p:nvGrpSpPr>
          <p:grpSpPr>
            <a:xfrm>
              <a:off x="-2740233" y="3819615"/>
              <a:ext cx="2254459" cy="2600236"/>
              <a:chOff x="-3323173" y="3918039"/>
              <a:chExt cx="2815981" cy="3247881"/>
            </a:xfrm>
          </p:grpSpPr>
          <p:sp>
            <p:nvSpPr>
              <p:cNvPr id="28" name="Rectangle 27">
                <a:extLst>
                  <a:ext uri="{FF2B5EF4-FFF2-40B4-BE49-F238E27FC236}">
                    <a16:creationId xmlns:a16="http://schemas.microsoft.com/office/drawing/2014/main" id="{4F6AAEDB-D89D-C5ED-56BD-BE4FED42DDF8}"/>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29" name="Rectangle 28">
                <a:extLst>
                  <a:ext uri="{FF2B5EF4-FFF2-40B4-BE49-F238E27FC236}">
                    <a16:creationId xmlns:a16="http://schemas.microsoft.com/office/drawing/2014/main" id="{E4892703-A8AD-FB74-8BF9-0BC090B2DE40}"/>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30" name="Rectangle 29">
                <a:extLst>
                  <a:ext uri="{FF2B5EF4-FFF2-40B4-BE49-F238E27FC236}">
                    <a16:creationId xmlns:a16="http://schemas.microsoft.com/office/drawing/2014/main" id="{D25CEF1D-8DF9-F6DE-012F-DDAD71C3467C}"/>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31" name="TextBox 30">
                <a:extLst>
                  <a:ext uri="{FF2B5EF4-FFF2-40B4-BE49-F238E27FC236}">
                    <a16:creationId xmlns:a16="http://schemas.microsoft.com/office/drawing/2014/main" id="{707C50D8-656D-5D88-BF70-C9A7B45171C7}"/>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Dark Background Colors</a:t>
                </a:r>
              </a:p>
            </p:txBody>
          </p:sp>
          <p:sp>
            <p:nvSpPr>
              <p:cNvPr id="32" name="Right Brace 31">
                <a:extLst>
                  <a:ext uri="{FF2B5EF4-FFF2-40B4-BE49-F238E27FC236}">
                    <a16:creationId xmlns:a16="http://schemas.microsoft.com/office/drawing/2014/main" id="{88E74A1D-C3AD-8498-39F6-1575D425BCF3}"/>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48" name="Rectangle 47">
                <a:extLst>
                  <a:ext uri="{FF2B5EF4-FFF2-40B4-BE49-F238E27FC236}">
                    <a16:creationId xmlns:a16="http://schemas.microsoft.com/office/drawing/2014/main" id="{C88DB5DB-2769-A89C-EC5F-6C1FD98F1CC7}"/>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26" name="Picture 25">
              <a:extLst>
                <a:ext uri="{FF2B5EF4-FFF2-40B4-BE49-F238E27FC236}">
                  <a16:creationId xmlns:a16="http://schemas.microsoft.com/office/drawing/2014/main" id="{A4B1DEBE-00D5-A8C5-3A01-9A251DF9AAE0}"/>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27" name="Picture 26">
              <a:extLst>
                <a:ext uri="{FF2B5EF4-FFF2-40B4-BE49-F238E27FC236}">
                  <a16:creationId xmlns:a16="http://schemas.microsoft.com/office/drawing/2014/main" id="{2FA4D438-2878-0C08-39AB-F404EF6924A7}"/>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
        <p:nvSpPr>
          <p:cNvPr id="33" name="Text Placeholder 7">
            <a:extLst>
              <a:ext uri="{FF2B5EF4-FFF2-40B4-BE49-F238E27FC236}">
                <a16:creationId xmlns:a16="http://schemas.microsoft.com/office/drawing/2014/main" id="{D3E5AE16-F33F-3105-81DD-737B05B8E9F5}"/>
              </a:ext>
            </a:extLst>
          </p:cNvPr>
          <p:cNvSpPr>
            <a:spLocks noGrp="1"/>
          </p:cNvSpPr>
          <p:nvPr>
            <p:ph type="body" sz="quarter" idx="32"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989797999"/>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Video Full Screen">
    <p:bg>
      <p:bgPr>
        <a:solidFill>
          <a:schemeClr val="tx1"/>
        </a:solidFill>
        <a:effectLst/>
      </p:bgPr>
    </p:bg>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7DB518AD-5057-EF28-0A48-FAB23085412D}"/>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1623315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2" name="think-cell data - do not delete">
                        <a:extLst>
                          <a:ext uri="{FF2B5EF4-FFF2-40B4-BE49-F238E27FC236}">
                            <a16:creationId xmlns:a16="http://schemas.microsoft.com/office/drawing/2014/main" id="{7DB518AD-5057-EF28-0A48-FAB23085412D}"/>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5" name="Media Placeholder 44">
            <a:extLst>
              <a:ext uri="{FF2B5EF4-FFF2-40B4-BE49-F238E27FC236}">
                <a16:creationId xmlns:a16="http://schemas.microsoft.com/office/drawing/2014/main" id="{FA45BFB3-67FB-D56E-F7EC-9EE4E9B366AA}"/>
              </a:ext>
            </a:extLst>
          </p:cNvPr>
          <p:cNvSpPr>
            <a:spLocks noGrp="1" noChangeAspect="1"/>
          </p:cNvSpPr>
          <p:nvPr>
            <p:ph type="media" sz="quarter" idx="11"/>
          </p:nvPr>
        </p:nvSpPr>
        <p:spPr>
          <a:xfrm>
            <a:off x="-1" y="30164"/>
            <a:ext cx="12298177" cy="6815132"/>
          </a:xfrm>
          <a:prstGeom prst="rect">
            <a:avLst/>
          </a:prstGeom>
        </p:spPr>
        <p:txBody>
          <a:bodyPr/>
          <a:lstStyle/>
          <a:p>
            <a:endParaRPr lang="en-US"/>
          </a:p>
        </p:txBody>
      </p:sp>
      <p:graphicFrame>
        <p:nvGraphicFramePr>
          <p:cNvPr id="4" name="think-cell data - do not delete">
            <a:extLst>
              <a:ext uri="{FF2B5EF4-FFF2-40B4-BE49-F238E27FC236}">
                <a16:creationId xmlns:a16="http://schemas.microsoft.com/office/drawing/2014/main" id="{C4533091-4963-6091-FCE7-2F8820ED9B3F}"/>
              </a:ext>
              <a:ext uri="{C183D7F6-B498-43B3-948B-1728B52AA6E4}">
                <adec:decorative xmlns:adec="http://schemas.microsoft.com/office/drawing/2017/decorative" val="1"/>
              </a:ext>
            </a:extLst>
          </p:cNvPr>
          <p:cNvGraphicFramePr>
            <a:graphicFrameLocks noChangeAspect="1"/>
          </p:cNvGraphicFramePr>
          <p:nvPr userDrawn="1">
            <p:custDataLst>
              <p:tags r:id="rId2"/>
            </p:custDataLst>
            <p:extLst>
              <p:ext uri="{D42A27DB-BD31-4B8C-83A1-F6EECF244321}">
                <p14:modId xmlns:p14="http://schemas.microsoft.com/office/powerpoint/2010/main" val="3626559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4" name="think-cell data - do not delete">
                        <a:extLst>
                          <a:ext uri="{FF2B5EF4-FFF2-40B4-BE49-F238E27FC236}">
                            <a16:creationId xmlns:a16="http://schemas.microsoft.com/office/drawing/2014/main" id="{C4533091-4963-6091-FCE7-2F8820ED9B3F}"/>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046F3B38-3489-7C0F-D23D-ABA9954D8B80}"/>
              </a:ext>
              <a:ext uri="{C183D7F6-B498-43B3-948B-1728B52AA6E4}">
                <adec:decorative xmlns:adec="http://schemas.microsoft.com/office/drawing/2017/decorative" val="0"/>
              </a:ext>
            </a:extLst>
          </p:cNvPr>
          <p:cNvSpPr txBox="1">
            <a:spLocks/>
          </p:cNvSpPr>
          <p:nvPr userDrawn="1"/>
        </p:nvSpPr>
        <p:spPr>
          <a:xfrm>
            <a:off x="1460499" y="-467833"/>
            <a:ext cx="10223499" cy="43200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1800" b="0" i="0" kern="100" spc="-30" baseline="0">
                <a:solidFill>
                  <a:schemeClr val="tx1"/>
                </a:solidFill>
                <a:latin typeface="Forever Forma Body Text" pitchFamily="2" charset="0"/>
                <a:ea typeface="+mj-ea"/>
                <a:cs typeface="+mj-cs"/>
              </a:defRPr>
            </a:lvl1pPr>
          </a:lstStyle>
          <a:p>
            <a:pPr>
              <a:buClrTx/>
              <a:buFontTx/>
            </a:pPr>
            <a:r>
              <a:rPr lang="en-US"/>
              <a:t>Click to edit Master title style</a:t>
            </a:r>
          </a:p>
        </p:txBody>
      </p:sp>
      <p:sp>
        <p:nvSpPr>
          <p:cNvPr id="7" name="TextBox 6">
            <a:extLst>
              <a:ext uri="{FF2B5EF4-FFF2-40B4-BE49-F238E27FC236}">
                <a16:creationId xmlns:a16="http://schemas.microsoft.com/office/drawing/2014/main" id="{3B5FCA46-1EFA-8479-B917-828FDA3B5B83}"/>
              </a:ext>
              <a:ext uri="{C183D7F6-B498-43B3-948B-1728B52AA6E4}">
                <adec:decorative xmlns:adec="http://schemas.microsoft.com/office/drawing/2017/decorative" val="1"/>
              </a:ext>
            </a:extLst>
          </p:cNvPr>
          <p:cNvSpPr txBox="1"/>
          <p:nvPr userDrawn="1"/>
        </p:nvSpPr>
        <p:spPr>
          <a:xfrm>
            <a:off x="0" y="-457400"/>
            <a:ext cx="1344000" cy="432000"/>
          </a:xfrm>
          <a:prstGeom prst="rect">
            <a:avLst/>
          </a:prstGeom>
          <a:noFill/>
        </p:spPr>
        <p:txBody>
          <a:bodyPr wrap="square" lIns="0" tIns="0" rIns="0" bIns="0" rtlCol="0">
            <a:noAutofit/>
          </a:bodyPr>
          <a:lstStyle/>
          <a:p>
            <a:pPr algn="l"/>
            <a:r>
              <a:rPr lang="en-US" sz="1200" b="0" i="0" kern="100" spc="-30">
                <a:latin typeface="Forever Forma Body Text" pitchFamily="2" charset="0"/>
              </a:rPr>
              <a:t>Title required for WCAG accessibility</a:t>
            </a:r>
          </a:p>
        </p:txBody>
      </p:sp>
      <p:sp>
        <p:nvSpPr>
          <p:cNvPr id="8" name="Text Placeholder 7">
            <a:extLst>
              <a:ext uri="{FF2B5EF4-FFF2-40B4-BE49-F238E27FC236}">
                <a16:creationId xmlns:a16="http://schemas.microsoft.com/office/drawing/2014/main" id="{9FA0ABED-9274-C241-9EAE-EB3DB844FE0C}"/>
              </a:ext>
            </a:extLst>
          </p:cNvPr>
          <p:cNvSpPr>
            <a:spLocks noGrp="1"/>
          </p:cNvSpPr>
          <p:nvPr>
            <p:ph type="body" sz="quarter" idx="19" hasCustomPrompt="1"/>
          </p:nvPr>
        </p:nvSpPr>
        <p:spPr>
          <a:xfrm>
            <a:off x="10669227" y="6313320"/>
            <a:ext cx="1014771" cy="298870"/>
          </a:xfrm>
          <a:prstGeom prst="rect">
            <a:avLst/>
          </a:prstGeom>
          <a:no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313153316"/>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Title, Content, Shape - Dark Back C">
    <p:bg>
      <p:bgPr>
        <a:solidFill>
          <a:srgbClr val="1D2550"/>
        </a:solidFill>
        <a:effectLst/>
      </p:bgPr>
    </p:bg>
    <p:spTree>
      <p:nvGrpSpPr>
        <p:cNvPr id="1" name=""/>
        <p:cNvGrpSpPr/>
        <p:nvPr/>
      </p:nvGrpSpPr>
      <p:grpSpPr>
        <a:xfrm>
          <a:off x="0" y="0"/>
          <a:ext cx="0" cy="0"/>
          <a:chOff x="0" y="0"/>
          <a:chExt cx="0" cy="0"/>
        </a:xfrm>
      </p:grpSpPr>
      <p:sp>
        <p:nvSpPr>
          <p:cNvPr id="15" name="Shape">
            <a:extLst>
              <a:ext uri="{FF2B5EF4-FFF2-40B4-BE49-F238E27FC236}">
                <a16:creationId xmlns:a16="http://schemas.microsoft.com/office/drawing/2014/main" id="{EAC5222C-C927-BE6F-1E16-3D8585E8F66F}"/>
              </a:ext>
              <a:ext uri="{C183D7F6-B498-43B3-948B-1728B52AA6E4}">
                <adec:decorative xmlns:adec="http://schemas.microsoft.com/office/drawing/2017/decorative" val="1"/>
              </a:ext>
            </a:extLst>
          </p:cNvPr>
          <p:cNvSpPr/>
          <p:nvPr userDrawn="1"/>
        </p:nvSpPr>
        <p:spPr>
          <a:xfrm flipH="1">
            <a:off x="-3" y="0"/>
            <a:ext cx="6564002" cy="6858000"/>
          </a:xfrm>
          <a:custGeom>
            <a:avLst/>
            <a:gdLst>
              <a:gd name="connsiteX0" fmla="*/ 6769100 w 6769100"/>
              <a:gd name="connsiteY0" fmla="*/ 0 h 6858000"/>
              <a:gd name="connsiteX1" fmla="*/ 6635749 w 6769100"/>
              <a:gd name="connsiteY1" fmla="*/ 0 h 6858000"/>
              <a:gd name="connsiteX2" fmla="*/ 3619500 w 6769100"/>
              <a:gd name="connsiteY2" fmla="*/ 0 h 6858000"/>
              <a:gd name="connsiteX3" fmla="*/ 2069045 w 6769100"/>
              <a:gd name="connsiteY3" fmla="*/ 0 h 6858000"/>
              <a:gd name="connsiteX4" fmla="*/ 0 w 6769100"/>
              <a:gd name="connsiteY4" fmla="*/ 3439189 h 6858000"/>
              <a:gd name="connsiteX5" fmla="*/ 2056786 w 6769100"/>
              <a:gd name="connsiteY5" fmla="*/ 6858000 h 6858000"/>
              <a:gd name="connsiteX6" fmla="*/ 3619500 w 6769100"/>
              <a:gd name="connsiteY6" fmla="*/ 6858000 h 6858000"/>
              <a:gd name="connsiteX7" fmla="*/ 6635749 w 6769100"/>
              <a:gd name="connsiteY7" fmla="*/ 6858000 h 6858000"/>
              <a:gd name="connsiteX8" fmla="*/ 6769100 w 676910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69100" h="6858000">
                <a:moveTo>
                  <a:pt x="6769100" y="0"/>
                </a:moveTo>
                <a:lnTo>
                  <a:pt x="6635749" y="0"/>
                </a:lnTo>
                <a:lnTo>
                  <a:pt x="3619500" y="0"/>
                </a:lnTo>
                <a:lnTo>
                  <a:pt x="2069045" y="0"/>
                </a:lnTo>
                <a:lnTo>
                  <a:pt x="0" y="3439189"/>
                </a:lnTo>
                <a:lnTo>
                  <a:pt x="2056786" y="6858000"/>
                </a:lnTo>
                <a:lnTo>
                  <a:pt x="3619500" y="6858000"/>
                </a:lnTo>
                <a:lnTo>
                  <a:pt x="6635749" y="6858000"/>
                </a:lnTo>
                <a:lnTo>
                  <a:pt x="6769100" y="6858000"/>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Forever Forma Body Text" pitchFamily="2" charset="0"/>
            </a:endParaRPr>
          </a:p>
        </p:txBody>
      </p:sp>
      <p:pic>
        <p:nvPicPr>
          <p:cNvPr id="5" name="logo sm" descr="Transamerica Logo">
            <a:extLst>
              <a:ext uri="{FF2B5EF4-FFF2-40B4-BE49-F238E27FC236}">
                <a16:creationId xmlns:a16="http://schemas.microsoft.com/office/drawing/2014/main" id="{82601ED6-508B-F24A-3423-6F503697C7E8}"/>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799200" y="6053051"/>
            <a:ext cx="2138399" cy="804948"/>
          </a:xfrm>
          <a:prstGeom prst="rect">
            <a:avLst/>
          </a:prstGeom>
        </p:spPr>
      </p:pic>
      <p:sp>
        <p:nvSpPr>
          <p:cNvPr id="3" name="Title 2">
            <a:extLst>
              <a:ext uri="{FF2B5EF4-FFF2-40B4-BE49-F238E27FC236}">
                <a16:creationId xmlns:a16="http://schemas.microsoft.com/office/drawing/2014/main" id="{197DD675-0CF5-185B-0D79-004F17D12F28}"/>
              </a:ext>
            </a:extLst>
          </p:cNvPr>
          <p:cNvSpPr>
            <a:spLocks noGrp="1"/>
          </p:cNvSpPr>
          <p:nvPr>
            <p:ph type="title"/>
          </p:nvPr>
        </p:nvSpPr>
        <p:spPr>
          <a:xfrm>
            <a:off x="521208" y="1269000"/>
            <a:ext cx="5106792" cy="4320000"/>
          </a:xfrm>
          <a:prstGeom prst="rect">
            <a:avLst/>
          </a:prstGeom>
        </p:spPr>
        <p:txBody>
          <a:bodyPr anchor="ctr" anchorCtr="0"/>
          <a:lstStyle/>
          <a:p>
            <a:r>
              <a:rPr lang="en-US"/>
              <a:t>Click to edit Master title style</a:t>
            </a:r>
          </a:p>
        </p:txBody>
      </p:sp>
      <p:sp>
        <p:nvSpPr>
          <p:cNvPr id="13" name="Text Placeholder 12">
            <a:extLst>
              <a:ext uri="{FF2B5EF4-FFF2-40B4-BE49-F238E27FC236}">
                <a16:creationId xmlns:a16="http://schemas.microsoft.com/office/drawing/2014/main" id="{98BA2B9A-D146-D79C-2973-FBA71B289A78}"/>
              </a:ext>
            </a:extLst>
          </p:cNvPr>
          <p:cNvSpPr>
            <a:spLocks noGrp="1"/>
          </p:cNvSpPr>
          <p:nvPr>
            <p:ph type="body" sz="quarter" idx="13"/>
          </p:nvPr>
        </p:nvSpPr>
        <p:spPr>
          <a:xfrm>
            <a:off x="6796971" y="1269000"/>
            <a:ext cx="4873817" cy="4320000"/>
          </a:xfrm>
          <a:prstGeom prst="rect">
            <a:avLst/>
          </a:prstGeom>
        </p:spPr>
        <p:txBody>
          <a:bodyPr anchor="ctr" anchorCtr="0"/>
          <a:lstStyle>
            <a:lvl1pPr>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b="0" i="0">
                <a:solidFill>
                  <a:schemeClr val="bg1"/>
                </a:solidFill>
                <a:latin typeface="Forever Forma Body Text" pitchFamily="2" charset="0"/>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Slide Number Placeholder 3">
            <a:extLst>
              <a:ext uri="{FF2B5EF4-FFF2-40B4-BE49-F238E27FC236}">
                <a16:creationId xmlns:a16="http://schemas.microsoft.com/office/drawing/2014/main" id="{0101FA8D-C042-AF97-2FAC-9395B7768CD3}"/>
              </a:ext>
              <a:ext uri="{C183D7F6-B498-43B3-948B-1728B52AA6E4}">
                <adec:decorative xmlns:adec="http://schemas.microsoft.com/office/drawing/2017/decorative" val="1"/>
              </a:ext>
            </a:extLst>
          </p:cNvPr>
          <p:cNvSpPr>
            <a:spLocks noGrp="1"/>
          </p:cNvSpPr>
          <p:nvPr>
            <p:ph type="sldNum" sz="quarter" idx="14"/>
          </p:nvPr>
        </p:nvSpPr>
        <p:spPr/>
        <p:txBody>
          <a:bodyPr/>
          <a:lstStyle>
            <a:lvl1pPr>
              <a:defRPr>
                <a:solidFill>
                  <a:schemeClr val="tx1"/>
                </a:solidFill>
              </a:defRPr>
            </a:lvl1pPr>
          </a:lstStyle>
          <a:p>
            <a:fld id="{1C1606C5-D483-4832-A0E9-CF578A9B5883}" type="slidenum">
              <a:rPr lang="en-US" smtClean="0"/>
              <a:pPr/>
              <a:t>‹#›</a:t>
            </a:fld>
            <a:endParaRPr lang="en-US"/>
          </a:p>
        </p:txBody>
      </p:sp>
      <p:sp>
        <p:nvSpPr>
          <p:cNvPr id="8" name="footnotes">
            <a:extLst>
              <a:ext uri="{FF2B5EF4-FFF2-40B4-BE49-F238E27FC236}">
                <a16:creationId xmlns:a16="http://schemas.microsoft.com/office/drawing/2014/main" id="{37194CCE-F997-CF1A-4190-9ECD448FBFCB}"/>
              </a:ext>
            </a:extLst>
          </p:cNvPr>
          <p:cNvSpPr>
            <a:spLocks noGrp="1"/>
          </p:cNvSpPr>
          <p:nvPr>
            <p:ph type="body" sz="quarter" idx="15" hasCustomPrompt="1"/>
          </p:nvPr>
        </p:nvSpPr>
        <p:spPr>
          <a:xfrm>
            <a:off x="6796971" y="6049950"/>
            <a:ext cx="3002229" cy="808050"/>
          </a:xfrm>
          <a:prstGeom prst="rect">
            <a:avLst/>
          </a:prstGeom>
        </p:spPr>
        <p:txBody>
          <a:bodyPr bIns="309600" anchor="b" anchorCtr="0"/>
          <a:lstStyle>
            <a:lvl1pPr>
              <a:lnSpc>
                <a:spcPct val="90000"/>
              </a:lnSpc>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2" name="Group 1">
            <a:extLst>
              <a:ext uri="{FF2B5EF4-FFF2-40B4-BE49-F238E27FC236}">
                <a16:creationId xmlns:a16="http://schemas.microsoft.com/office/drawing/2014/main" id="{BA5F5183-8CEF-5DDC-C576-B48695F4FC56}"/>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6" name="Content Placeholder 15">
              <a:extLst>
                <a:ext uri="{FF2B5EF4-FFF2-40B4-BE49-F238E27FC236}">
                  <a16:creationId xmlns:a16="http://schemas.microsoft.com/office/drawing/2014/main" id="{ECE8AF21-991C-E3F8-5437-EB557D3AAA5B}"/>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7" name="TextBox 6">
              <a:extLst>
                <a:ext uri="{FF2B5EF4-FFF2-40B4-BE49-F238E27FC236}">
                  <a16:creationId xmlns:a16="http://schemas.microsoft.com/office/drawing/2014/main" id="{A069B94C-C91D-F8DB-6CC1-5D551264B63A}"/>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dark background)</a:t>
              </a:r>
            </a:p>
            <a:p>
              <a:pPr algn="l">
                <a:buNone/>
              </a:pPr>
              <a:endParaRPr lang="en-US" sz="1200" kern="100" spc="-30"/>
            </a:p>
          </p:txBody>
        </p:sp>
        <p:pic>
          <p:nvPicPr>
            <p:cNvPr id="9" name="Picture 8" descr="A screenshot of a color chart&#10;&#10;Description automatically generated">
              <a:extLst>
                <a:ext uri="{FF2B5EF4-FFF2-40B4-BE49-F238E27FC236}">
                  <a16:creationId xmlns:a16="http://schemas.microsoft.com/office/drawing/2014/main" id="{7F913306-32C4-429B-72C6-65804978A630}"/>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0" name="Rectangle 9">
              <a:extLst>
                <a:ext uri="{FF2B5EF4-FFF2-40B4-BE49-F238E27FC236}">
                  <a16:creationId xmlns:a16="http://schemas.microsoft.com/office/drawing/2014/main" id="{AA1E696F-4643-5F4C-21F5-C20269A8CD48}"/>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0990B276-413D-2119-A061-66C74DB0F0D8}"/>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11">
              <a:extLst>
                <a:ext uri="{FF2B5EF4-FFF2-40B4-BE49-F238E27FC236}">
                  <a16:creationId xmlns:a16="http://schemas.microsoft.com/office/drawing/2014/main" id="{B7CA3C07-0290-53AC-B905-0F58AADA2B92}"/>
                </a:ext>
              </a:extLst>
            </p:cNvPr>
            <p:cNvGrpSpPr/>
            <p:nvPr userDrawn="1"/>
          </p:nvGrpSpPr>
          <p:grpSpPr>
            <a:xfrm>
              <a:off x="-2740233" y="3819615"/>
              <a:ext cx="2254459" cy="2600236"/>
              <a:chOff x="-3323173" y="3918039"/>
              <a:chExt cx="2815981" cy="3247881"/>
            </a:xfrm>
          </p:grpSpPr>
          <p:sp>
            <p:nvSpPr>
              <p:cNvPr id="17" name="Rectangle 16">
                <a:extLst>
                  <a:ext uri="{FF2B5EF4-FFF2-40B4-BE49-F238E27FC236}">
                    <a16:creationId xmlns:a16="http://schemas.microsoft.com/office/drawing/2014/main" id="{577C2400-970A-F3FC-F260-776DA809F4EF}"/>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8" name="Rectangle 17">
                <a:extLst>
                  <a:ext uri="{FF2B5EF4-FFF2-40B4-BE49-F238E27FC236}">
                    <a16:creationId xmlns:a16="http://schemas.microsoft.com/office/drawing/2014/main" id="{FDE59CCA-67EB-A23D-3D7E-181C1D704E99}"/>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9" name="Rectangle 18">
                <a:extLst>
                  <a:ext uri="{FF2B5EF4-FFF2-40B4-BE49-F238E27FC236}">
                    <a16:creationId xmlns:a16="http://schemas.microsoft.com/office/drawing/2014/main" id="{BD7AB01F-D460-F9C4-298B-ACF8EBF2CEDD}"/>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0" name="TextBox 19">
                <a:extLst>
                  <a:ext uri="{FF2B5EF4-FFF2-40B4-BE49-F238E27FC236}">
                    <a16:creationId xmlns:a16="http://schemas.microsoft.com/office/drawing/2014/main" id="{B44F0FF2-8569-2F2F-B195-042B3ADEE220}"/>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Dark Background Colors</a:t>
                </a:r>
              </a:p>
            </p:txBody>
          </p:sp>
          <p:sp>
            <p:nvSpPr>
              <p:cNvPr id="21" name="Right Brace 20">
                <a:extLst>
                  <a:ext uri="{FF2B5EF4-FFF2-40B4-BE49-F238E27FC236}">
                    <a16:creationId xmlns:a16="http://schemas.microsoft.com/office/drawing/2014/main" id="{C4E50E59-CBC3-AB6C-6138-BCB619F117EA}"/>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2" name="Rectangle 21">
                <a:extLst>
                  <a:ext uri="{FF2B5EF4-FFF2-40B4-BE49-F238E27FC236}">
                    <a16:creationId xmlns:a16="http://schemas.microsoft.com/office/drawing/2014/main" id="{9350E04F-71E8-9289-EC33-A69319B7E5B1}"/>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4" name="Picture 13">
              <a:extLst>
                <a:ext uri="{FF2B5EF4-FFF2-40B4-BE49-F238E27FC236}">
                  <a16:creationId xmlns:a16="http://schemas.microsoft.com/office/drawing/2014/main" id="{C5AFA2CE-1A91-A5D9-59D2-BAFA7CE0B3E3}"/>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632579" y="972962"/>
              <a:ext cx="1260329" cy="802028"/>
            </a:xfrm>
            <a:prstGeom prst="rect">
              <a:avLst/>
            </a:prstGeom>
            <a:ln>
              <a:solidFill>
                <a:schemeClr val="accent6"/>
              </a:solidFill>
            </a:ln>
          </p:spPr>
        </p:pic>
        <p:pic>
          <p:nvPicPr>
            <p:cNvPr id="16" name="Picture 15">
              <a:extLst>
                <a:ext uri="{FF2B5EF4-FFF2-40B4-BE49-F238E27FC236}">
                  <a16:creationId xmlns:a16="http://schemas.microsoft.com/office/drawing/2014/main" id="{2656FACE-A417-D56E-96B5-CCCAB879A580}"/>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5411" y="2002090"/>
              <a:ext cx="1265993" cy="943035"/>
            </a:xfrm>
            <a:prstGeom prst="rect">
              <a:avLst/>
            </a:prstGeom>
            <a:ln>
              <a:solidFill>
                <a:schemeClr val="accent6"/>
              </a:solidFill>
            </a:ln>
          </p:spPr>
        </p:pic>
      </p:grpSp>
      <p:sp>
        <p:nvSpPr>
          <p:cNvPr id="23" name="Text Placeholder 7">
            <a:extLst>
              <a:ext uri="{FF2B5EF4-FFF2-40B4-BE49-F238E27FC236}">
                <a16:creationId xmlns:a16="http://schemas.microsoft.com/office/drawing/2014/main" id="{7FA76655-B9CB-AA06-9BC0-32DE187AA312}"/>
              </a:ext>
            </a:extLst>
          </p:cNvPr>
          <p:cNvSpPr>
            <a:spLocks noGrp="1"/>
          </p:cNvSpPr>
          <p:nvPr>
            <p:ph type="body" sz="quarter" idx="20" hasCustomPrompt="1"/>
          </p:nvPr>
        </p:nvSpPr>
        <p:spPr>
          <a:xfrm>
            <a:off x="1100957" y="6313320"/>
            <a:ext cx="1014772" cy="298870"/>
          </a:xfrm>
          <a:prstGeom prst="rect">
            <a:avLst/>
          </a:prstGeom>
          <a:solidFill>
            <a:srgbClr val="1D2550"/>
          </a:solidFill>
        </p:spPr>
        <p:txBody>
          <a:bodyPr wrap="none" lIns="75600" tIns="75600" rIns="75600" bIns="75600" anchor="b" anchorCtr="0">
            <a:spAutoFit/>
          </a:bodyPr>
          <a:lstStyle>
            <a:lvl1pPr algn="l">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134111585"/>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Content">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877FB60E-269D-2343-B232-06E0E3B65052}"/>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543400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877FB60E-269D-2343-B232-06E0E3B65052}"/>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1FC4E808-7203-4917-098B-02B3326D1865}"/>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E8DC4E14-4B7F-3052-254F-707D77C5CE26}"/>
              </a:ext>
            </a:extLst>
          </p:cNvPr>
          <p:cNvSpPr>
            <a:spLocks noGrp="1"/>
          </p:cNvSpPr>
          <p:nvPr>
            <p:ph idx="1"/>
          </p:nvPr>
        </p:nvSpPr>
        <p:spPr>
          <a:xfrm>
            <a:off x="521208" y="1412238"/>
            <a:ext cx="11149580" cy="4637712"/>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2" name="Slide Number Placeholder 11">
            <a:extLst>
              <a:ext uri="{FF2B5EF4-FFF2-40B4-BE49-F238E27FC236}">
                <a16:creationId xmlns:a16="http://schemas.microsoft.com/office/drawing/2014/main" id="{DF88F7BF-8BBB-5870-0AF6-9BEF5CC14584}"/>
              </a:ext>
              <a:ext uri="{C183D7F6-B498-43B3-948B-1728B52AA6E4}">
                <adec:decorative xmlns:adec="http://schemas.microsoft.com/office/drawing/2017/decorative" val="1"/>
              </a:ext>
            </a:extLst>
          </p:cNvPr>
          <p:cNvSpPr>
            <a:spLocks noGrp="1"/>
          </p:cNvSpPr>
          <p:nvPr>
            <p:ph type="sldNum" sz="quarter" idx="16"/>
          </p:nvPr>
        </p:nvSpPr>
        <p:spPr/>
        <p:txBody>
          <a:bodyPr bIns="309600"/>
          <a:lstStyle/>
          <a:p>
            <a:fld id="{1C1606C5-D483-4832-A0E9-CF578A9B5883}" type="slidenum">
              <a:rPr lang="en-US" smtClean="0"/>
              <a:pPr/>
              <a:t>‹#›</a:t>
            </a:fld>
            <a:endParaRPr lang="en-US"/>
          </a:p>
        </p:txBody>
      </p:sp>
      <p:sp>
        <p:nvSpPr>
          <p:cNvPr id="8" name="footnotes">
            <a:extLst>
              <a:ext uri="{FF2B5EF4-FFF2-40B4-BE49-F238E27FC236}">
                <a16:creationId xmlns:a16="http://schemas.microsoft.com/office/drawing/2014/main" id="{0DD439EA-1F07-6E41-BFDF-D4F93AD52F95}"/>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9" name="Text Placeholder 7">
            <a:extLst>
              <a:ext uri="{FF2B5EF4-FFF2-40B4-BE49-F238E27FC236}">
                <a16:creationId xmlns:a16="http://schemas.microsoft.com/office/drawing/2014/main" id="{21962AF8-6A83-D64A-BCEA-21645782635A}"/>
              </a:ext>
            </a:extLst>
          </p:cNvPr>
          <p:cNvSpPr>
            <a:spLocks noGrp="1"/>
          </p:cNvSpPr>
          <p:nvPr>
            <p:ph type="body" sz="quarter" idx="18"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037474400"/>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iography A">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B1198683-8619-338D-85F8-0D9FA4BCCBC0}"/>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1623315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B1198683-8619-338D-85F8-0D9FA4BCCBC0}"/>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D0BC5A0F-5344-B0B5-9004-08B6B0356A95}"/>
              </a:ext>
            </a:extLst>
          </p:cNvPr>
          <p:cNvSpPr>
            <a:spLocks noGrp="1"/>
          </p:cNvSpPr>
          <p:nvPr>
            <p:ph type="title"/>
          </p:nvPr>
        </p:nvSpPr>
        <p:spPr>
          <a:xfrm>
            <a:off x="521208" y="324362"/>
            <a:ext cx="11149580" cy="944637"/>
          </a:xfrm>
        </p:spPr>
        <p:txBody>
          <a:bodyPr/>
          <a:lstStyle/>
          <a:p>
            <a:r>
              <a:rPr lang="en-US"/>
              <a:t>Click to edit Master title style</a:t>
            </a:r>
          </a:p>
        </p:txBody>
      </p:sp>
      <p:sp>
        <p:nvSpPr>
          <p:cNvPr id="12" name="Picture Placeholder 11">
            <a:extLst>
              <a:ext uri="{FF2B5EF4-FFF2-40B4-BE49-F238E27FC236}">
                <a16:creationId xmlns:a16="http://schemas.microsoft.com/office/drawing/2014/main" id="{94F4165A-6F6D-CF5F-E13A-FFEA57ABEB0B}"/>
              </a:ext>
              <a:ext uri="{C183D7F6-B498-43B3-948B-1728B52AA6E4}">
                <adec:decorative xmlns:adec="http://schemas.microsoft.com/office/drawing/2017/decorative" val="1"/>
              </a:ext>
            </a:extLst>
          </p:cNvPr>
          <p:cNvSpPr>
            <a:spLocks noGrp="1" noChangeAspect="1"/>
          </p:cNvSpPr>
          <p:nvPr userDrawn="1">
            <p:ph type="pic" sz="quarter" idx="13" hasCustomPrompt="1"/>
          </p:nvPr>
        </p:nvSpPr>
        <p:spPr>
          <a:xfrm>
            <a:off x="521208" y="1268825"/>
            <a:ext cx="4781125" cy="4781125"/>
          </a:xfrm>
          <a:custGeom>
            <a:avLst/>
            <a:gdLst>
              <a:gd name="connsiteX0" fmla="*/ 2265652 w 4532600"/>
              <a:gd name="connsiteY0" fmla="*/ 0 h 4533897"/>
              <a:gd name="connsiteX1" fmla="*/ 4532600 w 4532600"/>
              <a:gd name="connsiteY1" fmla="*/ 1121132 h 4533897"/>
              <a:gd name="connsiteX2" fmla="*/ 4532600 w 4532600"/>
              <a:gd name="connsiteY2" fmla="*/ 3412768 h 4533897"/>
              <a:gd name="connsiteX3" fmla="*/ 2265658 w 4532600"/>
              <a:gd name="connsiteY3" fmla="*/ 4533897 h 4533897"/>
              <a:gd name="connsiteX4" fmla="*/ 2265646 w 4532600"/>
              <a:gd name="connsiteY4" fmla="*/ 4533897 h 4533897"/>
              <a:gd name="connsiteX5" fmla="*/ 0 w 4532600"/>
              <a:gd name="connsiteY5" fmla="*/ 3413411 h 4533897"/>
              <a:gd name="connsiteX6" fmla="*/ 0 w 4532600"/>
              <a:gd name="connsiteY6" fmla="*/ 1120489 h 4533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32600" h="4533897">
                <a:moveTo>
                  <a:pt x="2265652" y="0"/>
                </a:moveTo>
                <a:lnTo>
                  <a:pt x="4532600" y="1121132"/>
                </a:lnTo>
                <a:lnTo>
                  <a:pt x="4532600" y="3412768"/>
                </a:lnTo>
                <a:lnTo>
                  <a:pt x="2265658" y="4533897"/>
                </a:lnTo>
                <a:lnTo>
                  <a:pt x="2265646" y="4533897"/>
                </a:lnTo>
                <a:lnTo>
                  <a:pt x="0" y="3413411"/>
                </a:lnTo>
                <a:lnTo>
                  <a:pt x="0" y="1120489"/>
                </a:lnTo>
                <a:close/>
              </a:path>
            </a:pathLst>
          </a:custGeom>
          <a:solidFill>
            <a:schemeClr val="bg1">
              <a:lumMod val="95000"/>
            </a:schemeClr>
          </a:solidFill>
        </p:spPr>
        <p:txBody>
          <a:bodyPr wrap="square" lIns="63500" tIns="63500" rIns="63500" bIns="63500" anchor="ctr" anchorCtr="0">
            <a:noAutofit/>
          </a:bodyPr>
          <a:lstStyle>
            <a:lvl1pPr algn="ctr">
              <a:defRPr sz="1200"/>
            </a:lvl1pPr>
          </a:lstStyle>
          <a:p>
            <a:r>
              <a:rPr lang="en-US"/>
              <a:t>Click icon to insert an image</a:t>
            </a:r>
          </a:p>
        </p:txBody>
      </p:sp>
      <p:sp>
        <p:nvSpPr>
          <p:cNvPr id="13" name="Name">
            <a:extLst>
              <a:ext uri="{FF2B5EF4-FFF2-40B4-BE49-F238E27FC236}">
                <a16:creationId xmlns:a16="http://schemas.microsoft.com/office/drawing/2014/main" id="{9353BCC9-7B86-C207-5986-7F9E07DE93E5}"/>
              </a:ext>
            </a:extLst>
          </p:cNvPr>
          <p:cNvSpPr>
            <a:spLocks noGrp="1"/>
          </p:cNvSpPr>
          <p:nvPr>
            <p:ph type="body" sz="quarter" idx="17" hasCustomPrompt="1"/>
          </p:nvPr>
        </p:nvSpPr>
        <p:spPr>
          <a:xfrm>
            <a:off x="5628000" y="2484000"/>
            <a:ext cx="6042788" cy="792000"/>
          </a:xfrm>
          <a:prstGeom prst="rect">
            <a:avLst/>
          </a:prstGeom>
        </p:spPr>
        <p:txBody>
          <a:bodyPr lIns="0" tIns="0" rIns="0" bIns="0"/>
          <a:lstStyle>
            <a:lvl1pPr>
              <a:lnSpc>
                <a:spcPct val="100000"/>
              </a:lnSpc>
              <a:spcBef>
                <a:spcPts val="600"/>
              </a:spcBef>
              <a:defRPr sz="1800" b="1"/>
            </a:lvl1pPr>
            <a:lvl2pPr marL="0" indent="0">
              <a:lnSpc>
                <a:spcPct val="100000"/>
              </a:lnSpc>
              <a:spcBef>
                <a:spcPts val="600"/>
              </a:spcBef>
              <a:buFont typeface="Arial" panose="020B0604020202020204" pitchFamily="34" charset="0"/>
              <a:buChar char="​"/>
              <a:defRPr sz="1800"/>
            </a:lvl2pPr>
            <a:lvl3pPr>
              <a:spcBef>
                <a:spcPts val="600"/>
              </a:spcBef>
              <a:defRPr sz="1400"/>
            </a:lvl3pPr>
            <a:lvl4pPr>
              <a:spcBef>
                <a:spcPts val="600"/>
              </a:spcBef>
              <a:defRPr sz="1400"/>
            </a:lvl4pPr>
            <a:lvl5pPr>
              <a:spcBef>
                <a:spcPts val="600"/>
              </a:spcBef>
              <a:defRPr sz="1400"/>
            </a:lvl5pPr>
          </a:lstStyle>
          <a:p>
            <a:pPr lvl="0"/>
            <a:r>
              <a:rPr lang="en-US"/>
              <a:t>[Name]</a:t>
            </a:r>
          </a:p>
          <a:p>
            <a:pPr lvl="1"/>
            <a:r>
              <a:rPr lang="en-US"/>
              <a:t>[Job title]</a:t>
            </a:r>
          </a:p>
        </p:txBody>
      </p:sp>
      <p:sp>
        <p:nvSpPr>
          <p:cNvPr id="14" name="Text Placeholder 15">
            <a:extLst>
              <a:ext uri="{FF2B5EF4-FFF2-40B4-BE49-F238E27FC236}">
                <a16:creationId xmlns:a16="http://schemas.microsoft.com/office/drawing/2014/main" id="{D5E04951-CD18-66A4-AC2D-62D09BD21945}"/>
              </a:ext>
            </a:extLst>
          </p:cNvPr>
          <p:cNvSpPr>
            <a:spLocks noGrp="1"/>
          </p:cNvSpPr>
          <p:nvPr>
            <p:ph type="body" sz="quarter" idx="18"/>
          </p:nvPr>
        </p:nvSpPr>
        <p:spPr>
          <a:xfrm>
            <a:off x="5628000" y="3276000"/>
            <a:ext cx="6042788" cy="27739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Slide Number Placeholder 3">
            <a:extLst>
              <a:ext uri="{FF2B5EF4-FFF2-40B4-BE49-F238E27FC236}">
                <a16:creationId xmlns:a16="http://schemas.microsoft.com/office/drawing/2014/main" id="{DCFFF390-317A-F2FD-B78C-D30ABC6EE40C}"/>
              </a:ext>
              <a:ext uri="{C183D7F6-B498-43B3-948B-1728B52AA6E4}">
                <adec:decorative xmlns:adec="http://schemas.microsoft.com/office/drawing/2017/decorative" val="1"/>
              </a:ext>
            </a:extLst>
          </p:cNvPr>
          <p:cNvSpPr>
            <a:spLocks noGrp="1"/>
          </p:cNvSpPr>
          <p:nvPr>
            <p:ph type="sldNum" sz="quarter" idx="19"/>
          </p:nvPr>
        </p:nvSpPr>
        <p:spPr/>
        <p:txBody>
          <a:bodyPr/>
          <a:lstStyle/>
          <a:p>
            <a:fld id="{1C1606C5-D483-4832-A0E9-CF578A9B5883}" type="slidenum">
              <a:rPr lang="en-US" smtClean="0"/>
              <a:pPr/>
              <a:t>‹#›</a:t>
            </a:fld>
            <a:endParaRPr lang="en-US"/>
          </a:p>
        </p:txBody>
      </p:sp>
      <p:sp>
        <p:nvSpPr>
          <p:cNvPr id="10" name="Text Placeholder 7">
            <a:extLst>
              <a:ext uri="{FF2B5EF4-FFF2-40B4-BE49-F238E27FC236}">
                <a16:creationId xmlns:a16="http://schemas.microsoft.com/office/drawing/2014/main" id="{8A4792EE-10B0-2D4C-B17D-F65BF1A960FB}"/>
              </a:ext>
            </a:extLst>
          </p:cNvPr>
          <p:cNvSpPr>
            <a:spLocks noGrp="1"/>
          </p:cNvSpPr>
          <p:nvPr>
            <p:ph type="body" sz="quarter" idx="20"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
        <p:nvSpPr>
          <p:cNvPr id="11" name="footnotes">
            <a:extLst>
              <a:ext uri="{FF2B5EF4-FFF2-40B4-BE49-F238E27FC236}">
                <a16:creationId xmlns:a16="http://schemas.microsoft.com/office/drawing/2014/main" id="{B45759B3-EDC3-2247-985D-1D30D7134C5C}"/>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2034501008"/>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iography B">
    <p:spTree>
      <p:nvGrpSpPr>
        <p:cNvPr id="1" name=""/>
        <p:cNvGrpSpPr/>
        <p:nvPr/>
      </p:nvGrpSpPr>
      <p:grpSpPr>
        <a:xfrm>
          <a:off x="0" y="0"/>
          <a:ext cx="0" cy="0"/>
          <a:chOff x="0" y="0"/>
          <a:chExt cx="0" cy="0"/>
        </a:xfrm>
      </p:grpSpPr>
      <p:graphicFrame>
        <p:nvGraphicFramePr>
          <p:cNvPr id="3" name="think-cell data - do not delete">
            <a:extLst>
              <a:ext uri="{FF2B5EF4-FFF2-40B4-BE49-F238E27FC236}">
                <a16:creationId xmlns:a16="http://schemas.microsoft.com/office/drawing/2014/main" id="{91BA30CC-85BA-80C3-F933-01B980493B05}"/>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1623315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think-cell data - do not delete">
                        <a:extLst>
                          <a:ext uri="{FF2B5EF4-FFF2-40B4-BE49-F238E27FC236}">
                            <a16:creationId xmlns:a16="http://schemas.microsoft.com/office/drawing/2014/main" id="{91BA30CC-85BA-80C3-F933-01B980493B05}"/>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4BC5C29-9577-528B-F065-67077BA74877}"/>
              </a:ext>
            </a:extLst>
          </p:cNvPr>
          <p:cNvSpPr>
            <a:spLocks noGrp="1"/>
          </p:cNvSpPr>
          <p:nvPr>
            <p:ph type="title"/>
          </p:nvPr>
        </p:nvSpPr>
        <p:spPr>
          <a:xfrm>
            <a:off x="521208" y="324362"/>
            <a:ext cx="11149580" cy="944637"/>
          </a:xfrm>
        </p:spPr>
        <p:txBody>
          <a:bodyPr/>
          <a:lstStyle/>
          <a:p>
            <a:r>
              <a:rPr lang="en-US"/>
              <a:t>Click to edit Master title style</a:t>
            </a:r>
          </a:p>
        </p:txBody>
      </p:sp>
      <p:sp>
        <p:nvSpPr>
          <p:cNvPr id="40" name="Name">
            <a:extLst>
              <a:ext uri="{FF2B5EF4-FFF2-40B4-BE49-F238E27FC236}">
                <a16:creationId xmlns:a16="http://schemas.microsoft.com/office/drawing/2014/main" id="{3B92114E-862E-E39F-89F3-255D469EE649}"/>
              </a:ext>
            </a:extLst>
          </p:cNvPr>
          <p:cNvSpPr>
            <a:spLocks noGrp="1"/>
          </p:cNvSpPr>
          <p:nvPr userDrawn="1">
            <p:ph type="body" sz="quarter" idx="16" hasCustomPrompt="1"/>
          </p:nvPr>
        </p:nvSpPr>
        <p:spPr>
          <a:xfrm>
            <a:off x="521208" y="1554108"/>
            <a:ext cx="5322511" cy="684000"/>
          </a:xfrm>
          <a:prstGeom prst="rect">
            <a:avLst/>
          </a:prstGeom>
        </p:spPr>
        <p:txBody>
          <a:bodyPr lIns="0" tIns="0" rIns="0" bIns="0"/>
          <a:lstStyle>
            <a:lvl1pPr>
              <a:lnSpc>
                <a:spcPct val="100000"/>
              </a:lnSpc>
              <a:spcBef>
                <a:spcPts val="300"/>
              </a:spcBef>
              <a:defRPr sz="1600" b="1"/>
            </a:lvl1pPr>
            <a:lvl2pPr marL="0" indent="0">
              <a:lnSpc>
                <a:spcPct val="100000"/>
              </a:lnSpc>
              <a:spcBef>
                <a:spcPts val="300"/>
              </a:spcBef>
              <a:buFont typeface="Arial" panose="020B0604020202020204" pitchFamily="34" charset="0"/>
              <a:buChar char="​"/>
              <a:defRPr sz="1600"/>
            </a:lvl2pPr>
            <a:lvl3pPr>
              <a:spcBef>
                <a:spcPts val="600"/>
              </a:spcBef>
              <a:defRPr sz="1400"/>
            </a:lvl3pPr>
            <a:lvl4pPr>
              <a:spcBef>
                <a:spcPts val="600"/>
              </a:spcBef>
              <a:defRPr sz="1400"/>
            </a:lvl4pPr>
            <a:lvl5pPr>
              <a:spcBef>
                <a:spcPts val="600"/>
              </a:spcBef>
              <a:defRPr sz="1400"/>
            </a:lvl5pPr>
          </a:lstStyle>
          <a:p>
            <a:pPr lvl="0"/>
            <a:r>
              <a:rPr lang="en-US"/>
              <a:t>[Name]</a:t>
            </a:r>
          </a:p>
          <a:p>
            <a:pPr lvl="1"/>
            <a:r>
              <a:rPr lang="en-US"/>
              <a:t>[Job title]</a:t>
            </a:r>
          </a:p>
        </p:txBody>
      </p:sp>
      <p:sp>
        <p:nvSpPr>
          <p:cNvPr id="17" name="Picture Placeholder 16">
            <a:extLst>
              <a:ext uri="{FF2B5EF4-FFF2-40B4-BE49-F238E27FC236}">
                <a16:creationId xmlns:a16="http://schemas.microsoft.com/office/drawing/2014/main" id="{9A093464-3095-F78A-B2E2-863308B11ABC}"/>
              </a:ext>
              <a:ext uri="{C183D7F6-B498-43B3-948B-1728B52AA6E4}">
                <adec:decorative xmlns:adec="http://schemas.microsoft.com/office/drawing/2017/decorative" val="1"/>
              </a:ext>
            </a:extLst>
          </p:cNvPr>
          <p:cNvSpPr>
            <a:spLocks noGrp="1"/>
          </p:cNvSpPr>
          <p:nvPr>
            <p:ph type="pic" sz="quarter" idx="13" hasCustomPrompt="1"/>
          </p:nvPr>
        </p:nvSpPr>
        <p:spPr>
          <a:xfrm>
            <a:off x="521208" y="2274109"/>
            <a:ext cx="2514792" cy="2952000"/>
          </a:xfrm>
          <a:prstGeom prst="rect">
            <a:avLst/>
          </a:prstGeom>
          <a:solidFill>
            <a:schemeClr val="bg1">
              <a:lumMod val="95000"/>
            </a:schemeClr>
          </a:solidFill>
        </p:spPr>
        <p:txBody>
          <a:bodyPr wrap="square" lIns="63500" tIns="63500" rIns="63500" bIns="63500" anchor="ctr" anchorCtr="0">
            <a:noAutofit/>
          </a:bodyPr>
          <a:lstStyle>
            <a:lvl1pPr algn="ctr">
              <a:defRPr sz="1200"/>
            </a:lvl1pPr>
          </a:lstStyle>
          <a:p>
            <a:r>
              <a:rPr lang="en-US"/>
              <a:t>Click icon to insert an image</a:t>
            </a:r>
          </a:p>
        </p:txBody>
      </p:sp>
      <p:sp>
        <p:nvSpPr>
          <p:cNvPr id="16" name="Text Placeholder 15">
            <a:extLst>
              <a:ext uri="{FF2B5EF4-FFF2-40B4-BE49-F238E27FC236}">
                <a16:creationId xmlns:a16="http://schemas.microsoft.com/office/drawing/2014/main" id="{DBA55CB9-BA61-9A40-7BB0-B8BD345AD14B}"/>
              </a:ext>
            </a:extLst>
          </p:cNvPr>
          <p:cNvSpPr>
            <a:spLocks noGrp="1"/>
          </p:cNvSpPr>
          <p:nvPr>
            <p:ph type="body" sz="quarter" idx="17"/>
          </p:nvPr>
        </p:nvSpPr>
        <p:spPr>
          <a:xfrm>
            <a:off x="3287719" y="2268000"/>
            <a:ext cx="2556000" cy="3672000"/>
          </a:xfrm>
          <a:prstGeom prst="rect">
            <a:avLst/>
          </a:prstGeom>
        </p:spPr>
        <p:txBody>
          <a:bodyPr/>
          <a:lstStyle>
            <a:lvl1pPr>
              <a:buNone/>
              <a:defRPr sz="1400"/>
            </a:lvl1pPr>
            <a:lvl2pPr>
              <a:defRPr sz="1400"/>
            </a:lvl2pPr>
            <a:lvl3pPr>
              <a:defRPr sz="1200"/>
            </a:lvl3pPr>
            <a:lvl4pPr>
              <a:defRPr sz="1200"/>
            </a:lvl4pPr>
            <a:lvl5pPr>
              <a:defRPr sz="1200"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57" name="Name">
            <a:extLst>
              <a:ext uri="{FF2B5EF4-FFF2-40B4-BE49-F238E27FC236}">
                <a16:creationId xmlns:a16="http://schemas.microsoft.com/office/drawing/2014/main" id="{87D54A67-96F9-8691-B724-52896F51B509}"/>
              </a:ext>
            </a:extLst>
          </p:cNvPr>
          <p:cNvSpPr>
            <a:spLocks noGrp="1"/>
          </p:cNvSpPr>
          <p:nvPr>
            <p:ph type="body" sz="quarter" idx="19" hasCustomPrompt="1"/>
          </p:nvPr>
        </p:nvSpPr>
        <p:spPr>
          <a:xfrm>
            <a:off x="6343894" y="1554108"/>
            <a:ext cx="5322511" cy="684000"/>
          </a:xfrm>
          <a:prstGeom prst="rect">
            <a:avLst/>
          </a:prstGeom>
        </p:spPr>
        <p:txBody>
          <a:bodyPr lIns="0" tIns="0" rIns="0" bIns="0"/>
          <a:lstStyle>
            <a:lvl1pPr>
              <a:lnSpc>
                <a:spcPct val="100000"/>
              </a:lnSpc>
              <a:spcBef>
                <a:spcPts val="300"/>
              </a:spcBef>
              <a:defRPr sz="1600" b="1"/>
            </a:lvl1pPr>
            <a:lvl2pPr marL="0" indent="0">
              <a:lnSpc>
                <a:spcPct val="100000"/>
              </a:lnSpc>
              <a:spcBef>
                <a:spcPts val="300"/>
              </a:spcBef>
              <a:buFont typeface="Arial" panose="020B0604020202020204" pitchFamily="34" charset="0"/>
              <a:buChar char="​"/>
              <a:defRPr sz="1600"/>
            </a:lvl2pPr>
            <a:lvl3pPr>
              <a:spcBef>
                <a:spcPts val="600"/>
              </a:spcBef>
              <a:defRPr sz="1400"/>
            </a:lvl3pPr>
            <a:lvl4pPr>
              <a:spcBef>
                <a:spcPts val="600"/>
              </a:spcBef>
              <a:defRPr sz="1400"/>
            </a:lvl4pPr>
            <a:lvl5pPr>
              <a:spcBef>
                <a:spcPts val="600"/>
              </a:spcBef>
              <a:defRPr sz="1400"/>
            </a:lvl5pPr>
          </a:lstStyle>
          <a:p>
            <a:pPr lvl="0"/>
            <a:r>
              <a:rPr lang="en-US"/>
              <a:t>[Name]</a:t>
            </a:r>
          </a:p>
          <a:p>
            <a:pPr lvl="1"/>
            <a:r>
              <a:rPr lang="en-US"/>
              <a:t>[Job title]</a:t>
            </a:r>
          </a:p>
        </p:txBody>
      </p:sp>
      <p:sp>
        <p:nvSpPr>
          <p:cNvPr id="58" name="Picture Placeholder 16">
            <a:extLst>
              <a:ext uri="{FF2B5EF4-FFF2-40B4-BE49-F238E27FC236}">
                <a16:creationId xmlns:a16="http://schemas.microsoft.com/office/drawing/2014/main" id="{C23838DB-C9C8-8D7E-C987-8EC962FBFF3A}"/>
              </a:ext>
              <a:ext uri="{C183D7F6-B498-43B3-948B-1728B52AA6E4}">
                <adec:decorative xmlns:adec="http://schemas.microsoft.com/office/drawing/2017/decorative" val="1"/>
              </a:ext>
            </a:extLst>
          </p:cNvPr>
          <p:cNvSpPr>
            <a:spLocks noGrp="1"/>
          </p:cNvSpPr>
          <p:nvPr>
            <p:ph type="pic" sz="quarter" idx="20" hasCustomPrompt="1"/>
          </p:nvPr>
        </p:nvSpPr>
        <p:spPr>
          <a:xfrm>
            <a:off x="6343894" y="2274109"/>
            <a:ext cx="2556000" cy="2952000"/>
          </a:xfrm>
          <a:prstGeom prst="rect">
            <a:avLst/>
          </a:prstGeom>
          <a:solidFill>
            <a:schemeClr val="bg1">
              <a:lumMod val="95000"/>
            </a:schemeClr>
          </a:solidFill>
        </p:spPr>
        <p:txBody>
          <a:bodyPr wrap="square" lIns="63500" tIns="63500" rIns="63500" bIns="63500" anchor="ctr" anchorCtr="0">
            <a:noAutofit/>
          </a:bodyPr>
          <a:lstStyle>
            <a:lvl1pPr algn="ctr">
              <a:defRPr sz="1200"/>
            </a:lvl1pPr>
          </a:lstStyle>
          <a:p>
            <a:r>
              <a:rPr lang="en-US"/>
              <a:t>Click icon to insert an image</a:t>
            </a:r>
          </a:p>
        </p:txBody>
      </p:sp>
      <p:sp>
        <p:nvSpPr>
          <p:cNvPr id="59" name="Text Placeholder 15">
            <a:extLst>
              <a:ext uri="{FF2B5EF4-FFF2-40B4-BE49-F238E27FC236}">
                <a16:creationId xmlns:a16="http://schemas.microsoft.com/office/drawing/2014/main" id="{5B706369-B81D-4A5C-BEF1-A0BC15B64373}"/>
              </a:ext>
            </a:extLst>
          </p:cNvPr>
          <p:cNvSpPr>
            <a:spLocks noGrp="1"/>
          </p:cNvSpPr>
          <p:nvPr>
            <p:ph type="body" sz="quarter" idx="21"/>
          </p:nvPr>
        </p:nvSpPr>
        <p:spPr>
          <a:xfrm>
            <a:off x="9151613" y="2268000"/>
            <a:ext cx="2514792" cy="3672000"/>
          </a:xfrm>
          <a:prstGeom prst="rect">
            <a:avLst/>
          </a:prstGeom>
        </p:spPr>
        <p:txBody>
          <a:bodyPr/>
          <a:lstStyle>
            <a:lvl1pPr>
              <a:buNone/>
              <a:defRPr sz="1400"/>
            </a:lvl1pPr>
            <a:lvl2pPr>
              <a:defRPr sz="1400"/>
            </a:lvl2pPr>
            <a:lvl3pPr>
              <a:defRPr sz="1200"/>
            </a:lvl3pPr>
            <a:lvl4pPr>
              <a:defRPr sz="1200"/>
            </a:lvl4pPr>
            <a:lvl5pPr>
              <a:defRPr sz="1200"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Slide Number Placeholder 3">
            <a:extLst>
              <a:ext uri="{FF2B5EF4-FFF2-40B4-BE49-F238E27FC236}">
                <a16:creationId xmlns:a16="http://schemas.microsoft.com/office/drawing/2014/main" id="{58A674A9-E3A9-C5F3-1EF2-238C23807BDA}"/>
              </a:ext>
              <a:ext uri="{C183D7F6-B498-43B3-948B-1728B52AA6E4}">
                <adec:decorative xmlns:adec="http://schemas.microsoft.com/office/drawing/2017/decorative" val="1"/>
              </a:ext>
            </a:extLst>
          </p:cNvPr>
          <p:cNvSpPr>
            <a:spLocks noGrp="1"/>
          </p:cNvSpPr>
          <p:nvPr>
            <p:ph type="sldNum" sz="quarter" idx="18"/>
          </p:nvPr>
        </p:nvSpPr>
        <p:spPr/>
        <p:txBody>
          <a:bodyPr/>
          <a:lstStyle/>
          <a:p>
            <a:fld id="{1C1606C5-D483-4832-A0E9-CF578A9B5883}" type="slidenum">
              <a:rPr lang="en-US" smtClean="0"/>
              <a:pPr/>
              <a:t>‹#›</a:t>
            </a:fld>
            <a:endParaRPr lang="en-US"/>
          </a:p>
        </p:txBody>
      </p:sp>
      <p:sp>
        <p:nvSpPr>
          <p:cNvPr id="13" name="Text Placeholder 7">
            <a:extLst>
              <a:ext uri="{FF2B5EF4-FFF2-40B4-BE49-F238E27FC236}">
                <a16:creationId xmlns:a16="http://schemas.microsoft.com/office/drawing/2014/main" id="{01073359-5C14-E14B-99FA-AB293108B7A7}"/>
              </a:ext>
            </a:extLst>
          </p:cNvPr>
          <p:cNvSpPr>
            <a:spLocks noGrp="1"/>
          </p:cNvSpPr>
          <p:nvPr>
            <p:ph type="body" sz="quarter" idx="22"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
        <p:nvSpPr>
          <p:cNvPr id="14" name="footnotes">
            <a:extLst>
              <a:ext uri="{FF2B5EF4-FFF2-40B4-BE49-F238E27FC236}">
                <a16:creationId xmlns:a16="http://schemas.microsoft.com/office/drawing/2014/main" id="{076E1849-BA14-904F-8F3A-9DE5C499E3FC}"/>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2217335444"/>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iography C">
    <p:spTree>
      <p:nvGrpSpPr>
        <p:cNvPr id="1" name=""/>
        <p:cNvGrpSpPr/>
        <p:nvPr/>
      </p:nvGrpSpPr>
      <p:grpSpPr>
        <a:xfrm>
          <a:off x="0" y="0"/>
          <a:ext cx="0" cy="0"/>
          <a:chOff x="0" y="0"/>
          <a:chExt cx="0" cy="0"/>
        </a:xfrm>
      </p:grpSpPr>
      <p:graphicFrame>
        <p:nvGraphicFramePr>
          <p:cNvPr id="7" name="think-cell data - do not delete">
            <a:extLst>
              <a:ext uri="{FF2B5EF4-FFF2-40B4-BE49-F238E27FC236}">
                <a16:creationId xmlns:a16="http://schemas.microsoft.com/office/drawing/2014/main" id="{AF32BE40-DD74-9019-CAE1-289F3B1A1DA1}"/>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1623315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7" name="think-cell data - do not delete">
                        <a:extLst>
                          <a:ext uri="{FF2B5EF4-FFF2-40B4-BE49-F238E27FC236}">
                            <a16:creationId xmlns:a16="http://schemas.microsoft.com/office/drawing/2014/main" id="{AF32BE40-DD74-9019-CAE1-289F3B1A1DA1}"/>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44E20B2-1D2D-0113-F5D7-53ACC78CCB71}"/>
              </a:ext>
            </a:extLst>
          </p:cNvPr>
          <p:cNvSpPr>
            <a:spLocks noGrp="1"/>
          </p:cNvSpPr>
          <p:nvPr>
            <p:ph type="title"/>
          </p:nvPr>
        </p:nvSpPr>
        <p:spPr>
          <a:xfrm>
            <a:off x="521208" y="273562"/>
            <a:ext cx="11149580" cy="944637"/>
          </a:xfrm>
        </p:spPr>
        <p:txBody>
          <a:bodyPr/>
          <a:lstStyle/>
          <a:p>
            <a:r>
              <a:rPr lang="en-US"/>
              <a:t>Click to edit Master title style</a:t>
            </a:r>
          </a:p>
        </p:txBody>
      </p:sp>
      <p:sp>
        <p:nvSpPr>
          <p:cNvPr id="40" name="Name">
            <a:extLst>
              <a:ext uri="{FF2B5EF4-FFF2-40B4-BE49-F238E27FC236}">
                <a16:creationId xmlns:a16="http://schemas.microsoft.com/office/drawing/2014/main" id="{3B92114E-862E-E39F-89F3-255D469EE649}"/>
              </a:ext>
            </a:extLst>
          </p:cNvPr>
          <p:cNvSpPr>
            <a:spLocks noGrp="1"/>
          </p:cNvSpPr>
          <p:nvPr userDrawn="1">
            <p:ph type="body" sz="quarter" idx="16" hasCustomPrompt="1"/>
          </p:nvPr>
        </p:nvSpPr>
        <p:spPr>
          <a:xfrm>
            <a:off x="521208" y="1554108"/>
            <a:ext cx="3450792" cy="540000"/>
          </a:xfrm>
          <a:prstGeom prst="rect">
            <a:avLst/>
          </a:prstGeom>
        </p:spPr>
        <p:txBody>
          <a:bodyPr lIns="0" tIns="0" rIns="0" bIns="0"/>
          <a:lstStyle>
            <a:lvl1pPr>
              <a:lnSpc>
                <a:spcPct val="100000"/>
              </a:lnSpc>
              <a:spcBef>
                <a:spcPts val="200"/>
              </a:spcBef>
              <a:defRPr sz="1400" b="1"/>
            </a:lvl1pPr>
            <a:lvl2pPr marL="0" indent="0">
              <a:lnSpc>
                <a:spcPct val="100000"/>
              </a:lnSpc>
              <a:spcBef>
                <a:spcPts val="200"/>
              </a:spcBef>
              <a:buFont typeface="Arial" panose="020B0604020202020204" pitchFamily="34" charset="0"/>
              <a:buChar char="​"/>
              <a:defRPr sz="1400"/>
            </a:lvl2pPr>
            <a:lvl3pPr>
              <a:spcBef>
                <a:spcPts val="600"/>
              </a:spcBef>
              <a:defRPr sz="1400"/>
            </a:lvl3pPr>
            <a:lvl4pPr>
              <a:spcBef>
                <a:spcPts val="600"/>
              </a:spcBef>
              <a:defRPr sz="1400"/>
            </a:lvl4pPr>
            <a:lvl5pPr>
              <a:spcBef>
                <a:spcPts val="600"/>
              </a:spcBef>
              <a:defRPr sz="1400"/>
            </a:lvl5pPr>
          </a:lstStyle>
          <a:p>
            <a:pPr lvl="0"/>
            <a:r>
              <a:rPr lang="en-US"/>
              <a:t>[Name]</a:t>
            </a:r>
          </a:p>
          <a:p>
            <a:pPr lvl="1"/>
            <a:r>
              <a:rPr lang="en-US"/>
              <a:t>[Job title]</a:t>
            </a:r>
          </a:p>
        </p:txBody>
      </p:sp>
      <p:sp>
        <p:nvSpPr>
          <p:cNvPr id="17" name="Picture Placeholder 16">
            <a:extLst>
              <a:ext uri="{FF2B5EF4-FFF2-40B4-BE49-F238E27FC236}">
                <a16:creationId xmlns:a16="http://schemas.microsoft.com/office/drawing/2014/main" id="{9A093464-3095-F78A-B2E2-863308B11ABC}"/>
              </a:ext>
              <a:ext uri="{C183D7F6-B498-43B3-948B-1728B52AA6E4}">
                <adec:decorative xmlns:adec="http://schemas.microsoft.com/office/drawing/2017/decorative" val="1"/>
              </a:ext>
            </a:extLst>
          </p:cNvPr>
          <p:cNvSpPr>
            <a:spLocks noGrp="1"/>
          </p:cNvSpPr>
          <p:nvPr>
            <p:ph type="pic" sz="quarter" idx="13" hasCustomPrompt="1"/>
          </p:nvPr>
        </p:nvSpPr>
        <p:spPr>
          <a:xfrm>
            <a:off x="521208" y="2094108"/>
            <a:ext cx="3450792" cy="1872000"/>
          </a:xfrm>
          <a:prstGeom prst="rect">
            <a:avLst/>
          </a:prstGeom>
          <a:solidFill>
            <a:schemeClr val="bg1">
              <a:lumMod val="95000"/>
            </a:schemeClr>
          </a:solidFill>
        </p:spPr>
        <p:txBody>
          <a:bodyPr wrap="square" lIns="63500" tIns="63500" rIns="63500" bIns="63500" anchor="ctr" anchorCtr="0">
            <a:noAutofit/>
          </a:bodyPr>
          <a:lstStyle>
            <a:lvl1pPr algn="ctr">
              <a:defRPr sz="1200"/>
            </a:lvl1pPr>
          </a:lstStyle>
          <a:p>
            <a:r>
              <a:rPr lang="en-US"/>
              <a:t>Click icon to insert an image</a:t>
            </a:r>
          </a:p>
        </p:txBody>
      </p:sp>
      <p:sp>
        <p:nvSpPr>
          <p:cNvPr id="16" name="Text Placeholder 15">
            <a:extLst>
              <a:ext uri="{FF2B5EF4-FFF2-40B4-BE49-F238E27FC236}">
                <a16:creationId xmlns:a16="http://schemas.microsoft.com/office/drawing/2014/main" id="{DBA55CB9-BA61-9A40-7BB0-B8BD345AD14B}"/>
              </a:ext>
            </a:extLst>
          </p:cNvPr>
          <p:cNvSpPr>
            <a:spLocks noGrp="1"/>
          </p:cNvSpPr>
          <p:nvPr>
            <p:ph type="body" sz="quarter" idx="17"/>
          </p:nvPr>
        </p:nvSpPr>
        <p:spPr>
          <a:xfrm>
            <a:off x="521208" y="4104000"/>
            <a:ext cx="3450792" cy="1836000"/>
          </a:xfrm>
          <a:prstGeom prst="rect">
            <a:avLst/>
          </a:prstGeom>
        </p:spPr>
        <p:txBody>
          <a:bodyPr/>
          <a:lstStyle>
            <a:lvl1pPr>
              <a:buNone/>
              <a:defRPr sz="1400"/>
            </a:lvl1pPr>
            <a:lvl2pPr>
              <a:defRPr sz="1400"/>
            </a:lvl2pPr>
            <a:lvl3pPr>
              <a:defRPr sz="1200"/>
            </a:lvl3pPr>
            <a:lvl4pPr>
              <a:defRPr sz="1200"/>
            </a:lvl4pPr>
            <a:lvl5pPr>
              <a:defRPr sz="1200" b="0" i="0">
                <a:latin typeface="Forever Forma Body Text" pitchFamily="2" charset="0"/>
              </a:defRPr>
            </a:lvl5pPr>
            <a:lvl6pPr>
              <a:defRPr sz="14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1" name="Name">
            <a:extLst>
              <a:ext uri="{FF2B5EF4-FFF2-40B4-BE49-F238E27FC236}">
                <a16:creationId xmlns:a16="http://schemas.microsoft.com/office/drawing/2014/main" id="{EFCFBB5F-6BBC-3CE7-A748-302499DA92D2}"/>
              </a:ext>
            </a:extLst>
          </p:cNvPr>
          <p:cNvSpPr>
            <a:spLocks noGrp="1"/>
          </p:cNvSpPr>
          <p:nvPr>
            <p:ph type="body" sz="quarter" idx="27" hasCustomPrompt="1"/>
          </p:nvPr>
        </p:nvSpPr>
        <p:spPr>
          <a:xfrm>
            <a:off x="4370604" y="1554108"/>
            <a:ext cx="3450792" cy="540000"/>
          </a:xfrm>
          <a:prstGeom prst="rect">
            <a:avLst/>
          </a:prstGeom>
        </p:spPr>
        <p:txBody>
          <a:bodyPr lIns="0" tIns="0" rIns="0" bIns="0"/>
          <a:lstStyle>
            <a:lvl1pPr>
              <a:lnSpc>
                <a:spcPct val="100000"/>
              </a:lnSpc>
              <a:spcBef>
                <a:spcPts val="200"/>
              </a:spcBef>
              <a:defRPr sz="1400" b="1"/>
            </a:lvl1pPr>
            <a:lvl2pPr marL="0" indent="0">
              <a:lnSpc>
                <a:spcPct val="100000"/>
              </a:lnSpc>
              <a:spcBef>
                <a:spcPts val="200"/>
              </a:spcBef>
              <a:buFont typeface="Arial" panose="020B0604020202020204" pitchFamily="34" charset="0"/>
              <a:buChar char="​"/>
              <a:defRPr sz="1400"/>
            </a:lvl2pPr>
            <a:lvl3pPr>
              <a:spcBef>
                <a:spcPts val="600"/>
              </a:spcBef>
              <a:defRPr sz="1400"/>
            </a:lvl3pPr>
            <a:lvl4pPr>
              <a:spcBef>
                <a:spcPts val="600"/>
              </a:spcBef>
              <a:defRPr sz="1400"/>
            </a:lvl4pPr>
            <a:lvl5pPr>
              <a:spcBef>
                <a:spcPts val="600"/>
              </a:spcBef>
              <a:defRPr sz="1400"/>
            </a:lvl5pPr>
          </a:lstStyle>
          <a:p>
            <a:pPr lvl="0"/>
            <a:r>
              <a:rPr lang="en-US"/>
              <a:t>[Name]</a:t>
            </a:r>
          </a:p>
          <a:p>
            <a:pPr lvl="1"/>
            <a:r>
              <a:rPr lang="en-US"/>
              <a:t>[Job title]</a:t>
            </a:r>
          </a:p>
        </p:txBody>
      </p:sp>
      <p:sp>
        <p:nvSpPr>
          <p:cNvPr id="12" name="Picture Placeholder 16">
            <a:extLst>
              <a:ext uri="{FF2B5EF4-FFF2-40B4-BE49-F238E27FC236}">
                <a16:creationId xmlns:a16="http://schemas.microsoft.com/office/drawing/2014/main" id="{F2EDEC22-4B6D-32F1-2F86-4D31AF526E91}"/>
              </a:ext>
              <a:ext uri="{C183D7F6-B498-43B3-948B-1728B52AA6E4}">
                <adec:decorative xmlns:adec="http://schemas.microsoft.com/office/drawing/2017/decorative" val="1"/>
              </a:ext>
            </a:extLst>
          </p:cNvPr>
          <p:cNvSpPr>
            <a:spLocks noGrp="1"/>
          </p:cNvSpPr>
          <p:nvPr>
            <p:ph type="pic" sz="quarter" idx="28" hasCustomPrompt="1"/>
          </p:nvPr>
        </p:nvSpPr>
        <p:spPr>
          <a:xfrm>
            <a:off x="4370604" y="2094108"/>
            <a:ext cx="3450792" cy="1872000"/>
          </a:xfrm>
          <a:prstGeom prst="rect">
            <a:avLst/>
          </a:prstGeom>
          <a:solidFill>
            <a:schemeClr val="bg1">
              <a:lumMod val="95000"/>
            </a:schemeClr>
          </a:solidFill>
        </p:spPr>
        <p:txBody>
          <a:bodyPr wrap="square" lIns="63500" tIns="63500" rIns="63500" bIns="63500" anchor="ctr" anchorCtr="0">
            <a:noAutofit/>
          </a:bodyPr>
          <a:lstStyle>
            <a:lvl1pPr algn="ctr">
              <a:defRPr sz="1200"/>
            </a:lvl1pPr>
          </a:lstStyle>
          <a:p>
            <a:r>
              <a:rPr lang="en-US"/>
              <a:t>Click icon to insert an image</a:t>
            </a:r>
          </a:p>
        </p:txBody>
      </p:sp>
      <p:sp>
        <p:nvSpPr>
          <p:cNvPr id="3" name="Text Placeholder 15">
            <a:extLst>
              <a:ext uri="{FF2B5EF4-FFF2-40B4-BE49-F238E27FC236}">
                <a16:creationId xmlns:a16="http://schemas.microsoft.com/office/drawing/2014/main" id="{BAE5D17A-0313-A6C5-4DD8-8A9E94580FD9}"/>
              </a:ext>
            </a:extLst>
          </p:cNvPr>
          <p:cNvSpPr>
            <a:spLocks noGrp="1"/>
          </p:cNvSpPr>
          <p:nvPr>
            <p:ph type="body" sz="quarter" idx="29"/>
          </p:nvPr>
        </p:nvSpPr>
        <p:spPr>
          <a:xfrm>
            <a:off x="4370602" y="4104000"/>
            <a:ext cx="3450792" cy="1836000"/>
          </a:xfrm>
          <a:prstGeom prst="rect">
            <a:avLst/>
          </a:prstGeom>
        </p:spPr>
        <p:txBody>
          <a:bodyPr/>
          <a:lstStyle>
            <a:lvl1pPr>
              <a:buNone/>
              <a:defRPr sz="1400"/>
            </a:lvl1pPr>
            <a:lvl2pPr>
              <a:defRPr sz="1400"/>
            </a:lvl2pPr>
            <a:lvl3pPr>
              <a:defRPr sz="1200"/>
            </a:lvl3pPr>
            <a:lvl4pPr>
              <a:defRPr sz="1200"/>
            </a:lvl4pPr>
            <a:lvl5pPr>
              <a:defRPr sz="1200" b="0" i="0">
                <a:latin typeface="Forever Forma Body Text" pitchFamily="2" charset="0"/>
              </a:defRPr>
            </a:lvl5pPr>
            <a:lvl6pPr>
              <a:defRPr sz="14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2" name="Name">
            <a:extLst>
              <a:ext uri="{FF2B5EF4-FFF2-40B4-BE49-F238E27FC236}">
                <a16:creationId xmlns:a16="http://schemas.microsoft.com/office/drawing/2014/main" id="{5F2A3F5B-C07A-B1D0-5E4B-C6948BAD8CFE}"/>
              </a:ext>
            </a:extLst>
          </p:cNvPr>
          <p:cNvSpPr>
            <a:spLocks noGrp="1"/>
          </p:cNvSpPr>
          <p:nvPr>
            <p:ph type="body" sz="quarter" idx="25" hasCustomPrompt="1"/>
          </p:nvPr>
        </p:nvSpPr>
        <p:spPr>
          <a:xfrm>
            <a:off x="8220000" y="1554108"/>
            <a:ext cx="3450788" cy="540000"/>
          </a:xfrm>
          <a:prstGeom prst="rect">
            <a:avLst/>
          </a:prstGeom>
        </p:spPr>
        <p:txBody>
          <a:bodyPr lIns="0" tIns="0" rIns="0" bIns="0"/>
          <a:lstStyle>
            <a:lvl1pPr>
              <a:lnSpc>
                <a:spcPct val="100000"/>
              </a:lnSpc>
              <a:spcBef>
                <a:spcPts val="200"/>
              </a:spcBef>
              <a:defRPr sz="1400" b="1"/>
            </a:lvl1pPr>
            <a:lvl2pPr marL="0" indent="0">
              <a:lnSpc>
                <a:spcPct val="100000"/>
              </a:lnSpc>
              <a:spcBef>
                <a:spcPts val="200"/>
              </a:spcBef>
              <a:buFont typeface="Arial" panose="020B0604020202020204" pitchFamily="34" charset="0"/>
              <a:buChar char="​"/>
              <a:defRPr sz="1400"/>
            </a:lvl2pPr>
            <a:lvl3pPr>
              <a:spcBef>
                <a:spcPts val="600"/>
              </a:spcBef>
              <a:defRPr sz="1400"/>
            </a:lvl3pPr>
            <a:lvl4pPr>
              <a:spcBef>
                <a:spcPts val="600"/>
              </a:spcBef>
              <a:defRPr sz="1400"/>
            </a:lvl4pPr>
            <a:lvl5pPr>
              <a:spcBef>
                <a:spcPts val="600"/>
              </a:spcBef>
              <a:defRPr sz="1400"/>
            </a:lvl5pPr>
          </a:lstStyle>
          <a:p>
            <a:pPr lvl="0"/>
            <a:r>
              <a:rPr lang="en-US"/>
              <a:t>[Name]</a:t>
            </a:r>
          </a:p>
          <a:p>
            <a:pPr lvl="1"/>
            <a:r>
              <a:rPr lang="en-US"/>
              <a:t>[Job title]</a:t>
            </a:r>
          </a:p>
        </p:txBody>
      </p:sp>
      <p:sp>
        <p:nvSpPr>
          <p:cNvPr id="20" name="Picture Placeholder 16">
            <a:extLst>
              <a:ext uri="{FF2B5EF4-FFF2-40B4-BE49-F238E27FC236}">
                <a16:creationId xmlns:a16="http://schemas.microsoft.com/office/drawing/2014/main" id="{F3CF9A67-D10C-4D4B-5C00-7D932A04E812}"/>
              </a:ext>
              <a:ext uri="{C183D7F6-B498-43B3-948B-1728B52AA6E4}">
                <adec:decorative xmlns:adec="http://schemas.microsoft.com/office/drawing/2017/decorative" val="1"/>
              </a:ext>
            </a:extLst>
          </p:cNvPr>
          <p:cNvSpPr>
            <a:spLocks noGrp="1"/>
          </p:cNvSpPr>
          <p:nvPr>
            <p:ph type="pic" sz="quarter" idx="23" hasCustomPrompt="1"/>
          </p:nvPr>
        </p:nvSpPr>
        <p:spPr>
          <a:xfrm>
            <a:off x="8220000" y="2094108"/>
            <a:ext cx="3450788" cy="1872000"/>
          </a:xfrm>
          <a:prstGeom prst="rect">
            <a:avLst/>
          </a:prstGeom>
          <a:solidFill>
            <a:schemeClr val="bg1">
              <a:lumMod val="95000"/>
            </a:schemeClr>
          </a:solidFill>
        </p:spPr>
        <p:txBody>
          <a:bodyPr wrap="square" lIns="63500" tIns="63500" rIns="63500" bIns="63500" anchor="ctr" anchorCtr="0">
            <a:noAutofit/>
          </a:bodyPr>
          <a:lstStyle>
            <a:lvl1pPr algn="ctr">
              <a:defRPr sz="1200"/>
            </a:lvl1pPr>
          </a:lstStyle>
          <a:p>
            <a:r>
              <a:rPr lang="en-US"/>
              <a:t>Click icon to insert an image</a:t>
            </a:r>
          </a:p>
        </p:txBody>
      </p:sp>
      <p:sp>
        <p:nvSpPr>
          <p:cNvPr id="5" name="Text Placeholder 15">
            <a:extLst>
              <a:ext uri="{FF2B5EF4-FFF2-40B4-BE49-F238E27FC236}">
                <a16:creationId xmlns:a16="http://schemas.microsoft.com/office/drawing/2014/main" id="{2F632B5D-A75C-6427-47E7-C52596552027}"/>
              </a:ext>
            </a:extLst>
          </p:cNvPr>
          <p:cNvSpPr>
            <a:spLocks noGrp="1"/>
          </p:cNvSpPr>
          <p:nvPr>
            <p:ph type="body" sz="quarter" idx="30"/>
          </p:nvPr>
        </p:nvSpPr>
        <p:spPr>
          <a:xfrm>
            <a:off x="8219996" y="4104000"/>
            <a:ext cx="3450792" cy="1836000"/>
          </a:xfrm>
          <a:prstGeom prst="rect">
            <a:avLst/>
          </a:prstGeom>
        </p:spPr>
        <p:txBody>
          <a:bodyPr/>
          <a:lstStyle>
            <a:lvl1pPr>
              <a:buNone/>
              <a:defRPr sz="1400"/>
            </a:lvl1pPr>
            <a:lvl2pPr>
              <a:defRPr sz="1400"/>
            </a:lvl2pPr>
            <a:lvl3pPr>
              <a:defRPr sz="1200"/>
            </a:lvl3pPr>
            <a:lvl4pPr>
              <a:defRPr sz="1200"/>
            </a:lvl4pPr>
            <a:lvl5pPr>
              <a:defRPr sz="1200" b="0" i="0">
                <a:latin typeface="Forever Forma Body Text" pitchFamily="2" charset="0"/>
              </a:defRPr>
            </a:lvl5pPr>
            <a:lvl6pPr>
              <a:defRPr sz="14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Slide Number Placeholder 3">
            <a:extLst>
              <a:ext uri="{FF2B5EF4-FFF2-40B4-BE49-F238E27FC236}">
                <a16:creationId xmlns:a16="http://schemas.microsoft.com/office/drawing/2014/main" id="{58A674A9-E3A9-C5F3-1EF2-238C23807BDA}"/>
              </a:ext>
              <a:ext uri="{C183D7F6-B498-43B3-948B-1728B52AA6E4}">
                <adec:decorative xmlns:adec="http://schemas.microsoft.com/office/drawing/2017/decorative" val="1"/>
              </a:ext>
            </a:extLst>
          </p:cNvPr>
          <p:cNvSpPr>
            <a:spLocks noGrp="1"/>
          </p:cNvSpPr>
          <p:nvPr>
            <p:ph type="sldNum" sz="quarter" idx="18"/>
          </p:nvPr>
        </p:nvSpPr>
        <p:spPr/>
        <p:txBody>
          <a:bodyPr/>
          <a:lstStyle/>
          <a:p>
            <a:fld id="{1C1606C5-D483-4832-A0E9-CF578A9B5883}" type="slidenum">
              <a:rPr lang="en-US" smtClean="0"/>
              <a:pPr/>
              <a:t>‹#›</a:t>
            </a:fld>
            <a:endParaRPr lang="en-US"/>
          </a:p>
        </p:txBody>
      </p:sp>
      <p:sp>
        <p:nvSpPr>
          <p:cNvPr id="18" name="Text Placeholder 7">
            <a:extLst>
              <a:ext uri="{FF2B5EF4-FFF2-40B4-BE49-F238E27FC236}">
                <a16:creationId xmlns:a16="http://schemas.microsoft.com/office/drawing/2014/main" id="{A77BB815-A48C-7140-B4CA-1061180A4471}"/>
              </a:ext>
            </a:extLst>
          </p:cNvPr>
          <p:cNvSpPr>
            <a:spLocks noGrp="1"/>
          </p:cNvSpPr>
          <p:nvPr>
            <p:ph type="body" sz="quarter" idx="19"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
        <p:nvSpPr>
          <p:cNvPr id="19" name="footnotes">
            <a:extLst>
              <a:ext uri="{FF2B5EF4-FFF2-40B4-BE49-F238E27FC236}">
                <a16:creationId xmlns:a16="http://schemas.microsoft.com/office/drawing/2014/main" id="{A50C17C6-6AED-9F46-AA0F-6E62F51B4AF7}"/>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4149830205"/>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iography D">
    <p:spTree>
      <p:nvGrpSpPr>
        <p:cNvPr id="1" name=""/>
        <p:cNvGrpSpPr/>
        <p:nvPr/>
      </p:nvGrpSpPr>
      <p:grpSpPr>
        <a:xfrm>
          <a:off x="0" y="0"/>
          <a:ext cx="0" cy="0"/>
          <a:chOff x="0" y="0"/>
          <a:chExt cx="0" cy="0"/>
        </a:xfrm>
      </p:grpSpPr>
      <p:graphicFrame>
        <p:nvGraphicFramePr>
          <p:cNvPr id="8" name="think-cell data - do not delete">
            <a:extLst>
              <a:ext uri="{FF2B5EF4-FFF2-40B4-BE49-F238E27FC236}">
                <a16:creationId xmlns:a16="http://schemas.microsoft.com/office/drawing/2014/main" id="{A0C50F12-55C1-7AB3-F677-2444F55FE446}"/>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1623315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8" name="think-cell data - do not delete">
                        <a:extLst>
                          <a:ext uri="{FF2B5EF4-FFF2-40B4-BE49-F238E27FC236}">
                            <a16:creationId xmlns:a16="http://schemas.microsoft.com/office/drawing/2014/main" id="{A0C50F12-55C1-7AB3-F677-2444F55FE446}"/>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0" name="Name">
            <a:extLst>
              <a:ext uri="{FF2B5EF4-FFF2-40B4-BE49-F238E27FC236}">
                <a16:creationId xmlns:a16="http://schemas.microsoft.com/office/drawing/2014/main" id="{3B92114E-862E-E39F-89F3-255D469EE649}"/>
              </a:ext>
            </a:extLst>
          </p:cNvPr>
          <p:cNvSpPr>
            <a:spLocks noGrp="1"/>
          </p:cNvSpPr>
          <p:nvPr userDrawn="1">
            <p:ph type="body" sz="quarter" idx="16" hasCustomPrompt="1"/>
          </p:nvPr>
        </p:nvSpPr>
        <p:spPr>
          <a:xfrm>
            <a:off x="521208" y="1554108"/>
            <a:ext cx="2370792" cy="432000"/>
          </a:xfrm>
          <a:prstGeom prst="rect">
            <a:avLst/>
          </a:prstGeom>
        </p:spPr>
        <p:txBody>
          <a:bodyPr lIns="0" tIns="0" rIns="0" bIns="0"/>
          <a:lstStyle>
            <a:lvl1pPr>
              <a:lnSpc>
                <a:spcPct val="100000"/>
              </a:lnSpc>
              <a:spcBef>
                <a:spcPts val="200"/>
              </a:spcBef>
              <a:defRPr sz="1200" b="1"/>
            </a:lvl1pPr>
            <a:lvl2pPr marL="0" indent="0">
              <a:lnSpc>
                <a:spcPct val="100000"/>
              </a:lnSpc>
              <a:spcBef>
                <a:spcPts val="200"/>
              </a:spcBef>
              <a:buFont typeface="Arial" panose="020B0604020202020204" pitchFamily="34" charset="0"/>
              <a:buChar char="​"/>
              <a:defRPr sz="1200"/>
            </a:lvl2pPr>
            <a:lvl3pPr>
              <a:spcBef>
                <a:spcPts val="600"/>
              </a:spcBef>
              <a:defRPr sz="1400"/>
            </a:lvl3pPr>
            <a:lvl4pPr>
              <a:spcBef>
                <a:spcPts val="600"/>
              </a:spcBef>
              <a:defRPr sz="1400"/>
            </a:lvl4pPr>
            <a:lvl5pPr>
              <a:spcBef>
                <a:spcPts val="600"/>
              </a:spcBef>
              <a:defRPr sz="1400"/>
            </a:lvl5pPr>
          </a:lstStyle>
          <a:p>
            <a:pPr lvl="0"/>
            <a:r>
              <a:rPr lang="en-US"/>
              <a:t>[Name]</a:t>
            </a:r>
          </a:p>
          <a:p>
            <a:pPr lvl="1"/>
            <a:r>
              <a:rPr lang="en-US"/>
              <a:t>[Job title]</a:t>
            </a:r>
          </a:p>
        </p:txBody>
      </p:sp>
      <p:sp>
        <p:nvSpPr>
          <p:cNvPr id="17" name="Picture Placeholder 16">
            <a:extLst>
              <a:ext uri="{FF2B5EF4-FFF2-40B4-BE49-F238E27FC236}">
                <a16:creationId xmlns:a16="http://schemas.microsoft.com/office/drawing/2014/main" id="{9A093464-3095-F78A-B2E2-863308B11ABC}"/>
              </a:ext>
              <a:ext uri="{C183D7F6-B498-43B3-948B-1728B52AA6E4}">
                <adec:decorative xmlns:adec="http://schemas.microsoft.com/office/drawing/2017/decorative" val="1"/>
              </a:ext>
            </a:extLst>
          </p:cNvPr>
          <p:cNvSpPr>
            <a:spLocks noGrp="1"/>
          </p:cNvSpPr>
          <p:nvPr>
            <p:ph type="pic" sz="quarter" idx="13" hasCustomPrompt="1"/>
          </p:nvPr>
        </p:nvSpPr>
        <p:spPr>
          <a:xfrm>
            <a:off x="521208" y="1986108"/>
            <a:ext cx="2370792" cy="1872000"/>
          </a:xfrm>
          <a:prstGeom prst="rect">
            <a:avLst/>
          </a:prstGeom>
          <a:solidFill>
            <a:schemeClr val="bg1">
              <a:lumMod val="95000"/>
            </a:schemeClr>
          </a:solidFill>
        </p:spPr>
        <p:txBody>
          <a:bodyPr wrap="square" lIns="63500" tIns="63500" rIns="63500" bIns="63500" anchor="ctr" anchorCtr="0">
            <a:noAutofit/>
          </a:bodyPr>
          <a:lstStyle>
            <a:lvl1pPr algn="ctr">
              <a:defRPr sz="1200"/>
            </a:lvl1pPr>
          </a:lstStyle>
          <a:p>
            <a:r>
              <a:rPr lang="en-US"/>
              <a:t>Click icon to insert an image</a:t>
            </a:r>
          </a:p>
        </p:txBody>
      </p:sp>
      <p:sp>
        <p:nvSpPr>
          <p:cNvPr id="16" name="Text Placeholder 15">
            <a:extLst>
              <a:ext uri="{FF2B5EF4-FFF2-40B4-BE49-F238E27FC236}">
                <a16:creationId xmlns:a16="http://schemas.microsoft.com/office/drawing/2014/main" id="{DBA55CB9-BA61-9A40-7BB0-B8BD345AD14B}"/>
              </a:ext>
            </a:extLst>
          </p:cNvPr>
          <p:cNvSpPr>
            <a:spLocks noGrp="1"/>
          </p:cNvSpPr>
          <p:nvPr>
            <p:ph type="body" sz="quarter" idx="17"/>
          </p:nvPr>
        </p:nvSpPr>
        <p:spPr>
          <a:xfrm>
            <a:off x="521208" y="3996000"/>
            <a:ext cx="2370792" cy="1836000"/>
          </a:xfrm>
          <a:prstGeom prst="rect">
            <a:avLst/>
          </a:prstGeom>
        </p:spPr>
        <p:txBody>
          <a:bodyPr/>
          <a:lstStyle>
            <a:lvl1pPr>
              <a:buNone/>
              <a:defRPr sz="1200"/>
            </a:lvl1pPr>
            <a:lvl2pPr>
              <a:defRPr sz="1200"/>
            </a:lvl2pPr>
            <a:lvl3pPr>
              <a:defRPr sz="1100"/>
            </a:lvl3pPr>
            <a:lvl4pPr>
              <a:defRPr sz="1100"/>
            </a:lvl4pPr>
            <a:lvl5pPr>
              <a:defRPr sz="1100" b="0" i="0">
                <a:latin typeface="Forever Forma Body Text" pitchFamily="2" charset="0"/>
              </a:defRPr>
            </a:lvl5pPr>
            <a:lvl6pPr>
              <a:defRPr sz="1200"/>
            </a:lvl6pPr>
            <a:lvl7pPr>
              <a:defRPr sz="1100"/>
            </a:lvl7pPr>
            <a:lvl8pPr>
              <a:buAutoNum type="arabicPeriod"/>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1" name="Name">
            <a:extLst>
              <a:ext uri="{FF2B5EF4-FFF2-40B4-BE49-F238E27FC236}">
                <a16:creationId xmlns:a16="http://schemas.microsoft.com/office/drawing/2014/main" id="{EA4EEB90-15B6-0044-9756-38465AA85EA5}"/>
              </a:ext>
            </a:extLst>
          </p:cNvPr>
          <p:cNvSpPr>
            <a:spLocks noGrp="1"/>
          </p:cNvSpPr>
          <p:nvPr>
            <p:ph type="body" sz="quarter" idx="31" hasCustomPrompt="1"/>
          </p:nvPr>
        </p:nvSpPr>
        <p:spPr>
          <a:xfrm>
            <a:off x="3447472" y="1554108"/>
            <a:ext cx="2370792" cy="432000"/>
          </a:xfrm>
          <a:prstGeom prst="rect">
            <a:avLst/>
          </a:prstGeom>
        </p:spPr>
        <p:txBody>
          <a:bodyPr lIns="0" tIns="0" rIns="0" bIns="0"/>
          <a:lstStyle>
            <a:lvl1pPr>
              <a:lnSpc>
                <a:spcPct val="100000"/>
              </a:lnSpc>
              <a:spcBef>
                <a:spcPts val="200"/>
              </a:spcBef>
              <a:defRPr sz="1200" b="1"/>
            </a:lvl1pPr>
            <a:lvl2pPr marL="0" indent="0">
              <a:lnSpc>
                <a:spcPct val="100000"/>
              </a:lnSpc>
              <a:spcBef>
                <a:spcPts val="200"/>
              </a:spcBef>
              <a:buFont typeface="Arial" panose="020B0604020202020204" pitchFamily="34" charset="0"/>
              <a:buChar char="​"/>
              <a:defRPr sz="1200"/>
            </a:lvl2pPr>
            <a:lvl3pPr>
              <a:spcBef>
                <a:spcPts val="600"/>
              </a:spcBef>
              <a:defRPr sz="1400"/>
            </a:lvl3pPr>
            <a:lvl4pPr>
              <a:spcBef>
                <a:spcPts val="600"/>
              </a:spcBef>
              <a:defRPr sz="1400"/>
            </a:lvl4pPr>
            <a:lvl5pPr>
              <a:spcBef>
                <a:spcPts val="600"/>
              </a:spcBef>
              <a:defRPr sz="1400"/>
            </a:lvl5pPr>
          </a:lstStyle>
          <a:p>
            <a:pPr lvl="0"/>
            <a:r>
              <a:rPr lang="en-US"/>
              <a:t>[Name]</a:t>
            </a:r>
          </a:p>
          <a:p>
            <a:pPr lvl="1"/>
            <a:r>
              <a:rPr lang="en-US"/>
              <a:t>[Job title]</a:t>
            </a:r>
          </a:p>
        </p:txBody>
      </p:sp>
      <p:sp>
        <p:nvSpPr>
          <p:cNvPr id="12" name="Picture Placeholder 16">
            <a:extLst>
              <a:ext uri="{FF2B5EF4-FFF2-40B4-BE49-F238E27FC236}">
                <a16:creationId xmlns:a16="http://schemas.microsoft.com/office/drawing/2014/main" id="{FD7AFD92-04BD-B359-A486-A133DAE02D1B}"/>
              </a:ext>
              <a:ext uri="{C183D7F6-B498-43B3-948B-1728B52AA6E4}">
                <adec:decorative xmlns:adec="http://schemas.microsoft.com/office/drawing/2017/decorative" val="1"/>
              </a:ext>
            </a:extLst>
          </p:cNvPr>
          <p:cNvSpPr>
            <a:spLocks noGrp="1"/>
          </p:cNvSpPr>
          <p:nvPr>
            <p:ph type="pic" sz="quarter" idx="32" hasCustomPrompt="1"/>
          </p:nvPr>
        </p:nvSpPr>
        <p:spPr>
          <a:xfrm>
            <a:off x="3447472" y="1986108"/>
            <a:ext cx="2370792" cy="1872000"/>
          </a:xfrm>
          <a:prstGeom prst="rect">
            <a:avLst/>
          </a:prstGeom>
          <a:solidFill>
            <a:schemeClr val="bg1">
              <a:lumMod val="95000"/>
            </a:schemeClr>
          </a:solidFill>
        </p:spPr>
        <p:txBody>
          <a:bodyPr wrap="square" lIns="63500" tIns="63500" rIns="63500" bIns="63500" anchor="ctr" anchorCtr="0">
            <a:noAutofit/>
          </a:bodyPr>
          <a:lstStyle>
            <a:lvl1pPr algn="ctr">
              <a:defRPr sz="1200"/>
            </a:lvl1pPr>
          </a:lstStyle>
          <a:p>
            <a:r>
              <a:rPr lang="en-US"/>
              <a:t>Click icon to insert an image</a:t>
            </a:r>
          </a:p>
        </p:txBody>
      </p:sp>
      <p:sp>
        <p:nvSpPr>
          <p:cNvPr id="3" name="Text Placeholder 15">
            <a:extLst>
              <a:ext uri="{FF2B5EF4-FFF2-40B4-BE49-F238E27FC236}">
                <a16:creationId xmlns:a16="http://schemas.microsoft.com/office/drawing/2014/main" id="{26047FD3-5F20-4261-F0CA-0438B699B800}"/>
              </a:ext>
            </a:extLst>
          </p:cNvPr>
          <p:cNvSpPr>
            <a:spLocks noGrp="1"/>
          </p:cNvSpPr>
          <p:nvPr>
            <p:ph type="body" sz="quarter" idx="36"/>
          </p:nvPr>
        </p:nvSpPr>
        <p:spPr>
          <a:xfrm>
            <a:off x="3447471" y="3996000"/>
            <a:ext cx="2370792" cy="1836000"/>
          </a:xfrm>
          <a:prstGeom prst="rect">
            <a:avLst/>
          </a:prstGeom>
        </p:spPr>
        <p:txBody>
          <a:bodyPr/>
          <a:lstStyle>
            <a:lvl1pPr>
              <a:buNone/>
              <a:defRPr sz="1200"/>
            </a:lvl1pPr>
            <a:lvl2pPr>
              <a:defRPr sz="1200"/>
            </a:lvl2pPr>
            <a:lvl3pPr>
              <a:defRPr sz="1100"/>
            </a:lvl3pPr>
            <a:lvl4pPr>
              <a:defRPr sz="1100"/>
            </a:lvl4pPr>
            <a:lvl5pPr>
              <a:defRPr sz="1100" b="0" i="0">
                <a:latin typeface="Forever Forma Body Text" pitchFamily="2" charset="0"/>
              </a:defRPr>
            </a:lvl5pPr>
            <a:lvl6pPr>
              <a:defRPr sz="1200"/>
            </a:lvl6pPr>
            <a:lvl7pPr>
              <a:defRPr sz="1100"/>
            </a:lvl7pPr>
            <a:lvl8pPr>
              <a:buAutoNum type="arabicPeriod"/>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4" name="Name">
            <a:extLst>
              <a:ext uri="{FF2B5EF4-FFF2-40B4-BE49-F238E27FC236}">
                <a16:creationId xmlns:a16="http://schemas.microsoft.com/office/drawing/2014/main" id="{7CA387A0-4F69-06E9-D229-4DA340B05878}"/>
              </a:ext>
            </a:extLst>
          </p:cNvPr>
          <p:cNvSpPr>
            <a:spLocks noGrp="1"/>
          </p:cNvSpPr>
          <p:nvPr>
            <p:ph type="body" sz="quarter" idx="34" hasCustomPrompt="1"/>
          </p:nvPr>
        </p:nvSpPr>
        <p:spPr>
          <a:xfrm>
            <a:off x="6373736" y="1554108"/>
            <a:ext cx="2370792" cy="432000"/>
          </a:xfrm>
          <a:prstGeom prst="rect">
            <a:avLst/>
          </a:prstGeom>
        </p:spPr>
        <p:txBody>
          <a:bodyPr lIns="0" tIns="0" rIns="0" bIns="0"/>
          <a:lstStyle>
            <a:lvl1pPr>
              <a:lnSpc>
                <a:spcPct val="100000"/>
              </a:lnSpc>
              <a:spcBef>
                <a:spcPts val="200"/>
              </a:spcBef>
              <a:defRPr sz="1200" b="1"/>
            </a:lvl1pPr>
            <a:lvl2pPr marL="0" indent="0">
              <a:lnSpc>
                <a:spcPct val="100000"/>
              </a:lnSpc>
              <a:spcBef>
                <a:spcPts val="200"/>
              </a:spcBef>
              <a:buFont typeface="Arial" panose="020B0604020202020204" pitchFamily="34" charset="0"/>
              <a:buChar char="​"/>
              <a:defRPr sz="1200"/>
            </a:lvl2pPr>
            <a:lvl3pPr>
              <a:spcBef>
                <a:spcPts val="600"/>
              </a:spcBef>
              <a:defRPr sz="1400"/>
            </a:lvl3pPr>
            <a:lvl4pPr>
              <a:spcBef>
                <a:spcPts val="600"/>
              </a:spcBef>
              <a:defRPr sz="1400"/>
            </a:lvl4pPr>
            <a:lvl5pPr>
              <a:spcBef>
                <a:spcPts val="600"/>
              </a:spcBef>
              <a:defRPr sz="1400"/>
            </a:lvl5pPr>
          </a:lstStyle>
          <a:p>
            <a:pPr lvl="0"/>
            <a:r>
              <a:rPr lang="en-US"/>
              <a:t>[Name]</a:t>
            </a:r>
          </a:p>
          <a:p>
            <a:pPr lvl="1"/>
            <a:r>
              <a:rPr lang="en-US"/>
              <a:t>[Job title]</a:t>
            </a:r>
          </a:p>
        </p:txBody>
      </p:sp>
      <p:sp>
        <p:nvSpPr>
          <p:cNvPr id="15" name="Picture Placeholder 16">
            <a:extLst>
              <a:ext uri="{FF2B5EF4-FFF2-40B4-BE49-F238E27FC236}">
                <a16:creationId xmlns:a16="http://schemas.microsoft.com/office/drawing/2014/main" id="{CA79168D-D8E1-9B2D-7469-F8F3BB4E2C19}"/>
              </a:ext>
              <a:ext uri="{C183D7F6-B498-43B3-948B-1728B52AA6E4}">
                <adec:decorative xmlns:adec="http://schemas.microsoft.com/office/drawing/2017/decorative" val="1"/>
              </a:ext>
            </a:extLst>
          </p:cNvPr>
          <p:cNvSpPr>
            <a:spLocks noGrp="1"/>
          </p:cNvSpPr>
          <p:nvPr>
            <p:ph type="pic" sz="quarter" idx="35" hasCustomPrompt="1"/>
          </p:nvPr>
        </p:nvSpPr>
        <p:spPr>
          <a:xfrm>
            <a:off x="6373736" y="1986108"/>
            <a:ext cx="2370792" cy="1872000"/>
          </a:xfrm>
          <a:prstGeom prst="rect">
            <a:avLst/>
          </a:prstGeom>
          <a:solidFill>
            <a:schemeClr val="bg1">
              <a:lumMod val="95000"/>
            </a:schemeClr>
          </a:solidFill>
        </p:spPr>
        <p:txBody>
          <a:bodyPr wrap="square" lIns="63500" tIns="63500" rIns="63500" bIns="63500" anchor="ctr" anchorCtr="0">
            <a:noAutofit/>
          </a:bodyPr>
          <a:lstStyle>
            <a:lvl1pPr algn="ctr">
              <a:defRPr sz="1200"/>
            </a:lvl1pPr>
          </a:lstStyle>
          <a:p>
            <a:r>
              <a:rPr lang="en-US"/>
              <a:t>Click icon to insert an image</a:t>
            </a:r>
          </a:p>
        </p:txBody>
      </p:sp>
      <p:sp>
        <p:nvSpPr>
          <p:cNvPr id="5" name="Text Placeholder 15">
            <a:extLst>
              <a:ext uri="{FF2B5EF4-FFF2-40B4-BE49-F238E27FC236}">
                <a16:creationId xmlns:a16="http://schemas.microsoft.com/office/drawing/2014/main" id="{56AE37F7-ED5E-45E8-F56E-21FD8F5BE2CB}"/>
              </a:ext>
            </a:extLst>
          </p:cNvPr>
          <p:cNvSpPr>
            <a:spLocks noGrp="1"/>
          </p:cNvSpPr>
          <p:nvPr>
            <p:ph type="body" sz="quarter" idx="37"/>
          </p:nvPr>
        </p:nvSpPr>
        <p:spPr>
          <a:xfrm>
            <a:off x="6373734" y="3996000"/>
            <a:ext cx="2370792" cy="1836000"/>
          </a:xfrm>
          <a:prstGeom prst="rect">
            <a:avLst/>
          </a:prstGeom>
        </p:spPr>
        <p:txBody>
          <a:bodyPr/>
          <a:lstStyle>
            <a:lvl1pPr>
              <a:buNone/>
              <a:defRPr sz="1200"/>
            </a:lvl1pPr>
            <a:lvl2pPr>
              <a:defRPr sz="1200"/>
            </a:lvl2pPr>
            <a:lvl3pPr>
              <a:defRPr sz="1100"/>
            </a:lvl3pPr>
            <a:lvl4pPr>
              <a:defRPr sz="1100"/>
            </a:lvl4pPr>
            <a:lvl5pPr>
              <a:defRPr sz="1100" b="0" i="0">
                <a:latin typeface="Forever Forma Body Text" pitchFamily="2" charset="0"/>
              </a:defRPr>
            </a:lvl5pPr>
            <a:lvl6pPr>
              <a:defRPr sz="1200"/>
            </a:lvl6pPr>
            <a:lvl7pPr>
              <a:defRPr sz="1100"/>
            </a:lvl7pPr>
            <a:lvl8pPr>
              <a:buAutoNum type="arabicPeriod"/>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38" name="Name">
            <a:extLst>
              <a:ext uri="{FF2B5EF4-FFF2-40B4-BE49-F238E27FC236}">
                <a16:creationId xmlns:a16="http://schemas.microsoft.com/office/drawing/2014/main" id="{9156FAE6-7FAF-8CD0-1115-28AE5D4844C1}"/>
              </a:ext>
            </a:extLst>
          </p:cNvPr>
          <p:cNvSpPr>
            <a:spLocks noGrp="1"/>
          </p:cNvSpPr>
          <p:nvPr>
            <p:ph type="body" sz="quarter" idx="29" hasCustomPrompt="1"/>
          </p:nvPr>
        </p:nvSpPr>
        <p:spPr>
          <a:xfrm>
            <a:off x="9300000" y="1554108"/>
            <a:ext cx="2370788" cy="432000"/>
          </a:xfrm>
          <a:prstGeom prst="rect">
            <a:avLst/>
          </a:prstGeom>
        </p:spPr>
        <p:txBody>
          <a:bodyPr lIns="0" tIns="0" rIns="0" bIns="0"/>
          <a:lstStyle>
            <a:lvl1pPr>
              <a:lnSpc>
                <a:spcPct val="100000"/>
              </a:lnSpc>
              <a:spcBef>
                <a:spcPts val="200"/>
              </a:spcBef>
              <a:defRPr sz="1200" b="1"/>
            </a:lvl1pPr>
            <a:lvl2pPr marL="0" indent="0">
              <a:lnSpc>
                <a:spcPct val="100000"/>
              </a:lnSpc>
              <a:spcBef>
                <a:spcPts val="200"/>
              </a:spcBef>
              <a:buFont typeface="Arial" panose="020B0604020202020204" pitchFamily="34" charset="0"/>
              <a:buChar char="​"/>
              <a:defRPr sz="1200"/>
            </a:lvl2pPr>
            <a:lvl3pPr>
              <a:spcBef>
                <a:spcPts val="600"/>
              </a:spcBef>
              <a:defRPr sz="1400"/>
            </a:lvl3pPr>
            <a:lvl4pPr>
              <a:spcBef>
                <a:spcPts val="600"/>
              </a:spcBef>
              <a:defRPr sz="1400"/>
            </a:lvl4pPr>
            <a:lvl5pPr>
              <a:spcBef>
                <a:spcPts val="600"/>
              </a:spcBef>
              <a:defRPr sz="1400"/>
            </a:lvl5pPr>
          </a:lstStyle>
          <a:p>
            <a:pPr lvl="0"/>
            <a:r>
              <a:rPr lang="en-US"/>
              <a:t>[Name]</a:t>
            </a:r>
          </a:p>
          <a:p>
            <a:pPr lvl="1"/>
            <a:r>
              <a:rPr lang="en-US"/>
              <a:t>[Job title]</a:t>
            </a:r>
          </a:p>
        </p:txBody>
      </p:sp>
      <p:sp>
        <p:nvSpPr>
          <p:cNvPr id="36" name="Picture Placeholder 16">
            <a:extLst>
              <a:ext uri="{FF2B5EF4-FFF2-40B4-BE49-F238E27FC236}">
                <a16:creationId xmlns:a16="http://schemas.microsoft.com/office/drawing/2014/main" id="{2BFF0F51-1E18-4B8F-C7DE-8EC473064E07}"/>
              </a:ext>
              <a:ext uri="{C183D7F6-B498-43B3-948B-1728B52AA6E4}">
                <adec:decorative xmlns:adec="http://schemas.microsoft.com/office/drawing/2017/decorative" val="1"/>
              </a:ext>
            </a:extLst>
          </p:cNvPr>
          <p:cNvSpPr>
            <a:spLocks noGrp="1"/>
          </p:cNvSpPr>
          <p:nvPr>
            <p:ph type="pic" sz="quarter" idx="27" hasCustomPrompt="1"/>
          </p:nvPr>
        </p:nvSpPr>
        <p:spPr>
          <a:xfrm>
            <a:off x="9300000" y="1986108"/>
            <a:ext cx="2370788" cy="1872000"/>
          </a:xfrm>
          <a:prstGeom prst="rect">
            <a:avLst/>
          </a:prstGeom>
          <a:solidFill>
            <a:schemeClr val="bg1">
              <a:lumMod val="95000"/>
            </a:schemeClr>
          </a:solidFill>
        </p:spPr>
        <p:txBody>
          <a:bodyPr wrap="square" lIns="63500" tIns="63500" rIns="63500" bIns="63500" anchor="ctr" anchorCtr="0">
            <a:noAutofit/>
          </a:bodyPr>
          <a:lstStyle>
            <a:lvl1pPr algn="ctr">
              <a:defRPr sz="1200"/>
            </a:lvl1pPr>
          </a:lstStyle>
          <a:p>
            <a:r>
              <a:rPr lang="en-US"/>
              <a:t>Click icon to insert an image</a:t>
            </a:r>
          </a:p>
        </p:txBody>
      </p:sp>
      <p:sp>
        <p:nvSpPr>
          <p:cNvPr id="7" name="Text Placeholder 15">
            <a:extLst>
              <a:ext uri="{FF2B5EF4-FFF2-40B4-BE49-F238E27FC236}">
                <a16:creationId xmlns:a16="http://schemas.microsoft.com/office/drawing/2014/main" id="{9CBF203C-4619-CD03-A195-15CE58181C34}"/>
              </a:ext>
            </a:extLst>
          </p:cNvPr>
          <p:cNvSpPr>
            <a:spLocks noGrp="1"/>
          </p:cNvSpPr>
          <p:nvPr>
            <p:ph type="body" sz="quarter" idx="38"/>
          </p:nvPr>
        </p:nvSpPr>
        <p:spPr>
          <a:xfrm>
            <a:off x="9299996" y="3996000"/>
            <a:ext cx="2370792" cy="1836000"/>
          </a:xfrm>
          <a:prstGeom prst="rect">
            <a:avLst/>
          </a:prstGeom>
        </p:spPr>
        <p:txBody>
          <a:bodyPr/>
          <a:lstStyle>
            <a:lvl1pPr>
              <a:buNone/>
              <a:defRPr sz="1200"/>
            </a:lvl1pPr>
            <a:lvl2pPr>
              <a:defRPr sz="1200"/>
            </a:lvl2pPr>
            <a:lvl3pPr>
              <a:defRPr sz="1100"/>
            </a:lvl3pPr>
            <a:lvl4pPr>
              <a:defRPr sz="1100"/>
            </a:lvl4pPr>
            <a:lvl5pPr>
              <a:defRPr sz="1100" b="0" i="0">
                <a:latin typeface="Forever Forma Body Text" pitchFamily="2" charset="0"/>
              </a:defRPr>
            </a:lvl5pPr>
            <a:lvl6pPr>
              <a:defRPr sz="1200"/>
            </a:lvl6pPr>
            <a:lvl7pPr>
              <a:defRPr sz="1100"/>
            </a:lvl7pPr>
            <a:lvl8pPr>
              <a:buAutoNum type="arabicPeriod"/>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Slide Number Placeholder 3">
            <a:extLst>
              <a:ext uri="{FF2B5EF4-FFF2-40B4-BE49-F238E27FC236}">
                <a16:creationId xmlns:a16="http://schemas.microsoft.com/office/drawing/2014/main" id="{58A674A9-E3A9-C5F3-1EF2-238C23807BDA}"/>
              </a:ext>
              <a:ext uri="{C183D7F6-B498-43B3-948B-1728B52AA6E4}">
                <adec:decorative xmlns:adec="http://schemas.microsoft.com/office/drawing/2017/decorative" val="1"/>
              </a:ext>
            </a:extLst>
          </p:cNvPr>
          <p:cNvSpPr>
            <a:spLocks noGrp="1"/>
          </p:cNvSpPr>
          <p:nvPr>
            <p:ph type="sldNum" sz="quarter" idx="18"/>
          </p:nvPr>
        </p:nvSpPr>
        <p:spPr/>
        <p:txBody>
          <a:bodyPr/>
          <a:lstStyle/>
          <a:p>
            <a:fld id="{1C1606C5-D483-4832-A0E9-CF578A9B5883}" type="slidenum">
              <a:rPr lang="en-US" smtClean="0"/>
              <a:pPr/>
              <a:t>‹#›</a:t>
            </a:fld>
            <a:endParaRPr lang="en-US"/>
          </a:p>
        </p:txBody>
      </p:sp>
      <p:sp>
        <p:nvSpPr>
          <p:cNvPr id="19" name="Text Placeholder 7">
            <a:extLst>
              <a:ext uri="{FF2B5EF4-FFF2-40B4-BE49-F238E27FC236}">
                <a16:creationId xmlns:a16="http://schemas.microsoft.com/office/drawing/2014/main" id="{07BF923E-2864-D34D-B0DF-192FFF648D39}"/>
              </a:ext>
            </a:extLst>
          </p:cNvPr>
          <p:cNvSpPr>
            <a:spLocks noGrp="1"/>
          </p:cNvSpPr>
          <p:nvPr>
            <p:ph type="body" sz="quarter" idx="19"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
        <p:nvSpPr>
          <p:cNvPr id="20" name="footnotes">
            <a:extLst>
              <a:ext uri="{FF2B5EF4-FFF2-40B4-BE49-F238E27FC236}">
                <a16:creationId xmlns:a16="http://schemas.microsoft.com/office/drawing/2014/main" id="{1AF88AAA-8279-D849-AD32-5985768B905E}"/>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6" name="Title 1">
            <a:extLst>
              <a:ext uri="{FF2B5EF4-FFF2-40B4-BE49-F238E27FC236}">
                <a16:creationId xmlns:a16="http://schemas.microsoft.com/office/drawing/2014/main" id="{AAD71B23-CC0B-5E5B-7638-2BE5EADEEF38}"/>
              </a:ext>
            </a:extLst>
          </p:cNvPr>
          <p:cNvSpPr>
            <a:spLocks noGrp="1"/>
          </p:cNvSpPr>
          <p:nvPr>
            <p:ph type="title"/>
          </p:nvPr>
        </p:nvSpPr>
        <p:spPr>
          <a:xfrm>
            <a:off x="521208" y="273562"/>
            <a:ext cx="11149580" cy="944637"/>
          </a:xfrm>
        </p:spPr>
        <p:txBody>
          <a:bodyPr/>
          <a:lstStyle/>
          <a:p>
            <a:r>
              <a:rPr lang="en-US"/>
              <a:t>Click to edit Master title style</a:t>
            </a:r>
          </a:p>
        </p:txBody>
      </p:sp>
    </p:spTree>
    <p:extLst>
      <p:ext uri="{BB962C8B-B14F-4D97-AF65-F5344CB8AC3E}">
        <p14:creationId xmlns:p14="http://schemas.microsoft.com/office/powerpoint/2010/main" val="2601440421"/>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oard">
    <p:spTree>
      <p:nvGrpSpPr>
        <p:cNvPr id="1" name=""/>
        <p:cNvGrpSpPr/>
        <p:nvPr/>
      </p:nvGrpSpPr>
      <p:grpSpPr>
        <a:xfrm>
          <a:off x="0" y="0"/>
          <a:ext cx="0" cy="0"/>
          <a:chOff x="0" y="0"/>
          <a:chExt cx="0" cy="0"/>
        </a:xfrm>
      </p:grpSpPr>
      <p:graphicFrame>
        <p:nvGraphicFramePr>
          <p:cNvPr id="50" name="think-cell data - do not delete">
            <a:extLst>
              <a:ext uri="{FF2B5EF4-FFF2-40B4-BE49-F238E27FC236}">
                <a16:creationId xmlns:a16="http://schemas.microsoft.com/office/drawing/2014/main" id="{7C295AE7-CE56-FAA8-5ADD-FF2A983E6E02}"/>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1623315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0" name="think-cell data - do not delete">
                        <a:extLst>
                          <a:ext uri="{FF2B5EF4-FFF2-40B4-BE49-F238E27FC236}">
                            <a16:creationId xmlns:a16="http://schemas.microsoft.com/office/drawing/2014/main" id="{7C295AE7-CE56-FAA8-5ADD-FF2A983E6E02}"/>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9" name="Photo">
            <a:extLst>
              <a:ext uri="{FF2B5EF4-FFF2-40B4-BE49-F238E27FC236}">
                <a16:creationId xmlns:a16="http://schemas.microsoft.com/office/drawing/2014/main" id="{60619E85-C7BC-AC62-E0EF-E7A8868F6ACE}"/>
              </a:ext>
              <a:ext uri="{C183D7F6-B498-43B3-948B-1728B52AA6E4}">
                <adec:decorative xmlns:adec="http://schemas.microsoft.com/office/drawing/2017/decorative" val="1"/>
              </a:ext>
            </a:extLst>
          </p:cNvPr>
          <p:cNvSpPr>
            <a:spLocks noGrp="1"/>
          </p:cNvSpPr>
          <p:nvPr>
            <p:ph type="pic" sz="quarter" idx="13" hasCustomPrompt="1"/>
          </p:nvPr>
        </p:nvSpPr>
        <p:spPr>
          <a:xfrm>
            <a:off x="521208" y="1584000"/>
            <a:ext cx="894792" cy="1080000"/>
          </a:xfrm>
          <a:prstGeom prst="rect">
            <a:avLst/>
          </a:prstGeom>
          <a:solidFill>
            <a:schemeClr val="bg1">
              <a:lumMod val="95000"/>
            </a:schemeClr>
          </a:solidFill>
        </p:spPr>
        <p:txBody>
          <a:bodyPr wrap="square" lIns="63500" tIns="63500" rIns="63500" bIns="63500">
            <a:noAutofit/>
          </a:bodyPr>
          <a:lstStyle>
            <a:lvl1pPr algn="l">
              <a:defRPr sz="1200"/>
            </a:lvl1pPr>
          </a:lstStyle>
          <a:p>
            <a:r>
              <a:rPr lang="en-US"/>
              <a:t>Click icon to insert an image</a:t>
            </a:r>
          </a:p>
        </p:txBody>
      </p:sp>
      <p:sp>
        <p:nvSpPr>
          <p:cNvPr id="40" name="Name">
            <a:extLst>
              <a:ext uri="{FF2B5EF4-FFF2-40B4-BE49-F238E27FC236}">
                <a16:creationId xmlns:a16="http://schemas.microsoft.com/office/drawing/2014/main" id="{3B92114E-862E-E39F-89F3-255D469EE649}"/>
              </a:ext>
            </a:extLst>
          </p:cNvPr>
          <p:cNvSpPr>
            <a:spLocks noGrp="1"/>
          </p:cNvSpPr>
          <p:nvPr>
            <p:ph type="body" sz="quarter" idx="16" hasCustomPrompt="1"/>
          </p:nvPr>
        </p:nvSpPr>
        <p:spPr>
          <a:xfrm>
            <a:off x="1415859" y="1584000"/>
            <a:ext cx="1656000" cy="1080000"/>
          </a:xfrm>
          <a:prstGeom prst="rect">
            <a:avLst/>
          </a:prstGeom>
        </p:spPr>
        <p:txBody>
          <a:bodyPr lIns="144000" tIns="50400" rIns="50400" bIns="50400"/>
          <a:lstStyle>
            <a:lvl1pPr>
              <a:lnSpc>
                <a:spcPct val="100000"/>
              </a:lnSpc>
              <a:spcBef>
                <a:spcPts val="600"/>
              </a:spcBef>
              <a:defRPr sz="1400" b="1"/>
            </a:lvl1pPr>
            <a:lvl2pPr marL="0" indent="0">
              <a:lnSpc>
                <a:spcPct val="100000"/>
              </a:lnSpc>
              <a:spcBef>
                <a:spcPts val="600"/>
              </a:spcBef>
              <a:buFont typeface="Arial" panose="020B0604020202020204" pitchFamily="34" charset="0"/>
              <a:buChar char="​"/>
              <a:defRPr sz="1400"/>
            </a:lvl2pPr>
            <a:lvl3pPr>
              <a:spcBef>
                <a:spcPts val="600"/>
              </a:spcBef>
              <a:defRPr sz="1400"/>
            </a:lvl3pPr>
            <a:lvl4pPr>
              <a:spcBef>
                <a:spcPts val="600"/>
              </a:spcBef>
              <a:defRPr sz="1400"/>
            </a:lvl4pPr>
            <a:lvl5pPr>
              <a:spcBef>
                <a:spcPts val="600"/>
              </a:spcBef>
              <a:defRPr sz="1400"/>
            </a:lvl5pPr>
            <a:lvl6pPr>
              <a:defRPr sz="1400"/>
            </a:lvl6pPr>
            <a:lvl7pPr>
              <a:defRPr sz="1400"/>
            </a:lvl7pPr>
            <a:lvl8pPr>
              <a:defRPr sz="1400"/>
            </a:lvl8pPr>
            <a:lvl9pPr>
              <a:defRPr sz="1400"/>
            </a:lvl9pPr>
          </a:lstStyle>
          <a:p>
            <a:pPr lvl="0"/>
            <a:r>
              <a:rPr lang="en-US"/>
              <a:t>[Name]</a:t>
            </a:r>
          </a:p>
          <a:p>
            <a:pPr lvl="1"/>
            <a:r>
              <a:rPr lang="en-US"/>
              <a:t>[Job title]</a:t>
            </a:r>
          </a:p>
          <a:p>
            <a:pPr lvl="2"/>
            <a:r>
              <a:rPr lang="en-US"/>
              <a:t>Three</a:t>
            </a:r>
          </a:p>
          <a:p>
            <a:pPr lvl="3"/>
            <a:r>
              <a:rPr lang="en-US"/>
              <a:t>Four</a:t>
            </a:r>
          </a:p>
          <a:p>
            <a:pPr lvl="4"/>
            <a:r>
              <a:rPr lang="en-US"/>
              <a:t>Five</a:t>
            </a:r>
          </a:p>
          <a:p>
            <a:pPr lvl="5"/>
            <a:r>
              <a:rPr lang="en-US"/>
              <a:t>Six</a:t>
            </a:r>
          </a:p>
          <a:p>
            <a:pPr lvl="6"/>
            <a:r>
              <a:rPr lang="en-US"/>
              <a:t>Seven</a:t>
            </a:r>
          </a:p>
          <a:p>
            <a:pPr lvl="7"/>
            <a:r>
              <a:rPr lang="en-US"/>
              <a:t>Eight</a:t>
            </a:r>
          </a:p>
          <a:p>
            <a:pPr lvl="8"/>
            <a:r>
              <a:rPr lang="en-US"/>
              <a:t>Nine</a:t>
            </a:r>
          </a:p>
        </p:txBody>
      </p:sp>
      <p:sp>
        <p:nvSpPr>
          <p:cNvPr id="10" name="Photo">
            <a:extLst>
              <a:ext uri="{FF2B5EF4-FFF2-40B4-BE49-F238E27FC236}">
                <a16:creationId xmlns:a16="http://schemas.microsoft.com/office/drawing/2014/main" id="{7E763343-7EDD-C0B1-BB21-946204092EBC}"/>
              </a:ext>
              <a:ext uri="{C183D7F6-B498-43B3-948B-1728B52AA6E4}">
                <adec:decorative xmlns:adec="http://schemas.microsoft.com/office/drawing/2017/decorative" val="1"/>
              </a:ext>
            </a:extLst>
          </p:cNvPr>
          <p:cNvSpPr>
            <a:spLocks noGrp="1"/>
          </p:cNvSpPr>
          <p:nvPr>
            <p:ph type="pic" sz="quarter" idx="40" hasCustomPrompt="1"/>
          </p:nvPr>
        </p:nvSpPr>
        <p:spPr>
          <a:xfrm>
            <a:off x="3387471" y="1584000"/>
            <a:ext cx="894792" cy="1080000"/>
          </a:xfrm>
          <a:prstGeom prst="rect">
            <a:avLst/>
          </a:prstGeom>
          <a:solidFill>
            <a:schemeClr val="bg1">
              <a:lumMod val="95000"/>
            </a:schemeClr>
          </a:solidFill>
        </p:spPr>
        <p:txBody>
          <a:bodyPr wrap="square" lIns="63500" tIns="63500" rIns="63500" bIns="63500">
            <a:noAutofit/>
          </a:bodyPr>
          <a:lstStyle>
            <a:lvl1pPr algn="l">
              <a:defRPr sz="1200"/>
            </a:lvl1pPr>
          </a:lstStyle>
          <a:p>
            <a:r>
              <a:rPr lang="en-US"/>
              <a:t>Click icon to insert an image</a:t>
            </a:r>
          </a:p>
        </p:txBody>
      </p:sp>
      <p:sp>
        <p:nvSpPr>
          <p:cNvPr id="23" name="Name">
            <a:extLst>
              <a:ext uri="{FF2B5EF4-FFF2-40B4-BE49-F238E27FC236}">
                <a16:creationId xmlns:a16="http://schemas.microsoft.com/office/drawing/2014/main" id="{62F8096A-21E1-B6D3-C4A4-AA4D665483CA}"/>
              </a:ext>
            </a:extLst>
          </p:cNvPr>
          <p:cNvSpPr>
            <a:spLocks noGrp="1"/>
          </p:cNvSpPr>
          <p:nvPr>
            <p:ph type="body" sz="quarter" idx="41" hasCustomPrompt="1"/>
          </p:nvPr>
        </p:nvSpPr>
        <p:spPr>
          <a:xfrm>
            <a:off x="4282169" y="1584000"/>
            <a:ext cx="1656000" cy="1080000"/>
          </a:xfrm>
          <a:prstGeom prst="rect">
            <a:avLst/>
          </a:prstGeom>
        </p:spPr>
        <p:txBody>
          <a:bodyPr lIns="144000" tIns="50400" rIns="50400" bIns="50400"/>
          <a:lstStyle>
            <a:lvl1pPr>
              <a:lnSpc>
                <a:spcPct val="100000"/>
              </a:lnSpc>
              <a:spcBef>
                <a:spcPts val="600"/>
              </a:spcBef>
              <a:defRPr sz="1400" b="1"/>
            </a:lvl1pPr>
            <a:lvl2pPr marL="0" indent="0">
              <a:lnSpc>
                <a:spcPct val="100000"/>
              </a:lnSpc>
              <a:spcBef>
                <a:spcPts val="600"/>
              </a:spcBef>
              <a:buFont typeface="Arial" panose="020B0604020202020204" pitchFamily="34" charset="0"/>
              <a:buChar char="​"/>
              <a:defRPr sz="1400"/>
            </a:lvl2pPr>
            <a:lvl3pPr>
              <a:spcBef>
                <a:spcPts val="600"/>
              </a:spcBef>
              <a:defRPr sz="1400"/>
            </a:lvl3pPr>
            <a:lvl4pPr>
              <a:spcBef>
                <a:spcPts val="600"/>
              </a:spcBef>
              <a:defRPr sz="1400"/>
            </a:lvl4pPr>
            <a:lvl5pPr>
              <a:spcBef>
                <a:spcPts val="600"/>
              </a:spcBef>
              <a:defRPr sz="1400"/>
            </a:lvl5pPr>
            <a:lvl6pPr>
              <a:defRPr sz="1400"/>
            </a:lvl6pPr>
            <a:lvl7pPr>
              <a:defRPr sz="1400"/>
            </a:lvl7pPr>
            <a:lvl8pPr>
              <a:defRPr sz="1400"/>
            </a:lvl8pPr>
            <a:lvl9pPr>
              <a:defRPr sz="1400"/>
            </a:lvl9pPr>
          </a:lstStyle>
          <a:p>
            <a:pPr lvl="0"/>
            <a:r>
              <a:rPr lang="en-US"/>
              <a:t>[Name]</a:t>
            </a:r>
          </a:p>
          <a:p>
            <a:pPr lvl="1"/>
            <a:r>
              <a:rPr lang="en-US"/>
              <a:t>[Job title]</a:t>
            </a:r>
          </a:p>
          <a:p>
            <a:pPr lvl="2"/>
            <a:r>
              <a:rPr lang="en-US"/>
              <a:t>Three</a:t>
            </a:r>
          </a:p>
          <a:p>
            <a:pPr lvl="3"/>
            <a:r>
              <a:rPr lang="en-US"/>
              <a:t>Four</a:t>
            </a:r>
          </a:p>
          <a:p>
            <a:pPr lvl="4"/>
            <a:r>
              <a:rPr lang="en-US"/>
              <a:t>Five</a:t>
            </a:r>
          </a:p>
          <a:p>
            <a:pPr lvl="5"/>
            <a:r>
              <a:rPr lang="en-US"/>
              <a:t>Six</a:t>
            </a:r>
          </a:p>
          <a:p>
            <a:pPr lvl="6"/>
            <a:r>
              <a:rPr lang="en-US"/>
              <a:t>Seven</a:t>
            </a:r>
          </a:p>
          <a:p>
            <a:pPr lvl="7"/>
            <a:r>
              <a:rPr lang="en-US"/>
              <a:t>Eight</a:t>
            </a:r>
          </a:p>
          <a:p>
            <a:pPr lvl="8"/>
            <a:r>
              <a:rPr lang="en-US"/>
              <a:t>Nine</a:t>
            </a:r>
          </a:p>
        </p:txBody>
      </p:sp>
      <p:sp>
        <p:nvSpPr>
          <p:cNvPr id="24" name="Photo">
            <a:extLst>
              <a:ext uri="{FF2B5EF4-FFF2-40B4-BE49-F238E27FC236}">
                <a16:creationId xmlns:a16="http://schemas.microsoft.com/office/drawing/2014/main" id="{1CCDCF27-97DE-478D-78C3-BBB5F3484189}"/>
              </a:ext>
              <a:ext uri="{C183D7F6-B498-43B3-948B-1728B52AA6E4}">
                <adec:decorative xmlns:adec="http://schemas.microsoft.com/office/drawing/2017/decorative" val="1"/>
              </a:ext>
            </a:extLst>
          </p:cNvPr>
          <p:cNvSpPr>
            <a:spLocks noGrp="1"/>
          </p:cNvSpPr>
          <p:nvPr>
            <p:ph type="pic" sz="quarter" idx="42" hasCustomPrompt="1"/>
          </p:nvPr>
        </p:nvSpPr>
        <p:spPr>
          <a:xfrm>
            <a:off x="6253734" y="1584000"/>
            <a:ext cx="894792" cy="1080000"/>
          </a:xfrm>
          <a:prstGeom prst="rect">
            <a:avLst/>
          </a:prstGeom>
          <a:solidFill>
            <a:schemeClr val="bg1">
              <a:lumMod val="95000"/>
            </a:schemeClr>
          </a:solidFill>
        </p:spPr>
        <p:txBody>
          <a:bodyPr wrap="square" lIns="63500" tIns="63500" rIns="63500" bIns="63500">
            <a:noAutofit/>
          </a:bodyPr>
          <a:lstStyle>
            <a:lvl1pPr algn="l">
              <a:defRPr sz="1200"/>
            </a:lvl1pPr>
          </a:lstStyle>
          <a:p>
            <a:r>
              <a:rPr lang="en-US"/>
              <a:t>Click icon to insert an image</a:t>
            </a:r>
          </a:p>
        </p:txBody>
      </p:sp>
      <p:sp>
        <p:nvSpPr>
          <p:cNvPr id="25" name="Name">
            <a:extLst>
              <a:ext uri="{FF2B5EF4-FFF2-40B4-BE49-F238E27FC236}">
                <a16:creationId xmlns:a16="http://schemas.microsoft.com/office/drawing/2014/main" id="{4F201F04-891A-0334-436C-B2DA95FE1A36}"/>
              </a:ext>
            </a:extLst>
          </p:cNvPr>
          <p:cNvSpPr>
            <a:spLocks noGrp="1"/>
          </p:cNvSpPr>
          <p:nvPr>
            <p:ph type="body" sz="quarter" idx="43" hasCustomPrompt="1"/>
          </p:nvPr>
        </p:nvSpPr>
        <p:spPr>
          <a:xfrm>
            <a:off x="7148479" y="1584000"/>
            <a:ext cx="1656000" cy="1080000"/>
          </a:xfrm>
          <a:prstGeom prst="rect">
            <a:avLst/>
          </a:prstGeom>
        </p:spPr>
        <p:txBody>
          <a:bodyPr lIns="144000" tIns="50400" rIns="50400" bIns="50400"/>
          <a:lstStyle>
            <a:lvl1pPr>
              <a:lnSpc>
                <a:spcPct val="100000"/>
              </a:lnSpc>
              <a:spcBef>
                <a:spcPts val="600"/>
              </a:spcBef>
              <a:defRPr sz="1400" b="1"/>
            </a:lvl1pPr>
            <a:lvl2pPr marL="0" indent="0">
              <a:lnSpc>
                <a:spcPct val="100000"/>
              </a:lnSpc>
              <a:spcBef>
                <a:spcPts val="600"/>
              </a:spcBef>
              <a:buFont typeface="Arial" panose="020B0604020202020204" pitchFamily="34" charset="0"/>
              <a:buChar char="​"/>
              <a:defRPr sz="1400"/>
            </a:lvl2pPr>
            <a:lvl3pPr>
              <a:spcBef>
                <a:spcPts val="600"/>
              </a:spcBef>
              <a:defRPr sz="1400"/>
            </a:lvl3pPr>
            <a:lvl4pPr>
              <a:spcBef>
                <a:spcPts val="600"/>
              </a:spcBef>
              <a:defRPr sz="1400"/>
            </a:lvl4pPr>
            <a:lvl5pPr>
              <a:spcBef>
                <a:spcPts val="600"/>
              </a:spcBef>
              <a:defRPr sz="1400"/>
            </a:lvl5pPr>
            <a:lvl6pPr>
              <a:defRPr sz="1400"/>
            </a:lvl6pPr>
            <a:lvl7pPr>
              <a:defRPr sz="1400"/>
            </a:lvl7pPr>
            <a:lvl8pPr>
              <a:defRPr sz="1400"/>
            </a:lvl8pPr>
            <a:lvl9pPr>
              <a:defRPr sz="1400"/>
            </a:lvl9pPr>
          </a:lstStyle>
          <a:p>
            <a:pPr lvl="0"/>
            <a:r>
              <a:rPr lang="en-US"/>
              <a:t>[Name]</a:t>
            </a:r>
          </a:p>
          <a:p>
            <a:pPr lvl="1"/>
            <a:r>
              <a:rPr lang="en-US"/>
              <a:t>[Job title]</a:t>
            </a:r>
          </a:p>
          <a:p>
            <a:pPr lvl="2"/>
            <a:r>
              <a:rPr lang="en-US"/>
              <a:t>Three</a:t>
            </a:r>
          </a:p>
          <a:p>
            <a:pPr lvl="3"/>
            <a:r>
              <a:rPr lang="en-US"/>
              <a:t>Four</a:t>
            </a:r>
          </a:p>
          <a:p>
            <a:pPr lvl="4"/>
            <a:r>
              <a:rPr lang="en-US"/>
              <a:t>Five</a:t>
            </a:r>
          </a:p>
          <a:p>
            <a:pPr lvl="5"/>
            <a:r>
              <a:rPr lang="en-US"/>
              <a:t>Six</a:t>
            </a:r>
          </a:p>
          <a:p>
            <a:pPr lvl="6"/>
            <a:r>
              <a:rPr lang="en-US"/>
              <a:t>Seven</a:t>
            </a:r>
          </a:p>
          <a:p>
            <a:pPr lvl="7"/>
            <a:r>
              <a:rPr lang="en-US"/>
              <a:t>Eight</a:t>
            </a:r>
          </a:p>
          <a:p>
            <a:pPr lvl="8"/>
            <a:r>
              <a:rPr lang="en-US"/>
              <a:t>Nine</a:t>
            </a:r>
          </a:p>
        </p:txBody>
      </p:sp>
      <p:sp>
        <p:nvSpPr>
          <p:cNvPr id="26" name="Photo">
            <a:extLst>
              <a:ext uri="{FF2B5EF4-FFF2-40B4-BE49-F238E27FC236}">
                <a16:creationId xmlns:a16="http://schemas.microsoft.com/office/drawing/2014/main" id="{053C593F-4653-C407-E063-8EE2FA9DFA5D}"/>
              </a:ext>
              <a:ext uri="{C183D7F6-B498-43B3-948B-1728B52AA6E4}">
                <adec:decorative xmlns:adec="http://schemas.microsoft.com/office/drawing/2017/decorative" val="1"/>
              </a:ext>
            </a:extLst>
          </p:cNvPr>
          <p:cNvSpPr>
            <a:spLocks noGrp="1"/>
          </p:cNvSpPr>
          <p:nvPr>
            <p:ph type="pic" sz="quarter" idx="44" hasCustomPrompt="1"/>
          </p:nvPr>
        </p:nvSpPr>
        <p:spPr>
          <a:xfrm>
            <a:off x="9119996" y="1584000"/>
            <a:ext cx="894792" cy="1080000"/>
          </a:xfrm>
          <a:prstGeom prst="rect">
            <a:avLst/>
          </a:prstGeom>
          <a:solidFill>
            <a:schemeClr val="bg1">
              <a:lumMod val="95000"/>
            </a:schemeClr>
          </a:solidFill>
        </p:spPr>
        <p:txBody>
          <a:bodyPr wrap="square" lIns="63500" tIns="63500" rIns="63500" bIns="63500">
            <a:noAutofit/>
          </a:bodyPr>
          <a:lstStyle>
            <a:lvl1pPr algn="l">
              <a:defRPr sz="1200"/>
            </a:lvl1pPr>
          </a:lstStyle>
          <a:p>
            <a:r>
              <a:rPr lang="en-US"/>
              <a:t>Click icon to insert an image</a:t>
            </a:r>
          </a:p>
        </p:txBody>
      </p:sp>
      <p:sp>
        <p:nvSpPr>
          <p:cNvPr id="27" name="Name">
            <a:extLst>
              <a:ext uri="{FF2B5EF4-FFF2-40B4-BE49-F238E27FC236}">
                <a16:creationId xmlns:a16="http://schemas.microsoft.com/office/drawing/2014/main" id="{6546CE93-377E-23B6-56E6-3F2FEB6BC637}"/>
              </a:ext>
            </a:extLst>
          </p:cNvPr>
          <p:cNvSpPr>
            <a:spLocks noGrp="1"/>
          </p:cNvSpPr>
          <p:nvPr>
            <p:ph type="body" sz="quarter" idx="45" hasCustomPrompt="1"/>
          </p:nvPr>
        </p:nvSpPr>
        <p:spPr>
          <a:xfrm>
            <a:off x="10014788" y="1584000"/>
            <a:ext cx="1656000" cy="1080000"/>
          </a:xfrm>
          <a:prstGeom prst="rect">
            <a:avLst/>
          </a:prstGeom>
        </p:spPr>
        <p:txBody>
          <a:bodyPr lIns="144000" tIns="50400" rIns="50400" bIns="50400"/>
          <a:lstStyle>
            <a:lvl1pPr>
              <a:lnSpc>
                <a:spcPct val="100000"/>
              </a:lnSpc>
              <a:spcBef>
                <a:spcPts val="600"/>
              </a:spcBef>
              <a:defRPr sz="1400" b="1"/>
            </a:lvl1pPr>
            <a:lvl2pPr marL="0" indent="0">
              <a:lnSpc>
                <a:spcPct val="100000"/>
              </a:lnSpc>
              <a:spcBef>
                <a:spcPts val="600"/>
              </a:spcBef>
              <a:buFont typeface="Arial" panose="020B0604020202020204" pitchFamily="34" charset="0"/>
              <a:buChar char="​"/>
              <a:defRPr sz="1400"/>
            </a:lvl2pPr>
            <a:lvl3pPr>
              <a:spcBef>
                <a:spcPts val="600"/>
              </a:spcBef>
              <a:defRPr sz="1400"/>
            </a:lvl3pPr>
            <a:lvl4pPr>
              <a:spcBef>
                <a:spcPts val="600"/>
              </a:spcBef>
              <a:defRPr sz="1400"/>
            </a:lvl4pPr>
            <a:lvl5pPr>
              <a:spcBef>
                <a:spcPts val="600"/>
              </a:spcBef>
              <a:defRPr sz="1400"/>
            </a:lvl5pPr>
            <a:lvl6pPr>
              <a:defRPr sz="1400"/>
            </a:lvl6pPr>
            <a:lvl7pPr>
              <a:defRPr sz="1400"/>
            </a:lvl7pPr>
            <a:lvl8pPr>
              <a:defRPr sz="1400"/>
            </a:lvl8pPr>
            <a:lvl9pPr>
              <a:defRPr sz="1400"/>
            </a:lvl9pPr>
          </a:lstStyle>
          <a:p>
            <a:pPr lvl="0"/>
            <a:r>
              <a:rPr lang="en-US"/>
              <a:t>[Name]</a:t>
            </a:r>
          </a:p>
          <a:p>
            <a:pPr lvl="1"/>
            <a:r>
              <a:rPr lang="en-US"/>
              <a:t>[Job title]</a:t>
            </a:r>
          </a:p>
          <a:p>
            <a:pPr lvl="2"/>
            <a:r>
              <a:rPr lang="en-US"/>
              <a:t>Three</a:t>
            </a:r>
          </a:p>
          <a:p>
            <a:pPr lvl="3"/>
            <a:r>
              <a:rPr lang="en-US"/>
              <a:t>Four</a:t>
            </a:r>
          </a:p>
          <a:p>
            <a:pPr lvl="4"/>
            <a:r>
              <a:rPr lang="en-US"/>
              <a:t>Five</a:t>
            </a:r>
          </a:p>
          <a:p>
            <a:pPr lvl="5"/>
            <a:r>
              <a:rPr lang="en-US"/>
              <a:t>Six</a:t>
            </a:r>
          </a:p>
          <a:p>
            <a:pPr lvl="6"/>
            <a:r>
              <a:rPr lang="en-US"/>
              <a:t>Seven</a:t>
            </a:r>
          </a:p>
          <a:p>
            <a:pPr lvl="7"/>
            <a:r>
              <a:rPr lang="en-US"/>
              <a:t>Eight</a:t>
            </a:r>
          </a:p>
          <a:p>
            <a:pPr lvl="8"/>
            <a:r>
              <a:rPr lang="en-US"/>
              <a:t>Nine</a:t>
            </a:r>
          </a:p>
        </p:txBody>
      </p:sp>
      <p:sp>
        <p:nvSpPr>
          <p:cNvPr id="28" name="Photo">
            <a:extLst>
              <a:ext uri="{FF2B5EF4-FFF2-40B4-BE49-F238E27FC236}">
                <a16:creationId xmlns:a16="http://schemas.microsoft.com/office/drawing/2014/main" id="{D0EB200B-B9B6-303D-9451-2E533B26D33D}"/>
              </a:ext>
              <a:ext uri="{C183D7F6-B498-43B3-948B-1728B52AA6E4}">
                <adec:decorative xmlns:adec="http://schemas.microsoft.com/office/drawing/2017/decorative" val="1"/>
              </a:ext>
            </a:extLst>
          </p:cNvPr>
          <p:cNvSpPr>
            <a:spLocks noGrp="1"/>
          </p:cNvSpPr>
          <p:nvPr>
            <p:ph type="pic" sz="quarter" idx="46" hasCustomPrompt="1"/>
          </p:nvPr>
        </p:nvSpPr>
        <p:spPr>
          <a:xfrm>
            <a:off x="521208" y="2952000"/>
            <a:ext cx="894792" cy="1080000"/>
          </a:xfrm>
          <a:prstGeom prst="rect">
            <a:avLst/>
          </a:prstGeom>
          <a:solidFill>
            <a:schemeClr val="bg1">
              <a:lumMod val="95000"/>
            </a:schemeClr>
          </a:solidFill>
        </p:spPr>
        <p:txBody>
          <a:bodyPr wrap="square" lIns="63500" tIns="63500" rIns="63500" bIns="63500">
            <a:noAutofit/>
          </a:bodyPr>
          <a:lstStyle>
            <a:lvl1pPr algn="l">
              <a:defRPr sz="1200"/>
            </a:lvl1pPr>
          </a:lstStyle>
          <a:p>
            <a:r>
              <a:rPr lang="en-US"/>
              <a:t>Click icon to insert an image</a:t>
            </a:r>
          </a:p>
        </p:txBody>
      </p:sp>
      <p:sp>
        <p:nvSpPr>
          <p:cNvPr id="29" name="Name">
            <a:extLst>
              <a:ext uri="{FF2B5EF4-FFF2-40B4-BE49-F238E27FC236}">
                <a16:creationId xmlns:a16="http://schemas.microsoft.com/office/drawing/2014/main" id="{85949B19-69BE-022C-2D2C-809FE2BA6BB8}"/>
              </a:ext>
            </a:extLst>
          </p:cNvPr>
          <p:cNvSpPr>
            <a:spLocks noGrp="1"/>
          </p:cNvSpPr>
          <p:nvPr>
            <p:ph type="body" sz="quarter" idx="47" hasCustomPrompt="1"/>
          </p:nvPr>
        </p:nvSpPr>
        <p:spPr>
          <a:xfrm>
            <a:off x="1415859" y="2952000"/>
            <a:ext cx="1656000" cy="1080000"/>
          </a:xfrm>
          <a:prstGeom prst="rect">
            <a:avLst/>
          </a:prstGeom>
        </p:spPr>
        <p:txBody>
          <a:bodyPr lIns="144000" tIns="50400" rIns="50400" bIns="50400"/>
          <a:lstStyle>
            <a:lvl1pPr>
              <a:lnSpc>
                <a:spcPct val="100000"/>
              </a:lnSpc>
              <a:spcBef>
                <a:spcPts val="600"/>
              </a:spcBef>
              <a:defRPr sz="1400" b="1"/>
            </a:lvl1pPr>
            <a:lvl2pPr marL="0" indent="0">
              <a:lnSpc>
                <a:spcPct val="100000"/>
              </a:lnSpc>
              <a:spcBef>
                <a:spcPts val="600"/>
              </a:spcBef>
              <a:buFont typeface="Arial" panose="020B0604020202020204" pitchFamily="34" charset="0"/>
              <a:buChar char="​"/>
              <a:defRPr sz="1400"/>
            </a:lvl2pPr>
            <a:lvl3pPr>
              <a:spcBef>
                <a:spcPts val="600"/>
              </a:spcBef>
              <a:defRPr sz="1400"/>
            </a:lvl3pPr>
            <a:lvl4pPr>
              <a:spcBef>
                <a:spcPts val="600"/>
              </a:spcBef>
              <a:defRPr sz="1400"/>
            </a:lvl4pPr>
            <a:lvl5pPr>
              <a:spcBef>
                <a:spcPts val="600"/>
              </a:spcBef>
              <a:defRPr sz="1400"/>
            </a:lvl5pPr>
            <a:lvl6pPr>
              <a:defRPr sz="1400"/>
            </a:lvl6pPr>
            <a:lvl7pPr>
              <a:defRPr sz="1400"/>
            </a:lvl7pPr>
            <a:lvl8pPr>
              <a:defRPr sz="1400"/>
            </a:lvl8pPr>
            <a:lvl9pPr>
              <a:defRPr sz="1400"/>
            </a:lvl9pPr>
          </a:lstStyle>
          <a:p>
            <a:pPr lvl="0"/>
            <a:r>
              <a:rPr lang="en-US"/>
              <a:t>[Name]</a:t>
            </a:r>
          </a:p>
          <a:p>
            <a:pPr lvl="1"/>
            <a:r>
              <a:rPr lang="en-US"/>
              <a:t>[Job title]</a:t>
            </a:r>
          </a:p>
          <a:p>
            <a:pPr lvl="2"/>
            <a:r>
              <a:rPr lang="en-US"/>
              <a:t>Three</a:t>
            </a:r>
          </a:p>
          <a:p>
            <a:pPr lvl="3"/>
            <a:r>
              <a:rPr lang="en-US"/>
              <a:t>Four</a:t>
            </a:r>
          </a:p>
          <a:p>
            <a:pPr lvl="4"/>
            <a:r>
              <a:rPr lang="en-US"/>
              <a:t>Five</a:t>
            </a:r>
          </a:p>
          <a:p>
            <a:pPr lvl="5"/>
            <a:r>
              <a:rPr lang="en-US"/>
              <a:t>Six</a:t>
            </a:r>
          </a:p>
          <a:p>
            <a:pPr lvl="6"/>
            <a:r>
              <a:rPr lang="en-US"/>
              <a:t>Seven</a:t>
            </a:r>
          </a:p>
          <a:p>
            <a:pPr lvl="7"/>
            <a:r>
              <a:rPr lang="en-US"/>
              <a:t>Eight</a:t>
            </a:r>
          </a:p>
          <a:p>
            <a:pPr lvl="8"/>
            <a:r>
              <a:rPr lang="en-US"/>
              <a:t>Nine</a:t>
            </a:r>
          </a:p>
        </p:txBody>
      </p:sp>
      <p:sp>
        <p:nvSpPr>
          <p:cNvPr id="30" name="Photo">
            <a:extLst>
              <a:ext uri="{FF2B5EF4-FFF2-40B4-BE49-F238E27FC236}">
                <a16:creationId xmlns:a16="http://schemas.microsoft.com/office/drawing/2014/main" id="{C90D885D-6BC6-60F2-4E1A-792354434A5A}"/>
              </a:ext>
              <a:ext uri="{C183D7F6-B498-43B3-948B-1728B52AA6E4}">
                <adec:decorative xmlns:adec="http://schemas.microsoft.com/office/drawing/2017/decorative" val="1"/>
              </a:ext>
            </a:extLst>
          </p:cNvPr>
          <p:cNvSpPr>
            <a:spLocks noGrp="1"/>
          </p:cNvSpPr>
          <p:nvPr>
            <p:ph type="pic" sz="quarter" idx="48" hasCustomPrompt="1"/>
          </p:nvPr>
        </p:nvSpPr>
        <p:spPr>
          <a:xfrm>
            <a:off x="3387471" y="2952000"/>
            <a:ext cx="894792" cy="1080000"/>
          </a:xfrm>
          <a:prstGeom prst="rect">
            <a:avLst/>
          </a:prstGeom>
          <a:solidFill>
            <a:schemeClr val="bg1">
              <a:lumMod val="95000"/>
            </a:schemeClr>
          </a:solidFill>
        </p:spPr>
        <p:txBody>
          <a:bodyPr wrap="square" lIns="63500" tIns="63500" rIns="63500" bIns="63500">
            <a:noAutofit/>
          </a:bodyPr>
          <a:lstStyle>
            <a:lvl1pPr algn="l">
              <a:defRPr sz="1200"/>
            </a:lvl1pPr>
          </a:lstStyle>
          <a:p>
            <a:r>
              <a:rPr lang="en-US"/>
              <a:t>Click icon to insert an image</a:t>
            </a:r>
          </a:p>
        </p:txBody>
      </p:sp>
      <p:sp>
        <p:nvSpPr>
          <p:cNvPr id="31" name="Name">
            <a:extLst>
              <a:ext uri="{FF2B5EF4-FFF2-40B4-BE49-F238E27FC236}">
                <a16:creationId xmlns:a16="http://schemas.microsoft.com/office/drawing/2014/main" id="{675A9D37-1D3D-D97C-DB8F-487B2C0D800F}"/>
              </a:ext>
            </a:extLst>
          </p:cNvPr>
          <p:cNvSpPr>
            <a:spLocks noGrp="1"/>
          </p:cNvSpPr>
          <p:nvPr>
            <p:ph type="body" sz="quarter" idx="49" hasCustomPrompt="1"/>
          </p:nvPr>
        </p:nvSpPr>
        <p:spPr>
          <a:xfrm>
            <a:off x="4282169" y="2952000"/>
            <a:ext cx="1656000" cy="1080000"/>
          </a:xfrm>
          <a:prstGeom prst="rect">
            <a:avLst/>
          </a:prstGeom>
        </p:spPr>
        <p:txBody>
          <a:bodyPr lIns="144000" tIns="50400" rIns="50400" bIns="50400"/>
          <a:lstStyle>
            <a:lvl1pPr>
              <a:lnSpc>
                <a:spcPct val="100000"/>
              </a:lnSpc>
              <a:spcBef>
                <a:spcPts val="600"/>
              </a:spcBef>
              <a:defRPr sz="1400" b="1"/>
            </a:lvl1pPr>
            <a:lvl2pPr marL="0" indent="0">
              <a:lnSpc>
                <a:spcPct val="100000"/>
              </a:lnSpc>
              <a:spcBef>
                <a:spcPts val="600"/>
              </a:spcBef>
              <a:buFont typeface="Arial" panose="020B0604020202020204" pitchFamily="34" charset="0"/>
              <a:buChar char="​"/>
              <a:defRPr sz="1400"/>
            </a:lvl2pPr>
            <a:lvl3pPr>
              <a:spcBef>
                <a:spcPts val="600"/>
              </a:spcBef>
              <a:defRPr sz="1400"/>
            </a:lvl3pPr>
            <a:lvl4pPr>
              <a:spcBef>
                <a:spcPts val="600"/>
              </a:spcBef>
              <a:defRPr sz="1400"/>
            </a:lvl4pPr>
            <a:lvl5pPr>
              <a:spcBef>
                <a:spcPts val="600"/>
              </a:spcBef>
              <a:defRPr sz="1400"/>
            </a:lvl5pPr>
            <a:lvl6pPr>
              <a:defRPr sz="1400"/>
            </a:lvl6pPr>
            <a:lvl7pPr>
              <a:defRPr sz="1400"/>
            </a:lvl7pPr>
            <a:lvl8pPr>
              <a:defRPr sz="1400"/>
            </a:lvl8pPr>
            <a:lvl9pPr>
              <a:defRPr sz="1400"/>
            </a:lvl9pPr>
          </a:lstStyle>
          <a:p>
            <a:pPr lvl="0"/>
            <a:r>
              <a:rPr lang="en-US"/>
              <a:t>[Name]</a:t>
            </a:r>
          </a:p>
          <a:p>
            <a:pPr lvl="1"/>
            <a:r>
              <a:rPr lang="en-US"/>
              <a:t>[Job title]</a:t>
            </a:r>
          </a:p>
          <a:p>
            <a:pPr lvl="2"/>
            <a:r>
              <a:rPr lang="en-US"/>
              <a:t>Three</a:t>
            </a:r>
          </a:p>
          <a:p>
            <a:pPr lvl="3"/>
            <a:r>
              <a:rPr lang="en-US"/>
              <a:t>Four</a:t>
            </a:r>
          </a:p>
          <a:p>
            <a:pPr lvl="4"/>
            <a:r>
              <a:rPr lang="en-US"/>
              <a:t>Five</a:t>
            </a:r>
          </a:p>
          <a:p>
            <a:pPr lvl="5"/>
            <a:r>
              <a:rPr lang="en-US"/>
              <a:t>Six</a:t>
            </a:r>
          </a:p>
          <a:p>
            <a:pPr lvl="6"/>
            <a:r>
              <a:rPr lang="en-US"/>
              <a:t>Seven</a:t>
            </a:r>
          </a:p>
          <a:p>
            <a:pPr lvl="7"/>
            <a:r>
              <a:rPr lang="en-US"/>
              <a:t>Eight</a:t>
            </a:r>
          </a:p>
          <a:p>
            <a:pPr lvl="8"/>
            <a:r>
              <a:rPr lang="en-US"/>
              <a:t>Nine</a:t>
            </a:r>
          </a:p>
        </p:txBody>
      </p:sp>
      <p:sp>
        <p:nvSpPr>
          <p:cNvPr id="32" name="Photo">
            <a:extLst>
              <a:ext uri="{FF2B5EF4-FFF2-40B4-BE49-F238E27FC236}">
                <a16:creationId xmlns:a16="http://schemas.microsoft.com/office/drawing/2014/main" id="{E3B79101-AC74-9140-02BF-25F35302FA7A}"/>
              </a:ext>
              <a:ext uri="{C183D7F6-B498-43B3-948B-1728B52AA6E4}">
                <adec:decorative xmlns:adec="http://schemas.microsoft.com/office/drawing/2017/decorative" val="1"/>
              </a:ext>
            </a:extLst>
          </p:cNvPr>
          <p:cNvSpPr>
            <a:spLocks noGrp="1"/>
          </p:cNvSpPr>
          <p:nvPr>
            <p:ph type="pic" sz="quarter" idx="50" hasCustomPrompt="1"/>
          </p:nvPr>
        </p:nvSpPr>
        <p:spPr>
          <a:xfrm>
            <a:off x="6253734" y="2952000"/>
            <a:ext cx="894792" cy="1080000"/>
          </a:xfrm>
          <a:prstGeom prst="rect">
            <a:avLst/>
          </a:prstGeom>
          <a:solidFill>
            <a:schemeClr val="bg1">
              <a:lumMod val="95000"/>
            </a:schemeClr>
          </a:solidFill>
        </p:spPr>
        <p:txBody>
          <a:bodyPr wrap="square" lIns="63500" tIns="63500" rIns="63500" bIns="63500">
            <a:noAutofit/>
          </a:bodyPr>
          <a:lstStyle>
            <a:lvl1pPr algn="l">
              <a:defRPr sz="1200"/>
            </a:lvl1pPr>
          </a:lstStyle>
          <a:p>
            <a:r>
              <a:rPr lang="en-US"/>
              <a:t>Click icon to insert an image</a:t>
            </a:r>
          </a:p>
        </p:txBody>
      </p:sp>
      <p:sp>
        <p:nvSpPr>
          <p:cNvPr id="33" name="Name">
            <a:extLst>
              <a:ext uri="{FF2B5EF4-FFF2-40B4-BE49-F238E27FC236}">
                <a16:creationId xmlns:a16="http://schemas.microsoft.com/office/drawing/2014/main" id="{2E6CDBC9-BBFC-1A32-CB77-D8545B9C783A}"/>
              </a:ext>
            </a:extLst>
          </p:cNvPr>
          <p:cNvSpPr>
            <a:spLocks noGrp="1"/>
          </p:cNvSpPr>
          <p:nvPr>
            <p:ph type="body" sz="quarter" idx="51" hasCustomPrompt="1"/>
          </p:nvPr>
        </p:nvSpPr>
        <p:spPr>
          <a:xfrm>
            <a:off x="7148479" y="2952000"/>
            <a:ext cx="1656000" cy="1080000"/>
          </a:xfrm>
          <a:prstGeom prst="rect">
            <a:avLst/>
          </a:prstGeom>
        </p:spPr>
        <p:txBody>
          <a:bodyPr lIns="144000" tIns="50400" rIns="50400" bIns="50400"/>
          <a:lstStyle>
            <a:lvl1pPr>
              <a:lnSpc>
                <a:spcPct val="100000"/>
              </a:lnSpc>
              <a:spcBef>
                <a:spcPts val="600"/>
              </a:spcBef>
              <a:defRPr sz="1400" b="1"/>
            </a:lvl1pPr>
            <a:lvl2pPr marL="0" indent="0">
              <a:lnSpc>
                <a:spcPct val="100000"/>
              </a:lnSpc>
              <a:spcBef>
                <a:spcPts val="600"/>
              </a:spcBef>
              <a:buFont typeface="Arial" panose="020B0604020202020204" pitchFamily="34" charset="0"/>
              <a:buChar char="​"/>
              <a:defRPr sz="1400"/>
            </a:lvl2pPr>
            <a:lvl3pPr>
              <a:spcBef>
                <a:spcPts val="600"/>
              </a:spcBef>
              <a:defRPr sz="1400"/>
            </a:lvl3pPr>
            <a:lvl4pPr>
              <a:spcBef>
                <a:spcPts val="600"/>
              </a:spcBef>
              <a:defRPr sz="1400"/>
            </a:lvl4pPr>
            <a:lvl5pPr>
              <a:spcBef>
                <a:spcPts val="600"/>
              </a:spcBef>
              <a:defRPr sz="1400"/>
            </a:lvl5pPr>
            <a:lvl6pPr>
              <a:defRPr sz="1400"/>
            </a:lvl6pPr>
            <a:lvl7pPr>
              <a:defRPr sz="1400"/>
            </a:lvl7pPr>
            <a:lvl8pPr>
              <a:defRPr sz="1400"/>
            </a:lvl8pPr>
            <a:lvl9pPr>
              <a:defRPr sz="1400"/>
            </a:lvl9pPr>
          </a:lstStyle>
          <a:p>
            <a:pPr lvl="0"/>
            <a:r>
              <a:rPr lang="en-US"/>
              <a:t>[Name]</a:t>
            </a:r>
          </a:p>
          <a:p>
            <a:pPr lvl="1"/>
            <a:r>
              <a:rPr lang="en-US"/>
              <a:t>[Job title]</a:t>
            </a:r>
          </a:p>
          <a:p>
            <a:pPr lvl="2"/>
            <a:r>
              <a:rPr lang="en-US"/>
              <a:t>Three</a:t>
            </a:r>
          </a:p>
          <a:p>
            <a:pPr lvl="3"/>
            <a:r>
              <a:rPr lang="en-US"/>
              <a:t>Four</a:t>
            </a:r>
          </a:p>
          <a:p>
            <a:pPr lvl="4"/>
            <a:r>
              <a:rPr lang="en-US"/>
              <a:t>Five</a:t>
            </a:r>
          </a:p>
          <a:p>
            <a:pPr lvl="5"/>
            <a:r>
              <a:rPr lang="en-US"/>
              <a:t>Six</a:t>
            </a:r>
          </a:p>
          <a:p>
            <a:pPr lvl="6"/>
            <a:r>
              <a:rPr lang="en-US"/>
              <a:t>Seven</a:t>
            </a:r>
          </a:p>
          <a:p>
            <a:pPr lvl="7"/>
            <a:r>
              <a:rPr lang="en-US"/>
              <a:t>Eight</a:t>
            </a:r>
          </a:p>
          <a:p>
            <a:pPr lvl="8"/>
            <a:r>
              <a:rPr lang="en-US"/>
              <a:t>Nine</a:t>
            </a:r>
          </a:p>
        </p:txBody>
      </p:sp>
      <p:sp>
        <p:nvSpPr>
          <p:cNvPr id="34" name="Photo">
            <a:extLst>
              <a:ext uri="{FF2B5EF4-FFF2-40B4-BE49-F238E27FC236}">
                <a16:creationId xmlns:a16="http://schemas.microsoft.com/office/drawing/2014/main" id="{BED1E2F9-EA0A-2249-0B26-349279DE8A13}"/>
              </a:ext>
              <a:ext uri="{C183D7F6-B498-43B3-948B-1728B52AA6E4}">
                <adec:decorative xmlns:adec="http://schemas.microsoft.com/office/drawing/2017/decorative" val="1"/>
              </a:ext>
            </a:extLst>
          </p:cNvPr>
          <p:cNvSpPr>
            <a:spLocks noGrp="1"/>
          </p:cNvSpPr>
          <p:nvPr>
            <p:ph type="pic" sz="quarter" idx="52" hasCustomPrompt="1"/>
          </p:nvPr>
        </p:nvSpPr>
        <p:spPr>
          <a:xfrm>
            <a:off x="9119996" y="2952000"/>
            <a:ext cx="894792" cy="1080000"/>
          </a:xfrm>
          <a:prstGeom prst="rect">
            <a:avLst/>
          </a:prstGeom>
          <a:solidFill>
            <a:schemeClr val="bg1">
              <a:lumMod val="95000"/>
            </a:schemeClr>
          </a:solidFill>
        </p:spPr>
        <p:txBody>
          <a:bodyPr wrap="square" lIns="63500" tIns="63500" rIns="63500" bIns="63500">
            <a:noAutofit/>
          </a:bodyPr>
          <a:lstStyle>
            <a:lvl1pPr algn="l">
              <a:defRPr sz="1200"/>
            </a:lvl1pPr>
          </a:lstStyle>
          <a:p>
            <a:r>
              <a:rPr lang="en-US"/>
              <a:t>Click icon to insert an image</a:t>
            </a:r>
          </a:p>
        </p:txBody>
      </p:sp>
      <p:sp>
        <p:nvSpPr>
          <p:cNvPr id="35" name="Name">
            <a:extLst>
              <a:ext uri="{FF2B5EF4-FFF2-40B4-BE49-F238E27FC236}">
                <a16:creationId xmlns:a16="http://schemas.microsoft.com/office/drawing/2014/main" id="{92DDE929-9019-F283-850F-71915763FA8B}"/>
              </a:ext>
            </a:extLst>
          </p:cNvPr>
          <p:cNvSpPr>
            <a:spLocks noGrp="1"/>
          </p:cNvSpPr>
          <p:nvPr>
            <p:ph type="body" sz="quarter" idx="53" hasCustomPrompt="1"/>
          </p:nvPr>
        </p:nvSpPr>
        <p:spPr>
          <a:xfrm>
            <a:off x="10014788" y="2952000"/>
            <a:ext cx="1656000" cy="1080000"/>
          </a:xfrm>
          <a:prstGeom prst="rect">
            <a:avLst/>
          </a:prstGeom>
        </p:spPr>
        <p:txBody>
          <a:bodyPr lIns="144000" tIns="50400" rIns="50400" bIns="50400"/>
          <a:lstStyle>
            <a:lvl1pPr>
              <a:lnSpc>
                <a:spcPct val="100000"/>
              </a:lnSpc>
              <a:spcBef>
                <a:spcPts val="600"/>
              </a:spcBef>
              <a:defRPr sz="1400" b="1"/>
            </a:lvl1pPr>
            <a:lvl2pPr marL="0" indent="0">
              <a:lnSpc>
                <a:spcPct val="100000"/>
              </a:lnSpc>
              <a:spcBef>
                <a:spcPts val="600"/>
              </a:spcBef>
              <a:buFont typeface="Arial" panose="020B0604020202020204" pitchFamily="34" charset="0"/>
              <a:buChar char="​"/>
              <a:defRPr sz="1400"/>
            </a:lvl2pPr>
            <a:lvl3pPr>
              <a:spcBef>
                <a:spcPts val="600"/>
              </a:spcBef>
              <a:defRPr sz="1400"/>
            </a:lvl3pPr>
            <a:lvl4pPr>
              <a:spcBef>
                <a:spcPts val="600"/>
              </a:spcBef>
              <a:defRPr sz="1400"/>
            </a:lvl4pPr>
            <a:lvl5pPr>
              <a:spcBef>
                <a:spcPts val="600"/>
              </a:spcBef>
              <a:defRPr sz="1400"/>
            </a:lvl5pPr>
            <a:lvl6pPr>
              <a:defRPr sz="1400"/>
            </a:lvl6pPr>
            <a:lvl7pPr>
              <a:defRPr sz="1400"/>
            </a:lvl7pPr>
            <a:lvl8pPr>
              <a:defRPr sz="1400"/>
            </a:lvl8pPr>
            <a:lvl9pPr>
              <a:defRPr sz="1400"/>
            </a:lvl9pPr>
          </a:lstStyle>
          <a:p>
            <a:pPr lvl="0"/>
            <a:r>
              <a:rPr lang="en-US"/>
              <a:t>[Name]</a:t>
            </a:r>
          </a:p>
          <a:p>
            <a:pPr lvl="1"/>
            <a:r>
              <a:rPr lang="en-US"/>
              <a:t>[Job title]</a:t>
            </a:r>
          </a:p>
          <a:p>
            <a:pPr lvl="2"/>
            <a:r>
              <a:rPr lang="en-US"/>
              <a:t>Three</a:t>
            </a:r>
          </a:p>
          <a:p>
            <a:pPr lvl="3"/>
            <a:r>
              <a:rPr lang="en-US"/>
              <a:t>Four</a:t>
            </a:r>
          </a:p>
          <a:p>
            <a:pPr lvl="4"/>
            <a:r>
              <a:rPr lang="en-US"/>
              <a:t>Five</a:t>
            </a:r>
          </a:p>
          <a:p>
            <a:pPr lvl="5"/>
            <a:r>
              <a:rPr lang="en-US"/>
              <a:t>Six</a:t>
            </a:r>
          </a:p>
          <a:p>
            <a:pPr lvl="6"/>
            <a:r>
              <a:rPr lang="en-US"/>
              <a:t>Seven</a:t>
            </a:r>
          </a:p>
          <a:p>
            <a:pPr lvl="7"/>
            <a:r>
              <a:rPr lang="en-US"/>
              <a:t>Eight</a:t>
            </a:r>
          </a:p>
          <a:p>
            <a:pPr lvl="8"/>
            <a:r>
              <a:rPr lang="en-US"/>
              <a:t>Nine</a:t>
            </a:r>
          </a:p>
        </p:txBody>
      </p:sp>
      <p:sp>
        <p:nvSpPr>
          <p:cNvPr id="36" name="Photo">
            <a:extLst>
              <a:ext uri="{FF2B5EF4-FFF2-40B4-BE49-F238E27FC236}">
                <a16:creationId xmlns:a16="http://schemas.microsoft.com/office/drawing/2014/main" id="{D3D18F68-4E6A-DAB4-D38B-DEE903785484}"/>
              </a:ext>
              <a:ext uri="{C183D7F6-B498-43B3-948B-1728B52AA6E4}">
                <adec:decorative xmlns:adec="http://schemas.microsoft.com/office/drawing/2017/decorative" val="1"/>
              </a:ext>
            </a:extLst>
          </p:cNvPr>
          <p:cNvSpPr>
            <a:spLocks noGrp="1"/>
          </p:cNvSpPr>
          <p:nvPr>
            <p:ph type="pic" sz="quarter" idx="54" hasCustomPrompt="1"/>
          </p:nvPr>
        </p:nvSpPr>
        <p:spPr>
          <a:xfrm>
            <a:off x="521208" y="4320000"/>
            <a:ext cx="894792" cy="1080000"/>
          </a:xfrm>
          <a:prstGeom prst="rect">
            <a:avLst/>
          </a:prstGeom>
          <a:solidFill>
            <a:schemeClr val="bg1">
              <a:lumMod val="95000"/>
            </a:schemeClr>
          </a:solidFill>
        </p:spPr>
        <p:txBody>
          <a:bodyPr wrap="square" lIns="63500" tIns="63500" rIns="63500" bIns="63500">
            <a:noAutofit/>
          </a:bodyPr>
          <a:lstStyle>
            <a:lvl1pPr algn="l">
              <a:defRPr sz="1200"/>
            </a:lvl1pPr>
          </a:lstStyle>
          <a:p>
            <a:r>
              <a:rPr lang="en-US"/>
              <a:t>Click icon to insert an image</a:t>
            </a:r>
          </a:p>
        </p:txBody>
      </p:sp>
      <p:sp>
        <p:nvSpPr>
          <p:cNvPr id="37" name="Name">
            <a:extLst>
              <a:ext uri="{FF2B5EF4-FFF2-40B4-BE49-F238E27FC236}">
                <a16:creationId xmlns:a16="http://schemas.microsoft.com/office/drawing/2014/main" id="{CF257CED-064E-7014-3E56-2A4DC5FE40F2}"/>
              </a:ext>
            </a:extLst>
          </p:cNvPr>
          <p:cNvSpPr>
            <a:spLocks noGrp="1"/>
          </p:cNvSpPr>
          <p:nvPr>
            <p:ph type="body" sz="quarter" idx="55" hasCustomPrompt="1"/>
          </p:nvPr>
        </p:nvSpPr>
        <p:spPr>
          <a:xfrm>
            <a:off x="1415859" y="4320000"/>
            <a:ext cx="1656000" cy="1080000"/>
          </a:xfrm>
          <a:prstGeom prst="rect">
            <a:avLst/>
          </a:prstGeom>
        </p:spPr>
        <p:txBody>
          <a:bodyPr lIns="144000" tIns="50400" rIns="50400" bIns="50400"/>
          <a:lstStyle>
            <a:lvl1pPr>
              <a:lnSpc>
                <a:spcPct val="100000"/>
              </a:lnSpc>
              <a:spcBef>
                <a:spcPts val="600"/>
              </a:spcBef>
              <a:defRPr sz="1400" b="1"/>
            </a:lvl1pPr>
            <a:lvl2pPr marL="0" indent="0">
              <a:lnSpc>
                <a:spcPct val="100000"/>
              </a:lnSpc>
              <a:spcBef>
                <a:spcPts val="600"/>
              </a:spcBef>
              <a:buFont typeface="Arial" panose="020B0604020202020204" pitchFamily="34" charset="0"/>
              <a:buChar char="​"/>
              <a:defRPr sz="1400"/>
            </a:lvl2pPr>
            <a:lvl3pPr>
              <a:spcBef>
                <a:spcPts val="600"/>
              </a:spcBef>
              <a:defRPr sz="1400"/>
            </a:lvl3pPr>
            <a:lvl4pPr>
              <a:spcBef>
                <a:spcPts val="600"/>
              </a:spcBef>
              <a:defRPr sz="1400"/>
            </a:lvl4pPr>
            <a:lvl5pPr>
              <a:spcBef>
                <a:spcPts val="600"/>
              </a:spcBef>
              <a:defRPr sz="1400"/>
            </a:lvl5pPr>
            <a:lvl6pPr>
              <a:defRPr sz="1400"/>
            </a:lvl6pPr>
            <a:lvl7pPr>
              <a:defRPr sz="1400"/>
            </a:lvl7pPr>
            <a:lvl8pPr>
              <a:defRPr sz="1400"/>
            </a:lvl8pPr>
            <a:lvl9pPr>
              <a:defRPr sz="1400"/>
            </a:lvl9pPr>
          </a:lstStyle>
          <a:p>
            <a:pPr lvl="0"/>
            <a:r>
              <a:rPr lang="en-US"/>
              <a:t>[Name]</a:t>
            </a:r>
          </a:p>
          <a:p>
            <a:pPr lvl="1"/>
            <a:r>
              <a:rPr lang="en-US"/>
              <a:t>[Job title]</a:t>
            </a:r>
          </a:p>
          <a:p>
            <a:pPr lvl="2"/>
            <a:r>
              <a:rPr lang="en-US"/>
              <a:t>Three</a:t>
            </a:r>
          </a:p>
          <a:p>
            <a:pPr lvl="3"/>
            <a:r>
              <a:rPr lang="en-US"/>
              <a:t>Four</a:t>
            </a:r>
          </a:p>
          <a:p>
            <a:pPr lvl="4"/>
            <a:r>
              <a:rPr lang="en-US"/>
              <a:t>Five</a:t>
            </a:r>
          </a:p>
          <a:p>
            <a:pPr lvl="5"/>
            <a:r>
              <a:rPr lang="en-US"/>
              <a:t>Six</a:t>
            </a:r>
          </a:p>
          <a:p>
            <a:pPr lvl="6"/>
            <a:r>
              <a:rPr lang="en-US"/>
              <a:t>Seven</a:t>
            </a:r>
          </a:p>
          <a:p>
            <a:pPr lvl="7"/>
            <a:r>
              <a:rPr lang="en-US"/>
              <a:t>Eight</a:t>
            </a:r>
          </a:p>
          <a:p>
            <a:pPr lvl="8"/>
            <a:r>
              <a:rPr lang="en-US"/>
              <a:t>Nine</a:t>
            </a:r>
          </a:p>
        </p:txBody>
      </p:sp>
      <p:sp>
        <p:nvSpPr>
          <p:cNvPr id="38" name="Photo">
            <a:extLst>
              <a:ext uri="{FF2B5EF4-FFF2-40B4-BE49-F238E27FC236}">
                <a16:creationId xmlns:a16="http://schemas.microsoft.com/office/drawing/2014/main" id="{09BBD2B6-23B7-C953-B84F-BF822AEA5C29}"/>
              </a:ext>
              <a:ext uri="{C183D7F6-B498-43B3-948B-1728B52AA6E4}">
                <adec:decorative xmlns:adec="http://schemas.microsoft.com/office/drawing/2017/decorative" val="1"/>
              </a:ext>
            </a:extLst>
          </p:cNvPr>
          <p:cNvSpPr>
            <a:spLocks noGrp="1"/>
          </p:cNvSpPr>
          <p:nvPr>
            <p:ph type="pic" sz="quarter" idx="56" hasCustomPrompt="1"/>
          </p:nvPr>
        </p:nvSpPr>
        <p:spPr>
          <a:xfrm>
            <a:off x="3387471" y="4320000"/>
            <a:ext cx="894792" cy="1080000"/>
          </a:xfrm>
          <a:prstGeom prst="rect">
            <a:avLst/>
          </a:prstGeom>
          <a:solidFill>
            <a:schemeClr val="bg1">
              <a:lumMod val="95000"/>
            </a:schemeClr>
          </a:solidFill>
        </p:spPr>
        <p:txBody>
          <a:bodyPr wrap="square" lIns="63500" tIns="63500" rIns="63500" bIns="63500">
            <a:noAutofit/>
          </a:bodyPr>
          <a:lstStyle>
            <a:lvl1pPr algn="l">
              <a:defRPr sz="1200"/>
            </a:lvl1pPr>
          </a:lstStyle>
          <a:p>
            <a:r>
              <a:rPr lang="en-US"/>
              <a:t>Click icon to insert an image</a:t>
            </a:r>
          </a:p>
        </p:txBody>
      </p:sp>
      <p:sp>
        <p:nvSpPr>
          <p:cNvPr id="45" name="Name">
            <a:extLst>
              <a:ext uri="{FF2B5EF4-FFF2-40B4-BE49-F238E27FC236}">
                <a16:creationId xmlns:a16="http://schemas.microsoft.com/office/drawing/2014/main" id="{2398938F-5E1C-DB4E-E106-5A30D26C7162}"/>
              </a:ext>
            </a:extLst>
          </p:cNvPr>
          <p:cNvSpPr>
            <a:spLocks noGrp="1"/>
          </p:cNvSpPr>
          <p:nvPr>
            <p:ph type="body" sz="quarter" idx="57" hasCustomPrompt="1"/>
          </p:nvPr>
        </p:nvSpPr>
        <p:spPr>
          <a:xfrm>
            <a:off x="4282169" y="4320000"/>
            <a:ext cx="1656000" cy="1080000"/>
          </a:xfrm>
          <a:prstGeom prst="rect">
            <a:avLst/>
          </a:prstGeom>
        </p:spPr>
        <p:txBody>
          <a:bodyPr lIns="144000" tIns="50400" rIns="50400" bIns="50400"/>
          <a:lstStyle>
            <a:lvl1pPr>
              <a:lnSpc>
                <a:spcPct val="100000"/>
              </a:lnSpc>
              <a:spcBef>
                <a:spcPts val="600"/>
              </a:spcBef>
              <a:defRPr sz="1400" b="1"/>
            </a:lvl1pPr>
            <a:lvl2pPr marL="0" indent="0">
              <a:lnSpc>
                <a:spcPct val="100000"/>
              </a:lnSpc>
              <a:spcBef>
                <a:spcPts val="600"/>
              </a:spcBef>
              <a:buFont typeface="Arial" panose="020B0604020202020204" pitchFamily="34" charset="0"/>
              <a:buChar char="​"/>
              <a:defRPr sz="1400"/>
            </a:lvl2pPr>
            <a:lvl3pPr>
              <a:spcBef>
                <a:spcPts val="600"/>
              </a:spcBef>
              <a:defRPr sz="1400"/>
            </a:lvl3pPr>
            <a:lvl4pPr>
              <a:spcBef>
                <a:spcPts val="600"/>
              </a:spcBef>
              <a:defRPr sz="1400"/>
            </a:lvl4pPr>
            <a:lvl5pPr>
              <a:spcBef>
                <a:spcPts val="600"/>
              </a:spcBef>
              <a:defRPr sz="1400"/>
            </a:lvl5pPr>
            <a:lvl6pPr>
              <a:defRPr sz="1400"/>
            </a:lvl6pPr>
            <a:lvl7pPr>
              <a:defRPr sz="1400"/>
            </a:lvl7pPr>
            <a:lvl8pPr>
              <a:defRPr sz="1400"/>
            </a:lvl8pPr>
            <a:lvl9pPr>
              <a:defRPr sz="1400"/>
            </a:lvl9pPr>
          </a:lstStyle>
          <a:p>
            <a:pPr lvl="0"/>
            <a:r>
              <a:rPr lang="en-US"/>
              <a:t>[Name]</a:t>
            </a:r>
          </a:p>
          <a:p>
            <a:pPr lvl="1"/>
            <a:r>
              <a:rPr lang="en-US"/>
              <a:t>[Job title]</a:t>
            </a:r>
          </a:p>
          <a:p>
            <a:pPr lvl="2"/>
            <a:r>
              <a:rPr lang="en-US"/>
              <a:t>Three</a:t>
            </a:r>
          </a:p>
          <a:p>
            <a:pPr lvl="3"/>
            <a:r>
              <a:rPr lang="en-US"/>
              <a:t>Four</a:t>
            </a:r>
          </a:p>
          <a:p>
            <a:pPr lvl="4"/>
            <a:r>
              <a:rPr lang="en-US"/>
              <a:t>Five</a:t>
            </a:r>
          </a:p>
          <a:p>
            <a:pPr lvl="5"/>
            <a:r>
              <a:rPr lang="en-US"/>
              <a:t>Six</a:t>
            </a:r>
          </a:p>
          <a:p>
            <a:pPr lvl="6"/>
            <a:r>
              <a:rPr lang="en-US"/>
              <a:t>Seven</a:t>
            </a:r>
          </a:p>
          <a:p>
            <a:pPr lvl="7"/>
            <a:r>
              <a:rPr lang="en-US"/>
              <a:t>Eight</a:t>
            </a:r>
          </a:p>
          <a:p>
            <a:pPr lvl="8"/>
            <a:r>
              <a:rPr lang="en-US"/>
              <a:t>Nine</a:t>
            </a:r>
          </a:p>
        </p:txBody>
      </p:sp>
      <p:sp>
        <p:nvSpPr>
          <p:cNvPr id="46" name="Photo">
            <a:extLst>
              <a:ext uri="{FF2B5EF4-FFF2-40B4-BE49-F238E27FC236}">
                <a16:creationId xmlns:a16="http://schemas.microsoft.com/office/drawing/2014/main" id="{942D9ABD-7119-440D-F0F2-E22CD4EAB6C3}"/>
              </a:ext>
              <a:ext uri="{C183D7F6-B498-43B3-948B-1728B52AA6E4}">
                <adec:decorative xmlns:adec="http://schemas.microsoft.com/office/drawing/2017/decorative" val="1"/>
              </a:ext>
            </a:extLst>
          </p:cNvPr>
          <p:cNvSpPr>
            <a:spLocks noGrp="1"/>
          </p:cNvSpPr>
          <p:nvPr>
            <p:ph type="pic" sz="quarter" idx="58" hasCustomPrompt="1"/>
          </p:nvPr>
        </p:nvSpPr>
        <p:spPr>
          <a:xfrm>
            <a:off x="6253734" y="4320000"/>
            <a:ext cx="894792" cy="1080000"/>
          </a:xfrm>
          <a:prstGeom prst="rect">
            <a:avLst/>
          </a:prstGeom>
          <a:solidFill>
            <a:schemeClr val="bg1">
              <a:lumMod val="95000"/>
            </a:schemeClr>
          </a:solidFill>
        </p:spPr>
        <p:txBody>
          <a:bodyPr wrap="square" lIns="63500" tIns="63500" rIns="63500" bIns="63500">
            <a:noAutofit/>
          </a:bodyPr>
          <a:lstStyle>
            <a:lvl1pPr algn="l">
              <a:defRPr sz="1200"/>
            </a:lvl1pPr>
          </a:lstStyle>
          <a:p>
            <a:r>
              <a:rPr lang="en-US"/>
              <a:t>Click icon to insert an image</a:t>
            </a:r>
          </a:p>
        </p:txBody>
      </p:sp>
      <p:sp>
        <p:nvSpPr>
          <p:cNvPr id="47" name="Name">
            <a:extLst>
              <a:ext uri="{FF2B5EF4-FFF2-40B4-BE49-F238E27FC236}">
                <a16:creationId xmlns:a16="http://schemas.microsoft.com/office/drawing/2014/main" id="{002A7856-721E-A497-D0F6-EC527CE87EC8}"/>
              </a:ext>
            </a:extLst>
          </p:cNvPr>
          <p:cNvSpPr>
            <a:spLocks noGrp="1"/>
          </p:cNvSpPr>
          <p:nvPr>
            <p:ph type="body" sz="quarter" idx="59" hasCustomPrompt="1"/>
          </p:nvPr>
        </p:nvSpPr>
        <p:spPr>
          <a:xfrm>
            <a:off x="7148479" y="4320000"/>
            <a:ext cx="1656000" cy="1080000"/>
          </a:xfrm>
          <a:prstGeom prst="rect">
            <a:avLst/>
          </a:prstGeom>
        </p:spPr>
        <p:txBody>
          <a:bodyPr lIns="144000" tIns="50400" rIns="50400" bIns="50400"/>
          <a:lstStyle>
            <a:lvl1pPr>
              <a:lnSpc>
                <a:spcPct val="100000"/>
              </a:lnSpc>
              <a:spcBef>
                <a:spcPts val="600"/>
              </a:spcBef>
              <a:defRPr sz="1400" b="1"/>
            </a:lvl1pPr>
            <a:lvl2pPr marL="0" indent="0">
              <a:lnSpc>
                <a:spcPct val="100000"/>
              </a:lnSpc>
              <a:spcBef>
                <a:spcPts val="600"/>
              </a:spcBef>
              <a:buFont typeface="Arial" panose="020B0604020202020204" pitchFamily="34" charset="0"/>
              <a:buChar char="​"/>
              <a:defRPr sz="1400"/>
            </a:lvl2pPr>
            <a:lvl3pPr>
              <a:spcBef>
                <a:spcPts val="600"/>
              </a:spcBef>
              <a:defRPr sz="1400"/>
            </a:lvl3pPr>
            <a:lvl4pPr>
              <a:spcBef>
                <a:spcPts val="600"/>
              </a:spcBef>
              <a:defRPr sz="1400"/>
            </a:lvl4pPr>
            <a:lvl5pPr>
              <a:spcBef>
                <a:spcPts val="600"/>
              </a:spcBef>
              <a:defRPr sz="1400"/>
            </a:lvl5pPr>
            <a:lvl6pPr>
              <a:defRPr sz="1400"/>
            </a:lvl6pPr>
            <a:lvl7pPr>
              <a:defRPr sz="1400"/>
            </a:lvl7pPr>
            <a:lvl8pPr>
              <a:defRPr sz="1400"/>
            </a:lvl8pPr>
            <a:lvl9pPr>
              <a:defRPr sz="1400"/>
            </a:lvl9pPr>
          </a:lstStyle>
          <a:p>
            <a:pPr lvl="0"/>
            <a:r>
              <a:rPr lang="en-US"/>
              <a:t>[Name]</a:t>
            </a:r>
          </a:p>
          <a:p>
            <a:pPr lvl="1"/>
            <a:r>
              <a:rPr lang="en-US"/>
              <a:t>[Job title]</a:t>
            </a:r>
          </a:p>
          <a:p>
            <a:pPr lvl="2"/>
            <a:r>
              <a:rPr lang="en-US"/>
              <a:t>Three</a:t>
            </a:r>
          </a:p>
          <a:p>
            <a:pPr lvl="3"/>
            <a:r>
              <a:rPr lang="en-US"/>
              <a:t>Four</a:t>
            </a:r>
          </a:p>
          <a:p>
            <a:pPr lvl="4"/>
            <a:r>
              <a:rPr lang="en-US"/>
              <a:t>Five</a:t>
            </a:r>
          </a:p>
          <a:p>
            <a:pPr lvl="5"/>
            <a:r>
              <a:rPr lang="en-US"/>
              <a:t>Six</a:t>
            </a:r>
          </a:p>
          <a:p>
            <a:pPr lvl="6"/>
            <a:r>
              <a:rPr lang="en-US"/>
              <a:t>Seven</a:t>
            </a:r>
          </a:p>
          <a:p>
            <a:pPr lvl="7"/>
            <a:r>
              <a:rPr lang="en-US"/>
              <a:t>Eight</a:t>
            </a:r>
          </a:p>
          <a:p>
            <a:pPr lvl="8"/>
            <a:r>
              <a:rPr lang="en-US"/>
              <a:t>Nine</a:t>
            </a:r>
          </a:p>
        </p:txBody>
      </p:sp>
      <p:sp>
        <p:nvSpPr>
          <p:cNvPr id="48" name="Photo">
            <a:extLst>
              <a:ext uri="{FF2B5EF4-FFF2-40B4-BE49-F238E27FC236}">
                <a16:creationId xmlns:a16="http://schemas.microsoft.com/office/drawing/2014/main" id="{49A83109-1299-321E-CB75-FBA94A1E6918}"/>
              </a:ext>
              <a:ext uri="{C183D7F6-B498-43B3-948B-1728B52AA6E4}">
                <adec:decorative xmlns:adec="http://schemas.microsoft.com/office/drawing/2017/decorative" val="1"/>
              </a:ext>
            </a:extLst>
          </p:cNvPr>
          <p:cNvSpPr>
            <a:spLocks noGrp="1"/>
          </p:cNvSpPr>
          <p:nvPr>
            <p:ph type="pic" sz="quarter" idx="60" hasCustomPrompt="1"/>
          </p:nvPr>
        </p:nvSpPr>
        <p:spPr>
          <a:xfrm>
            <a:off x="9119996" y="4320000"/>
            <a:ext cx="894792" cy="1080000"/>
          </a:xfrm>
          <a:prstGeom prst="rect">
            <a:avLst/>
          </a:prstGeom>
          <a:solidFill>
            <a:schemeClr val="bg1">
              <a:lumMod val="95000"/>
            </a:schemeClr>
          </a:solidFill>
        </p:spPr>
        <p:txBody>
          <a:bodyPr wrap="square" lIns="63500" tIns="63500" rIns="63500" bIns="63500">
            <a:noAutofit/>
          </a:bodyPr>
          <a:lstStyle>
            <a:lvl1pPr algn="l">
              <a:defRPr sz="1200"/>
            </a:lvl1pPr>
          </a:lstStyle>
          <a:p>
            <a:r>
              <a:rPr lang="en-US"/>
              <a:t>Click icon to insert an image</a:t>
            </a:r>
          </a:p>
        </p:txBody>
      </p:sp>
      <p:sp>
        <p:nvSpPr>
          <p:cNvPr id="49" name="Name">
            <a:extLst>
              <a:ext uri="{FF2B5EF4-FFF2-40B4-BE49-F238E27FC236}">
                <a16:creationId xmlns:a16="http://schemas.microsoft.com/office/drawing/2014/main" id="{9B030BFC-2D7F-0C09-694D-2A9FAAC9E146}"/>
              </a:ext>
            </a:extLst>
          </p:cNvPr>
          <p:cNvSpPr>
            <a:spLocks noGrp="1"/>
          </p:cNvSpPr>
          <p:nvPr>
            <p:ph type="body" sz="quarter" idx="61" hasCustomPrompt="1"/>
          </p:nvPr>
        </p:nvSpPr>
        <p:spPr>
          <a:xfrm>
            <a:off x="10014788" y="4320000"/>
            <a:ext cx="1656000" cy="1080000"/>
          </a:xfrm>
          <a:prstGeom prst="rect">
            <a:avLst/>
          </a:prstGeom>
        </p:spPr>
        <p:txBody>
          <a:bodyPr lIns="144000" tIns="50400" rIns="50400" bIns="50400"/>
          <a:lstStyle>
            <a:lvl1pPr>
              <a:lnSpc>
                <a:spcPct val="100000"/>
              </a:lnSpc>
              <a:spcBef>
                <a:spcPts val="600"/>
              </a:spcBef>
              <a:defRPr sz="1400" b="1"/>
            </a:lvl1pPr>
            <a:lvl2pPr marL="0" indent="0">
              <a:lnSpc>
                <a:spcPct val="100000"/>
              </a:lnSpc>
              <a:spcBef>
                <a:spcPts val="600"/>
              </a:spcBef>
              <a:buFont typeface="Arial" panose="020B0604020202020204" pitchFamily="34" charset="0"/>
              <a:buChar char="​"/>
              <a:defRPr sz="1400"/>
            </a:lvl2pPr>
            <a:lvl3pPr>
              <a:spcBef>
                <a:spcPts val="600"/>
              </a:spcBef>
              <a:defRPr sz="1400"/>
            </a:lvl3pPr>
            <a:lvl4pPr>
              <a:spcBef>
                <a:spcPts val="600"/>
              </a:spcBef>
              <a:defRPr sz="1400"/>
            </a:lvl4pPr>
            <a:lvl5pPr>
              <a:spcBef>
                <a:spcPts val="600"/>
              </a:spcBef>
              <a:defRPr sz="1400"/>
            </a:lvl5pPr>
            <a:lvl6pPr>
              <a:defRPr sz="1400"/>
            </a:lvl6pPr>
            <a:lvl7pPr>
              <a:defRPr sz="1400"/>
            </a:lvl7pPr>
            <a:lvl8pPr>
              <a:defRPr sz="1400"/>
            </a:lvl8pPr>
            <a:lvl9pPr>
              <a:defRPr sz="1400"/>
            </a:lvl9pPr>
          </a:lstStyle>
          <a:p>
            <a:pPr lvl="0"/>
            <a:r>
              <a:rPr lang="en-US"/>
              <a:t>[Name]</a:t>
            </a:r>
          </a:p>
          <a:p>
            <a:pPr lvl="1"/>
            <a:r>
              <a:rPr lang="en-US"/>
              <a:t>[Job title]</a:t>
            </a:r>
          </a:p>
          <a:p>
            <a:pPr lvl="2"/>
            <a:r>
              <a:rPr lang="en-US"/>
              <a:t>Three</a:t>
            </a:r>
          </a:p>
          <a:p>
            <a:pPr lvl="3"/>
            <a:r>
              <a:rPr lang="en-US"/>
              <a:t>Four</a:t>
            </a:r>
          </a:p>
          <a:p>
            <a:pPr lvl="4"/>
            <a:r>
              <a:rPr lang="en-US"/>
              <a:t>Five</a:t>
            </a:r>
          </a:p>
          <a:p>
            <a:pPr lvl="5"/>
            <a:r>
              <a:rPr lang="en-US"/>
              <a:t>Six</a:t>
            </a:r>
          </a:p>
          <a:p>
            <a:pPr lvl="6"/>
            <a:r>
              <a:rPr lang="en-US"/>
              <a:t>Seven</a:t>
            </a:r>
          </a:p>
          <a:p>
            <a:pPr lvl="7"/>
            <a:r>
              <a:rPr lang="en-US"/>
              <a:t>Eight</a:t>
            </a:r>
          </a:p>
          <a:p>
            <a:pPr lvl="8"/>
            <a:r>
              <a:rPr lang="en-US"/>
              <a:t>Nine</a:t>
            </a:r>
          </a:p>
        </p:txBody>
      </p:sp>
      <p:sp>
        <p:nvSpPr>
          <p:cNvPr id="4" name="Slide Number Placeholder 3">
            <a:extLst>
              <a:ext uri="{FF2B5EF4-FFF2-40B4-BE49-F238E27FC236}">
                <a16:creationId xmlns:a16="http://schemas.microsoft.com/office/drawing/2014/main" id="{470BA0CC-4324-5734-DA20-C6D8884A70B1}"/>
              </a:ext>
              <a:ext uri="{C183D7F6-B498-43B3-948B-1728B52AA6E4}">
                <adec:decorative xmlns:adec="http://schemas.microsoft.com/office/drawing/2017/decorative" val="1"/>
              </a:ext>
            </a:extLst>
          </p:cNvPr>
          <p:cNvSpPr>
            <a:spLocks noGrp="1"/>
          </p:cNvSpPr>
          <p:nvPr>
            <p:ph type="sldNum" sz="quarter" idx="39"/>
          </p:nvPr>
        </p:nvSpPr>
        <p:spPr/>
        <p:txBody>
          <a:bodyPr/>
          <a:lstStyle/>
          <a:p>
            <a:fld id="{1C1606C5-D483-4832-A0E9-CF578A9B5883}" type="slidenum">
              <a:rPr lang="en-US" smtClean="0"/>
              <a:pPr/>
              <a:t>‹#›</a:t>
            </a:fld>
            <a:endParaRPr lang="en-US"/>
          </a:p>
        </p:txBody>
      </p:sp>
      <p:sp>
        <p:nvSpPr>
          <p:cNvPr id="41" name="Text Placeholder 7">
            <a:extLst>
              <a:ext uri="{FF2B5EF4-FFF2-40B4-BE49-F238E27FC236}">
                <a16:creationId xmlns:a16="http://schemas.microsoft.com/office/drawing/2014/main" id="{E7676448-055C-FD4A-8CAC-9E07320DBB29}"/>
              </a:ext>
            </a:extLst>
          </p:cNvPr>
          <p:cNvSpPr>
            <a:spLocks noGrp="1"/>
          </p:cNvSpPr>
          <p:nvPr>
            <p:ph type="body" sz="quarter" idx="19"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
        <p:nvSpPr>
          <p:cNvPr id="42" name="footnotes">
            <a:extLst>
              <a:ext uri="{FF2B5EF4-FFF2-40B4-BE49-F238E27FC236}">
                <a16:creationId xmlns:a16="http://schemas.microsoft.com/office/drawing/2014/main" id="{2F1AA69D-A124-D44C-A3A7-4DF9AA42A4E6}"/>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2" name="Title 1">
            <a:extLst>
              <a:ext uri="{FF2B5EF4-FFF2-40B4-BE49-F238E27FC236}">
                <a16:creationId xmlns:a16="http://schemas.microsoft.com/office/drawing/2014/main" id="{DE6BDE99-B298-A15E-FC88-F04ED4864C8A}"/>
              </a:ext>
            </a:extLst>
          </p:cNvPr>
          <p:cNvSpPr>
            <a:spLocks noGrp="1"/>
          </p:cNvSpPr>
          <p:nvPr>
            <p:ph type="title"/>
          </p:nvPr>
        </p:nvSpPr>
        <p:spPr>
          <a:xfrm>
            <a:off x="521208" y="273562"/>
            <a:ext cx="11149580" cy="944637"/>
          </a:xfrm>
        </p:spPr>
        <p:txBody>
          <a:bodyPr/>
          <a:lstStyle/>
          <a:p>
            <a:r>
              <a:rPr lang="en-US"/>
              <a:t>Click to edit Master title style</a:t>
            </a:r>
          </a:p>
        </p:txBody>
      </p:sp>
    </p:spTree>
    <p:extLst>
      <p:ext uri="{BB962C8B-B14F-4D97-AF65-F5344CB8AC3E}">
        <p14:creationId xmlns:p14="http://schemas.microsoft.com/office/powerpoint/2010/main" val="1749491998"/>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0461298C-3DB1-435F-90A6-F14A750D9FBB}"/>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1623315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0461298C-3DB1-435F-90A6-F14A750D9FBB}"/>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D7385A6E-DBFF-E23C-3DAF-634AD6DD50E7}"/>
              </a:ext>
            </a:extLst>
          </p:cNvPr>
          <p:cNvSpPr>
            <a:spLocks noGrp="1"/>
          </p:cNvSpPr>
          <p:nvPr>
            <p:ph type="title"/>
          </p:nvPr>
        </p:nvSpPr>
        <p:spPr>
          <a:xfrm>
            <a:off x="521208" y="324362"/>
            <a:ext cx="2513592" cy="944637"/>
          </a:xfrm>
        </p:spPr>
        <p:txBody>
          <a:bodyPr/>
          <a:lstStyle/>
          <a:p>
            <a:r>
              <a:rPr lang="en-US"/>
              <a:t>Click to edit Master title style</a:t>
            </a:r>
          </a:p>
        </p:txBody>
      </p:sp>
      <p:sp>
        <p:nvSpPr>
          <p:cNvPr id="5" name="Subtitle">
            <a:extLst>
              <a:ext uri="{FF2B5EF4-FFF2-40B4-BE49-F238E27FC236}">
                <a16:creationId xmlns:a16="http://schemas.microsoft.com/office/drawing/2014/main" id="{2786EEC0-3A40-806E-576A-3B4F5D0A01B7}"/>
              </a:ext>
            </a:extLst>
          </p:cNvPr>
          <p:cNvSpPr>
            <a:spLocks noGrp="1"/>
          </p:cNvSpPr>
          <p:nvPr>
            <p:ph type="body" sz="quarter" idx="10"/>
          </p:nvPr>
        </p:nvSpPr>
        <p:spPr>
          <a:xfrm>
            <a:off x="521208" y="1414799"/>
            <a:ext cx="2513592" cy="1440000"/>
          </a:xfrm>
          <a:prstGeom prst="rect">
            <a:avLst/>
          </a:prstGeom>
        </p:spPr>
        <p:txBody>
          <a:bodyPr>
            <a:noAutofit/>
          </a:bodyPr>
          <a:lstStyle>
            <a:lvl1pPr>
              <a:defRPr b="0" i="0">
                <a:latin typeface="Forever Forma Heading" pitchFamily="2" charset="0"/>
              </a:defRPr>
            </a:lvl1pPr>
          </a:lstStyle>
          <a:p>
            <a:pPr lvl="0"/>
            <a:r>
              <a:rPr lang="en-US"/>
              <a:t>Click to edit Master text styles</a:t>
            </a:r>
          </a:p>
        </p:txBody>
      </p:sp>
      <p:sp>
        <p:nvSpPr>
          <p:cNvPr id="10" name="Disclaimer">
            <a:extLst>
              <a:ext uri="{FF2B5EF4-FFF2-40B4-BE49-F238E27FC236}">
                <a16:creationId xmlns:a16="http://schemas.microsoft.com/office/drawing/2014/main" id="{059A6E4C-3658-EEFC-A4B9-7CD2D194EA49}"/>
              </a:ext>
            </a:extLst>
          </p:cNvPr>
          <p:cNvSpPr>
            <a:spLocks noGrp="1"/>
          </p:cNvSpPr>
          <p:nvPr>
            <p:ph type="body" sz="quarter" idx="11"/>
          </p:nvPr>
        </p:nvSpPr>
        <p:spPr>
          <a:xfrm>
            <a:off x="3287720" y="1414800"/>
            <a:ext cx="8383068" cy="4635150"/>
          </a:xfrm>
          <a:prstGeom prst="rect">
            <a:avLst/>
          </a:prstGeom>
        </p:spPr>
        <p:txBody>
          <a:bodyPr numCol="2" spcCol="432000"/>
          <a:lstStyle>
            <a:lvl1pPr>
              <a:lnSpc>
                <a:spcPct val="100000"/>
              </a:lnSpc>
              <a:spcBef>
                <a:spcPts val="300"/>
              </a:spcBef>
              <a:spcAft>
                <a:spcPts val="300"/>
              </a:spcAft>
              <a:defRPr sz="1000"/>
            </a:lvl1pPr>
            <a:lvl2pPr>
              <a:lnSpc>
                <a:spcPct val="100000"/>
              </a:lnSpc>
              <a:spcBef>
                <a:spcPts val="300"/>
              </a:spcBef>
              <a:defRPr sz="1000"/>
            </a:lvl2pPr>
            <a:lvl3pPr>
              <a:lnSpc>
                <a:spcPct val="100000"/>
              </a:lnSpc>
              <a:defRPr sz="1000"/>
            </a:lvl3pPr>
            <a:lvl4pPr>
              <a:lnSpc>
                <a:spcPct val="100000"/>
              </a:lnSpc>
              <a:defRPr sz="1000"/>
            </a:lvl4pPr>
            <a:lvl5pPr>
              <a:lnSpc>
                <a:spcPct val="100000"/>
              </a:lnSpc>
              <a:defRPr sz="1000"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E0CF7EF5-6190-8D91-7961-09F539B5CBD1}"/>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7" name="footnotes">
            <a:extLst>
              <a:ext uri="{FF2B5EF4-FFF2-40B4-BE49-F238E27FC236}">
                <a16:creationId xmlns:a16="http://schemas.microsoft.com/office/drawing/2014/main" id="{FA7DC2B3-739D-CC4B-92CB-11E278AE48B5}"/>
              </a:ext>
            </a:extLst>
          </p:cNvPr>
          <p:cNvSpPr>
            <a:spLocks noGrp="1"/>
          </p:cNvSpPr>
          <p:nvPr>
            <p:ph type="body" sz="quarter" idx="14" hasCustomPrompt="1"/>
          </p:nvPr>
        </p:nvSpPr>
        <p:spPr>
          <a:xfrm>
            <a:off x="3287720" y="6049950"/>
            <a:ext cx="4891080"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3" name="Text Placeholder 7">
            <a:extLst>
              <a:ext uri="{FF2B5EF4-FFF2-40B4-BE49-F238E27FC236}">
                <a16:creationId xmlns:a16="http://schemas.microsoft.com/office/drawing/2014/main" id="{C9D7795A-88BB-84B0-865E-32EA60DB511E}"/>
              </a:ext>
            </a:extLst>
          </p:cNvPr>
          <p:cNvSpPr>
            <a:spLocks noGrp="1"/>
          </p:cNvSpPr>
          <p:nvPr>
            <p:ph type="body" sz="quarter" idx="32" hasCustomPrompt="1"/>
          </p:nvPr>
        </p:nvSpPr>
        <p:spPr>
          <a:xfrm>
            <a:off x="8297262" y="6313320"/>
            <a:ext cx="1282473"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defRPr>
            </a:lvl1pPr>
          </a:lstStyle>
          <a:p>
            <a:pPr lvl="0"/>
            <a:r>
              <a:rPr lang="en-US"/>
              <a:t>[Confidentiality level]</a:t>
            </a:r>
          </a:p>
        </p:txBody>
      </p:sp>
    </p:spTree>
    <p:extLst>
      <p:ext uri="{BB962C8B-B14F-4D97-AF65-F5344CB8AC3E}">
        <p14:creationId xmlns:p14="http://schemas.microsoft.com/office/powerpoint/2010/main" val="1791854027"/>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hank you - White Image A">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7DD0C67-BA4F-CECD-A33F-9D11386DD20D}"/>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564472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think-cell data - do not delete" hidden="1">
                        <a:extLst>
                          <a:ext uri="{FF2B5EF4-FFF2-40B4-BE49-F238E27FC236}">
                            <a16:creationId xmlns:a16="http://schemas.microsoft.com/office/drawing/2014/main" id="{87DD0C67-BA4F-CECD-A33F-9D11386DD20D}"/>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logo sm" descr="Transamerica Logo">
            <a:extLst>
              <a:ext uri="{FF2B5EF4-FFF2-40B4-BE49-F238E27FC236}">
                <a16:creationId xmlns:a16="http://schemas.microsoft.com/office/drawing/2014/main" id="{EC63DE0E-1098-2FE5-DF51-5E02C181B48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0" y="0"/>
            <a:ext cx="4141724" cy="1559052"/>
          </a:xfrm>
          <a:prstGeom prst="rect">
            <a:avLst/>
          </a:prstGeom>
        </p:spPr>
      </p:pic>
      <p:sp>
        <p:nvSpPr>
          <p:cNvPr id="2" name="Title 1">
            <a:extLst>
              <a:ext uri="{FF2B5EF4-FFF2-40B4-BE49-F238E27FC236}">
                <a16:creationId xmlns:a16="http://schemas.microsoft.com/office/drawing/2014/main" id="{5A86874A-FA12-2517-B453-C324E0434187}"/>
              </a:ext>
            </a:extLst>
          </p:cNvPr>
          <p:cNvSpPr>
            <a:spLocks noGrp="1"/>
          </p:cNvSpPr>
          <p:nvPr>
            <p:ph type="ctrTitle" hasCustomPrompt="1"/>
          </p:nvPr>
        </p:nvSpPr>
        <p:spPr>
          <a:xfrm>
            <a:off x="521208" y="1559052"/>
            <a:ext cx="5573592" cy="3739896"/>
          </a:xfrm>
        </p:spPr>
        <p:txBody>
          <a:bodyPr vert="horz" wrap="square" anchor="ctr" anchorCtr="0">
            <a:noAutofit/>
          </a:bodyPr>
          <a:lstStyle>
            <a:lvl1pPr algn="l">
              <a:lnSpc>
                <a:spcPct val="85000"/>
              </a:lnSpc>
              <a:defRPr sz="4800" kern="100" spc="-120" baseline="0"/>
            </a:lvl1pPr>
          </a:lstStyle>
          <a:p>
            <a:r>
              <a:rPr lang="en-US"/>
              <a:t>Click to edit title</a:t>
            </a:r>
          </a:p>
        </p:txBody>
      </p:sp>
      <p:sp>
        <p:nvSpPr>
          <p:cNvPr id="11" name="Picture Placeholder 22">
            <a:extLst>
              <a:ext uri="{FF2B5EF4-FFF2-40B4-BE49-F238E27FC236}">
                <a16:creationId xmlns:a16="http://schemas.microsoft.com/office/drawing/2014/main" id="{BE99B3D0-DA51-48E0-1F0B-97E9C3040635}"/>
              </a:ext>
              <a:ext uri="{C183D7F6-B498-43B3-948B-1728B52AA6E4}">
                <adec:decorative xmlns:adec="http://schemas.microsoft.com/office/drawing/2017/decorative" val="1"/>
              </a:ext>
            </a:extLst>
          </p:cNvPr>
          <p:cNvSpPr>
            <a:spLocks noGrp="1"/>
          </p:cNvSpPr>
          <p:nvPr>
            <p:ph type="pic" sz="quarter" idx="19" hasCustomPrompt="1"/>
          </p:nvPr>
        </p:nvSpPr>
        <p:spPr>
          <a:xfrm>
            <a:off x="6327600" y="0"/>
            <a:ext cx="5864400" cy="6858000"/>
          </a:xfrm>
          <a:custGeom>
            <a:avLst/>
            <a:gdLst>
              <a:gd name="connsiteX0" fmla="*/ 4206734 w 5753100"/>
              <a:gd name="connsiteY0" fmla="*/ 0 h 6858000"/>
              <a:gd name="connsiteX1" fmla="*/ 5753100 w 5753100"/>
              <a:gd name="connsiteY1" fmla="*/ 0 h 6858000"/>
              <a:gd name="connsiteX2" fmla="*/ 5753100 w 5753100"/>
              <a:gd name="connsiteY2" fmla="*/ 6858000 h 6858000"/>
              <a:gd name="connsiteX3" fmla="*/ 4206723 w 5753100"/>
              <a:gd name="connsiteY3" fmla="*/ 6858000 h 6858000"/>
              <a:gd name="connsiteX4" fmla="*/ 0 w 5753100"/>
              <a:gd name="connsiteY4" fmla="*/ 5497897 h 6858000"/>
              <a:gd name="connsiteX5" fmla="*/ 0 w 5753100"/>
              <a:gd name="connsiteY5" fmla="*/ 136011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3100" h="6858000">
                <a:moveTo>
                  <a:pt x="4206734" y="0"/>
                </a:moveTo>
                <a:lnTo>
                  <a:pt x="5753100" y="0"/>
                </a:lnTo>
                <a:lnTo>
                  <a:pt x="5753100" y="6858000"/>
                </a:lnTo>
                <a:lnTo>
                  <a:pt x="4206723" y="6858000"/>
                </a:lnTo>
                <a:lnTo>
                  <a:pt x="0" y="5497897"/>
                </a:lnTo>
                <a:lnTo>
                  <a:pt x="0" y="1360110"/>
                </a:lnTo>
                <a:close/>
              </a:path>
            </a:pathLst>
          </a:custGeom>
          <a:solidFill>
            <a:schemeClr val="bg1">
              <a:lumMod val="95000"/>
            </a:schemeClr>
          </a:solidFill>
        </p:spPr>
        <p:txBody>
          <a:bodyPr wrap="square" lIns="201600" tIns="921600" rIns="201600" bIns="201600">
            <a:noAutofit/>
          </a:bodyPr>
          <a:lstStyle>
            <a:lvl1pPr algn="ctr">
              <a:defRPr>
                <a:solidFill>
                  <a:schemeClr val="tx1"/>
                </a:solidFill>
              </a:defRPr>
            </a:lvl1pPr>
          </a:lstStyle>
          <a:p>
            <a:r>
              <a:rPr lang="en-US"/>
              <a:t>Click icon to insert an image</a:t>
            </a:r>
          </a:p>
        </p:txBody>
      </p:sp>
      <p:sp>
        <p:nvSpPr>
          <p:cNvPr id="10" name="footnotes">
            <a:extLst>
              <a:ext uri="{FF2B5EF4-FFF2-40B4-BE49-F238E27FC236}">
                <a16:creationId xmlns:a16="http://schemas.microsoft.com/office/drawing/2014/main" id="{3B0A0238-F384-2B47-82B5-4D7F1809492F}"/>
              </a:ext>
            </a:extLst>
          </p:cNvPr>
          <p:cNvSpPr>
            <a:spLocks noGrp="1"/>
          </p:cNvSpPr>
          <p:nvPr>
            <p:ph type="body" sz="quarter" idx="14" hasCustomPrompt="1"/>
          </p:nvPr>
        </p:nvSpPr>
        <p:spPr>
          <a:xfrm>
            <a:off x="521209" y="5554454"/>
            <a:ext cx="5696711" cy="1303545"/>
          </a:xfrm>
          <a:prstGeom prst="rect">
            <a:avLst/>
          </a:prstGeom>
        </p:spPr>
        <p:txBody>
          <a:bodyPr bIns="309600" anchor="b" anchorCtr="0"/>
          <a:lstStyle>
            <a:lvl1pPr>
              <a:lnSpc>
                <a:spcPct val="90000"/>
              </a:lnSpc>
              <a:spcBef>
                <a:spcPts val="0"/>
              </a:spcBef>
              <a:buNone/>
              <a:defRPr sz="1000">
                <a:solidFill>
                  <a:schemeClr val="tx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Transamerica Resources, Inc., is an Aegon company and is affiliated with various companies that include, but are not limited to, insurance companies and broker dealers. Transamerica Resources, Inc., does not offer insurance products or securities. The information provided is for educational purposes only and should not be construed as insurance, securities, ERISA, tax, investment, legal, medical or financial advice or guidance. Please consult your personal independent professionals for answers to your specific questions.</a:t>
            </a:r>
          </a:p>
          <a:p>
            <a:pPr lvl="0"/>
            <a:endParaRPr lang="en-US"/>
          </a:p>
          <a:p>
            <a:pPr lvl="0"/>
            <a:r>
              <a:rPr lang="en-US"/>
              <a:t>[TRACKING NUMBER]</a:t>
            </a:r>
          </a:p>
          <a:p>
            <a:pPr lvl="0"/>
            <a:r>
              <a:rPr lang="en-US"/>
              <a:t>©2025 Transamerica Corporation. All Rights Reserved.</a:t>
            </a:r>
          </a:p>
        </p:txBody>
      </p:sp>
      <p:sp>
        <p:nvSpPr>
          <p:cNvPr id="12" name="Text Placeholder 7">
            <a:extLst>
              <a:ext uri="{FF2B5EF4-FFF2-40B4-BE49-F238E27FC236}">
                <a16:creationId xmlns:a16="http://schemas.microsoft.com/office/drawing/2014/main" id="{00CCC9AC-C7C0-4642-9D8D-A31EA3ECCC07}"/>
              </a:ext>
            </a:extLst>
          </p:cNvPr>
          <p:cNvSpPr>
            <a:spLocks noGrp="1"/>
          </p:cNvSpPr>
          <p:nvPr>
            <p:ph type="body" sz="quarter" idx="32" hasCustomPrompt="1"/>
          </p:nvPr>
        </p:nvSpPr>
        <p:spPr>
          <a:xfrm>
            <a:off x="521207" y="5142929"/>
            <a:ext cx="1014772" cy="298870"/>
          </a:xfrm>
          <a:prstGeom prst="rect">
            <a:avLst/>
          </a:prstGeom>
          <a:solidFill>
            <a:srgbClr val="1D2550"/>
          </a:solidFill>
        </p:spPr>
        <p:txBody>
          <a:bodyPr wrap="none" lIns="75600" tIns="75600" rIns="75600" bIns="75600" anchor="b" anchorCtr="0">
            <a:spAutoFit/>
          </a:bodyPr>
          <a:lstStyle>
            <a:lvl1pPr algn="l">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
        <p:nvSpPr>
          <p:cNvPr id="14" name="footnotes">
            <a:extLst>
              <a:ext uri="{FF2B5EF4-FFF2-40B4-BE49-F238E27FC236}">
                <a16:creationId xmlns:a16="http://schemas.microsoft.com/office/drawing/2014/main" id="{112CB141-9C53-6E4A-955B-90D083E37996}"/>
              </a:ext>
            </a:extLst>
          </p:cNvPr>
          <p:cNvSpPr>
            <a:spLocks noGrp="1"/>
          </p:cNvSpPr>
          <p:nvPr>
            <p:ph type="body" sz="quarter" idx="20" hasCustomPrompt="1"/>
          </p:nvPr>
        </p:nvSpPr>
        <p:spPr>
          <a:xfrm>
            <a:off x="11430000" y="6248400"/>
            <a:ext cx="609600" cy="609600"/>
          </a:xfrm>
          <a:prstGeom prst="rect">
            <a:avLst/>
          </a:prstGeom>
          <a:effectLst>
            <a:outerShdw blurRad="50800" dist="12700" dir="5400000" algn="t" rotWithShape="0">
              <a:prstClr val="black"/>
            </a:outerShdw>
          </a:effectLst>
        </p:spPr>
        <p:txBody>
          <a:bodyPr bIns="309600" anchor="b" anchorCtr="0"/>
          <a:lstStyle>
            <a:lvl1pPr>
              <a:lnSpc>
                <a:spcPct val="90000"/>
              </a:lnSpc>
              <a:spcBef>
                <a:spcPts val="0"/>
              </a:spcBef>
              <a:buNone/>
              <a:defRPr sz="1000">
                <a:solidFill>
                  <a:schemeClr val="bg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01/25</a:t>
            </a:r>
          </a:p>
        </p:txBody>
      </p:sp>
    </p:spTree>
    <p:extLst>
      <p:ext uri="{BB962C8B-B14F-4D97-AF65-F5344CB8AC3E}">
        <p14:creationId xmlns:p14="http://schemas.microsoft.com/office/powerpoint/2010/main" val="872656075"/>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Title Slide - White - No image">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39DA44C5-759C-86D6-2BFE-0A72E0BD523B}"/>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1255622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6" name="think-cell data - do not delete" hidden="1">
                        <a:extLst>
                          <a:ext uri="{FF2B5EF4-FFF2-40B4-BE49-F238E27FC236}">
                            <a16:creationId xmlns:a16="http://schemas.microsoft.com/office/drawing/2014/main" id="{39DA44C5-759C-86D6-2BFE-0A72E0BD523B}"/>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9" name="logo sm" descr="Transamerica Logo">
            <a:extLst>
              <a:ext uri="{FF2B5EF4-FFF2-40B4-BE49-F238E27FC236}">
                <a16:creationId xmlns:a16="http://schemas.microsoft.com/office/drawing/2014/main" id="{70F8CB03-C110-1168-2E33-FE8BAE7D253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0" y="0"/>
            <a:ext cx="4141724" cy="1559052"/>
          </a:xfrm>
          <a:prstGeom prst="rect">
            <a:avLst/>
          </a:prstGeom>
        </p:spPr>
      </p:pic>
      <p:sp>
        <p:nvSpPr>
          <p:cNvPr id="2" name="Title 1">
            <a:extLst>
              <a:ext uri="{FF2B5EF4-FFF2-40B4-BE49-F238E27FC236}">
                <a16:creationId xmlns:a16="http://schemas.microsoft.com/office/drawing/2014/main" id="{5A86874A-FA12-2517-B453-C324E0434187}"/>
              </a:ext>
            </a:extLst>
          </p:cNvPr>
          <p:cNvSpPr>
            <a:spLocks noGrp="1"/>
          </p:cNvSpPr>
          <p:nvPr>
            <p:ph type="ctrTitle" hasCustomPrompt="1"/>
          </p:nvPr>
        </p:nvSpPr>
        <p:spPr>
          <a:xfrm>
            <a:off x="521208" y="1559052"/>
            <a:ext cx="9318896" cy="1932948"/>
          </a:xfrm>
          <a:prstGeom prst="rect">
            <a:avLst/>
          </a:prstGeom>
        </p:spPr>
        <p:txBody>
          <a:bodyPr vert="horz" wrap="square" anchor="b" anchorCtr="0">
            <a:noAutofit/>
          </a:bodyPr>
          <a:lstStyle>
            <a:lvl1pPr algn="l">
              <a:lnSpc>
                <a:spcPct val="85000"/>
              </a:lnSpc>
              <a:defRPr sz="4800" kern="100" spc="-120" baseline="0"/>
            </a:lvl1pPr>
          </a:lstStyle>
          <a:p>
            <a:r>
              <a:rPr lang="en-US"/>
              <a:t>Click to edit title</a:t>
            </a:r>
          </a:p>
        </p:txBody>
      </p:sp>
      <p:sp>
        <p:nvSpPr>
          <p:cNvPr id="3" name="Subtitle 2">
            <a:extLst>
              <a:ext uri="{FF2B5EF4-FFF2-40B4-BE49-F238E27FC236}">
                <a16:creationId xmlns:a16="http://schemas.microsoft.com/office/drawing/2014/main" id="{D9322BA0-7900-6548-8C91-5C883FA22AAA}"/>
              </a:ext>
            </a:extLst>
          </p:cNvPr>
          <p:cNvSpPr>
            <a:spLocks noGrp="1"/>
          </p:cNvSpPr>
          <p:nvPr>
            <p:ph type="subTitle" idx="1"/>
          </p:nvPr>
        </p:nvSpPr>
        <p:spPr>
          <a:xfrm>
            <a:off x="521208" y="3708000"/>
            <a:ext cx="9318896" cy="432000"/>
          </a:xfrm>
          <a:prstGeom prst="rect">
            <a:avLst/>
          </a:prstGeom>
        </p:spPr>
        <p:txBody>
          <a:bodyPr anchor="t" anchorCtr="0">
            <a:noAutofit/>
          </a:bodyPr>
          <a:lstStyle>
            <a:lvl1pPr marL="0" indent="0" algn="l">
              <a:buNone/>
              <a:defRPr sz="2400" b="0" i="0">
                <a:latin typeface="Forever Forma Heading"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7">
            <a:extLst>
              <a:ext uri="{FF2B5EF4-FFF2-40B4-BE49-F238E27FC236}">
                <a16:creationId xmlns:a16="http://schemas.microsoft.com/office/drawing/2014/main" id="{BDAA084D-363D-B650-0E58-F7892FE1196E}"/>
              </a:ext>
            </a:extLst>
          </p:cNvPr>
          <p:cNvSpPr>
            <a:spLocks noGrp="1"/>
          </p:cNvSpPr>
          <p:nvPr>
            <p:ph type="body" sz="quarter" idx="17" hasCustomPrompt="1"/>
          </p:nvPr>
        </p:nvSpPr>
        <p:spPr>
          <a:xfrm>
            <a:off x="521208" y="4752000"/>
            <a:ext cx="7878792" cy="288000"/>
          </a:xfrm>
          <a:prstGeom prst="rect">
            <a:avLst/>
          </a:prstGeom>
        </p:spPr>
        <p:txBody>
          <a:bodyPr>
            <a:noAutofit/>
          </a:bodyPr>
          <a:lstStyle>
            <a:lvl1pPr>
              <a:spcBef>
                <a:spcPts val="0"/>
              </a:spcBef>
              <a:defRPr sz="1600" b="1"/>
            </a:lvl1pPr>
          </a:lstStyle>
          <a:p>
            <a:pPr lvl="0"/>
            <a:r>
              <a:rPr lang="en-US"/>
              <a:t>[Presenter name]</a:t>
            </a:r>
          </a:p>
        </p:txBody>
      </p:sp>
      <p:sp>
        <p:nvSpPr>
          <p:cNvPr id="8" name="Text Placeholder 7">
            <a:extLst>
              <a:ext uri="{FF2B5EF4-FFF2-40B4-BE49-F238E27FC236}">
                <a16:creationId xmlns:a16="http://schemas.microsoft.com/office/drawing/2014/main" id="{42BC1D38-D6E1-7E0C-EF78-D061302A3DF8}"/>
              </a:ext>
            </a:extLst>
          </p:cNvPr>
          <p:cNvSpPr>
            <a:spLocks noGrp="1"/>
          </p:cNvSpPr>
          <p:nvPr>
            <p:ph type="body" sz="quarter" idx="13" hasCustomPrompt="1"/>
          </p:nvPr>
        </p:nvSpPr>
        <p:spPr>
          <a:xfrm>
            <a:off x="521208" y="5040000"/>
            <a:ext cx="7878792" cy="252000"/>
          </a:xfrm>
          <a:prstGeom prst="rect">
            <a:avLst/>
          </a:prstGeom>
        </p:spPr>
        <p:txBody>
          <a:bodyPr>
            <a:noAutofit/>
          </a:bodyPr>
          <a:lstStyle>
            <a:lvl1pPr>
              <a:spcBef>
                <a:spcPts val="0"/>
              </a:spcBef>
              <a:defRPr sz="1600"/>
            </a:lvl1pPr>
          </a:lstStyle>
          <a:p>
            <a:pPr lvl="0"/>
            <a:r>
              <a:rPr lang="en-US"/>
              <a:t>[Month date year]</a:t>
            </a:r>
          </a:p>
        </p:txBody>
      </p:sp>
      <p:sp>
        <p:nvSpPr>
          <p:cNvPr id="6" name="LYBL 3" descr="live your best life tagline graphic">
            <a:extLst>
              <a:ext uri="{FF2B5EF4-FFF2-40B4-BE49-F238E27FC236}">
                <a16:creationId xmlns:a16="http://schemas.microsoft.com/office/drawing/2014/main" id="{01A489F3-1530-F1AA-659D-A07B8679E3C9}"/>
              </a:ext>
            </a:extLst>
          </p:cNvPr>
          <p:cNvSpPr>
            <a:spLocks noGrp="1"/>
          </p:cNvSpPr>
          <p:nvPr>
            <p:ph type="body" sz="quarter" idx="21" hasCustomPrompt="1"/>
          </p:nvPr>
        </p:nvSpPr>
        <p:spPr>
          <a:xfrm>
            <a:off x="12711249" y="4973918"/>
            <a:ext cx="1987009" cy="1884082"/>
          </a:xfrm>
          <a:custGeom>
            <a:avLst/>
            <a:gdLst>
              <a:gd name="connsiteX0" fmla="*/ 1381206 w 1987009"/>
              <a:gd name="connsiteY0" fmla="*/ 1687344 h 1884082"/>
              <a:gd name="connsiteX1" fmla="*/ 1204824 w 1987009"/>
              <a:gd name="connsiteY1" fmla="*/ 1742294 h 1884082"/>
              <a:gd name="connsiteX2" fmla="*/ 1320151 w 1987009"/>
              <a:gd name="connsiteY2" fmla="*/ 1808777 h 1884082"/>
              <a:gd name="connsiteX3" fmla="*/ 1381206 w 1987009"/>
              <a:gd name="connsiteY3" fmla="*/ 1687344 h 1884082"/>
              <a:gd name="connsiteX4" fmla="*/ 904614 w 1987009"/>
              <a:gd name="connsiteY4" fmla="*/ 1538915 h 1884082"/>
              <a:gd name="connsiteX5" fmla="*/ 959924 w 1987009"/>
              <a:gd name="connsiteY5" fmla="*/ 1540134 h 1884082"/>
              <a:gd name="connsiteX6" fmla="*/ 1089497 w 1987009"/>
              <a:gd name="connsiteY6" fmla="*/ 1675812 h 1884082"/>
              <a:gd name="connsiteX7" fmla="*/ 1082713 w 1987009"/>
              <a:gd name="connsiteY7" fmla="*/ 1680561 h 1884082"/>
              <a:gd name="connsiteX8" fmla="*/ 1038618 w 1987009"/>
              <a:gd name="connsiteY8" fmla="*/ 1673777 h 1884082"/>
              <a:gd name="connsiteX9" fmla="*/ 1033869 w 1987009"/>
              <a:gd name="connsiteY9" fmla="*/ 1666993 h 1884082"/>
              <a:gd name="connsiteX10" fmla="*/ 952462 w 1987009"/>
              <a:gd name="connsiteY10" fmla="*/ 1579480 h 1884082"/>
              <a:gd name="connsiteX11" fmla="*/ 864271 w 1987009"/>
              <a:gd name="connsiteY11" fmla="*/ 1624254 h 1884082"/>
              <a:gd name="connsiteX12" fmla="*/ 1063040 w 1987009"/>
              <a:gd name="connsiteY12" fmla="*/ 1804707 h 1884082"/>
              <a:gd name="connsiteX13" fmla="*/ 919899 w 1987009"/>
              <a:gd name="connsiteY13" fmla="*/ 1881365 h 1884082"/>
              <a:gd name="connsiteX14" fmla="*/ 797788 w 1987009"/>
              <a:gd name="connsiteY14" fmla="*/ 1761968 h 1884082"/>
              <a:gd name="connsiteX15" fmla="*/ 804572 w 1987009"/>
              <a:gd name="connsiteY15" fmla="*/ 1757219 h 1884082"/>
              <a:gd name="connsiteX16" fmla="*/ 847311 w 1987009"/>
              <a:gd name="connsiteY16" fmla="*/ 1763325 h 1884082"/>
              <a:gd name="connsiteX17" fmla="*/ 852738 w 1987009"/>
              <a:gd name="connsiteY17" fmla="*/ 1770109 h 1884082"/>
              <a:gd name="connsiteX18" fmla="*/ 926683 w 1987009"/>
              <a:gd name="connsiteY18" fmla="*/ 1842697 h 1884082"/>
              <a:gd name="connsiteX19" fmla="*/ 1007412 w 1987009"/>
              <a:gd name="connsiteY19" fmla="*/ 1800636 h 1884082"/>
              <a:gd name="connsiteX20" fmla="*/ 808643 w 1987009"/>
              <a:gd name="connsiteY20" fmla="*/ 1620862 h 1884082"/>
              <a:gd name="connsiteX21" fmla="*/ 904614 w 1987009"/>
              <a:gd name="connsiteY21" fmla="*/ 1538915 h 1884082"/>
              <a:gd name="connsiteX22" fmla="*/ 1295718 w 1987009"/>
              <a:gd name="connsiteY22" fmla="*/ 1511683 h 1884082"/>
              <a:gd name="connsiteX23" fmla="*/ 1429372 w 1987009"/>
              <a:gd name="connsiteY23" fmla="*/ 1636465 h 1884082"/>
              <a:gd name="connsiteX24" fmla="*/ 1333718 w 1987009"/>
              <a:gd name="connsiteY24" fmla="*/ 1848802 h 1884082"/>
              <a:gd name="connsiteX25" fmla="*/ 1134271 w 1987009"/>
              <a:gd name="connsiteY25" fmla="*/ 1727370 h 1884082"/>
              <a:gd name="connsiteX26" fmla="*/ 1138342 w 1987009"/>
              <a:gd name="connsiteY26" fmla="*/ 1719907 h 1884082"/>
              <a:gd name="connsiteX27" fmla="*/ 1371030 w 1987009"/>
              <a:gd name="connsiteY27" fmla="*/ 1647319 h 1884082"/>
              <a:gd name="connsiteX28" fmla="*/ 1240100 w 1987009"/>
              <a:gd name="connsiteY28" fmla="*/ 1560485 h 1884082"/>
              <a:gd name="connsiteX29" fmla="*/ 1178367 w 1987009"/>
              <a:gd name="connsiteY29" fmla="*/ 1656817 h 1884082"/>
              <a:gd name="connsiteX30" fmla="*/ 1173618 w 1987009"/>
              <a:gd name="connsiteY30" fmla="*/ 1664279 h 1884082"/>
              <a:gd name="connsiteX31" fmla="*/ 1130201 w 1987009"/>
              <a:gd name="connsiteY31" fmla="*/ 1678525 h 1884082"/>
              <a:gd name="connsiteX32" fmla="*/ 1123417 w 1987009"/>
              <a:gd name="connsiteY32" fmla="*/ 1674455 h 1884082"/>
              <a:gd name="connsiteX33" fmla="*/ 1227211 w 1987009"/>
              <a:gd name="connsiteY33" fmla="*/ 1519781 h 1884082"/>
              <a:gd name="connsiteX34" fmla="*/ 1295718 w 1987009"/>
              <a:gd name="connsiteY34" fmla="*/ 1511683 h 1884082"/>
              <a:gd name="connsiteX35" fmla="*/ 688568 w 1987009"/>
              <a:gd name="connsiteY35" fmla="*/ 1443801 h 1884082"/>
              <a:gd name="connsiteX36" fmla="*/ 731985 w 1987009"/>
              <a:gd name="connsiteY36" fmla="*/ 1458048 h 1884082"/>
              <a:gd name="connsiteX37" fmla="*/ 764548 w 1987009"/>
              <a:gd name="connsiteY37" fmla="*/ 1584907 h 1884082"/>
              <a:gd name="connsiteX38" fmla="*/ 672965 w 1987009"/>
              <a:gd name="connsiteY38" fmla="*/ 1755862 h 1884082"/>
              <a:gd name="connsiteX39" fmla="*/ 705527 w 1987009"/>
              <a:gd name="connsiteY39" fmla="*/ 1772822 h 1884082"/>
              <a:gd name="connsiteX40" fmla="*/ 707563 w 1987009"/>
              <a:gd name="connsiteY40" fmla="*/ 1780962 h 1884082"/>
              <a:gd name="connsiteX41" fmla="*/ 691281 w 1987009"/>
              <a:gd name="connsiteY41" fmla="*/ 1810812 h 1884082"/>
              <a:gd name="connsiteX42" fmla="*/ 683141 w 1987009"/>
              <a:gd name="connsiteY42" fmla="*/ 1813525 h 1884082"/>
              <a:gd name="connsiteX43" fmla="*/ 650578 w 1987009"/>
              <a:gd name="connsiteY43" fmla="*/ 1796565 h 1884082"/>
              <a:gd name="connsiteX44" fmla="*/ 614623 w 1987009"/>
              <a:gd name="connsiteY44" fmla="*/ 1865083 h 1884082"/>
              <a:gd name="connsiteX45" fmla="*/ 606482 w 1987009"/>
              <a:gd name="connsiteY45" fmla="*/ 1867118 h 1884082"/>
              <a:gd name="connsiteX46" fmla="*/ 564422 w 1987009"/>
              <a:gd name="connsiteY46" fmla="*/ 1844731 h 1884082"/>
              <a:gd name="connsiteX47" fmla="*/ 561708 w 1987009"/>
              <a:gd name="connsiteY47" fmla="*/ 1836591 h 1884082"/>
              <a:gd name="connsiteX48" fmla="*/ 598342 w 1987009"/>
              <a:gd name="connsiteY48" fmla="*/ 1768751 h 1884082"/>
              <a:gd name="connsiteX49" fmla="*/ 531859 w 1987009"/>
              <a:gd name="connsiteY49" fmla="*/ 1732797 h 1884082"/>
              <a:gd name="connsiteX50" fmla="*/ 529824 w 1987009"/>
              <a:gd name="connsiteY50" fmla="*/ 1724656 h 1884082"/>
              <a:gd name="connsiteX51" fmla="*/ 546105 w 1987009"/>
              <a:gd name="connsiteY51" fmla="*/ 1694807 h 1884082"/>
              <a:gd name="connsiteX52" fmla="*/ 554246 w 1987009"/>
              <a:gd name="connsiteY52" fmla="*/ 1692771 h 1884082"/>
              <a:gd name="connsiteX53" fmla="*/ 620728 w 1987009"/>
              <a:gd name="connsiteY53" fmla="*/ 1728726 h 1884082"/>
              <a:gd name="connsiteX54" fmla="*/ 711633 w 1987009"/>
              <a:gd name="connsiteY54" fmla="*/ 1559128 h 1884082"/>
              <a:gd name="connsiteX55" fmla="*/ 699422 w 1987009"/>
              <a:gd name="connsiteY55" fmla="*/ 1493324 h 1884082"/>
              <a:gd name="connsiteX56" fmla="*/ 667538 w 1987009"/>
              <a:gd name="connsiteY56" fmla="*/ 1480435 h 1884082"/>
              <a:gd name="connsiteX57" fmla="*/ 664146 w 1987009"/>
              <a:gd name="connsiteY57" fmla="*/ 1474329 h 1884082"/>
              <a:gd name="connsiteX58" fmla="*/ 679749 w 1987009"/>
              <a:gd name="connsiteY58" fmla="*/ 1447872 h 1884082"/>
              <a:gd name="connsiteX59" fmla="*/ 688568 w 1987009"/>
              <a:gd name="connsiteY59" fmla="*/ 1443801 h 1884082"/>
              <a:gd name="connsiteX60" fmla="*/ 1553602 w 1987009"/>
              <a:gd name="connsiteY60" fmla="*/ 1402336 h 1884082"/>
              <a:gd name="connsiteX61" fmla="*/ 1485000 w 1987009"/>
              <a:gd name="connsiteY61" fmla="*/ 1434983 h 1884082"/>
              <a:gd name="connsiteX62" fmla="*/ 1527738 w 1987009"/>
              <a:gd name="connsiteY62" fmla="*/ 1585586 h 1884082"/>
              <a:gd name="connsiteX63" fmla="*/ 1687839 w 1987009"/>
              <a:gd name="connsiteY63" fmla="*/ 1591692 h 1884082"/>
              <a:gd name="connsiteX64" fmla="*/ 1645100 w 1987009"/>
              <a:gd name="connsiteY64" fmla="*/ 1442445 h 1884082"/>
              <a:gd name="connsiteX65" fmla="*/ 1553602 w 1987009"/>
              <a:gd name="connsiteY65" fmla="*/ 1402336 h 1884082"/>
              <a:gd name="connsiteX66" fmla="*/ 160100 w 1987009"/>
              <a:gd name="connsiteY66" fmla="*/ 1361038 h 1884082"/>
              <a:gd name="connsiteX67" fmla="*/ 167562 w 1987009"/>
              <a:gd name="connsiteY67" fmla="*/ 1363751 h 1884082"/>
              <a:gd name="connsiteX68" fmla="*/ 189271 w 1987009"/>
              <a:gd name="connsiteY68" fmla="*/ 1406490 h 1884082"/>
              <a:gd name="connsiteX69" fmla="*/ 186557 w 1987009"/>
              <a:gd name="connsiteY69" fmla="*/ 1413952 h 1884082"/>
              <a:gd name="connsiteX70" fmla="*/ 139748 w 1987009"/>
              <a:gd name="connsiteY70" fmla="*/ 1437696 h 1884082"/>
              <a:gd name="connsiteX71" fmla="*/ 132286 w 1987009"/>
              <a:gd name="connsiteY71" fmla="*/ 1434982 h 1884082"/>
              <a:gd name="connsiteX72" fmla="*/ 110577 w 1987009"/>
              <a:gd name="connsiteY72" fmla="*/ 1392244 h 1884082"/>
              <a:gd name="connsiteX73" fmla="*/ 113291 w 1987009"/>
              <a:gd name="connsiteY73" fmla="*/ 1384782 h 1884082"/>
              <a:gd name="connsiteX74" fmla="*/ 1548769 w 1987009"/>
              <a:gd name="connsiteY74" fmla="*/ 1298626 h 1884082"/>
              <a:gd name="connsiteX75" fmla="*/ 1738718 w 1987009"/>
              <a:gd name="connsiteY75" fmla="*/ 1445837 h 1884082"/>
              <a:gd name="connsiteX76" fmla="*/ 1896105 w 1987009"/>
              <a:gd name="connsiteY76" fmla="*/ 1563878 h 1884082"/>
              <a:gd name="connsiteX77" fmla="*/ 1897462 w 1987009"/>
              <a:gd name="connsiteY77" fmla="*/ 1572018 h 1884082"/>
              <a:gd name="connsiteX78" fmla="*/ 1868291 w 1987009"/>
              <a:gd name="connsiteY78" fmla="*/ 1610008 h 1884082"/>
              <a:gd name="connsiteX79" fmla="*/ 1860151 w 1987009"/>
              <a:gd name="connsiteY79" fmla="*/ 1611365 h 1884082"/>
              <a:gd name="connsiteX80" fmla="*/ 1730578 w 1987009"/>
              <a:gd name="connsiteY80" fmla="*/ 1510963 h 1884082"/>
              <a:gd name="connsiteX81" fmla="*/ 1712939 w 1987009"/>
              <a:gd name="connsiteY81" fmla="*/ 1629003 h 1884082"/>
              <a:gd name="connsiteX82" fmla="*/ 1494497 w 1987009"/>
              <a:gd name="connsiteY82" fmla="*/ 1633752 h 1884082"/>
              <a:gd name="connsiteX83" fmla="*/ 1440904 w 1987009"/>
              <a:gd name="connsiteY83" fmla="*/ 1420737 h 1884082"/>
              <a:gd name="connsiteX84" fmla="*/ 1550125 w 1987009"/>
              <a:gd name="connsiteY84" fmla="*/ 1372571 h 1884082"/>
              <a:gd name="connsiteX85" fmla="*/ 1513492 w 1987009"/>
              <a:gd name="connsiteY85" fmla="*/ 1346114 h 1884082"/>
              <a:gd name="connsiteX86" fmla="*/ 1512135 w 1987009"/>
              <a:gd name="connsiteY86" fmla="*/ 1337973 h 1884082"/>
              <a:gd name="connsiteX87" fmla="*/ 1540628 w 1987009"/>
              <a:gd name="connsiteY87" fmla="*/ 1299983 h 1884082"/>
              <a:gd name="connsiteX88" fmla="*/ 1548769 w 1987009"/>
              <a:gd name="connsiteY88" fmla="*/ 1298626 h 1884082"/>
              <a:gd name="connsiteX89" fmla="*/ 546105 w 1987009"/>
              <a:gd name="connsiteY89" fmla="*/ 1297947 h 1884082"/>
              <a:gd name="connsiteX90" fmla="*/ 554246 w 1987009"/>
              <a:gd name="connsiteY90" fmla="*/ 1299304 h 1884082"/>
              <a:gd name="connsiteX91" fmla="*/ 582738 w 1987009"/>
              <a:gd name="connsiteY91" fmla="*/ 1337294 h 1884082"/>
              <a:gd name="connsiteX92" fmla="*/ 581381 w 1987009"/>
              <a:gd name="connsiteY92" fmla="*/ 1345435 h 1884082"/>
              <a:gd name="connsiteX93" fmla="*/ 402964 w 1987009"/>
              <a:gd name="connsiteY93" fmla="*/ 1476365 h 1884082"/>
              <a:gd name="connsiteX94" fmla="*/ 232009 w 1987009"/>
              <a:gd name="connsiteY94" fmla="*/ 1608651 h 1884082"/>
              <a:gd name="connsiteX95" fmla="*/ 223869 w 1987009"/>
              <a:gd name="connsiteY95" fmla="*/ 1607294 h 1884082"/>
              <a:gd name="connsiteX96" fmla="*/ 195376 w 1987009"/>
              <a:gd name="connsiteY96" fmla="*/ 1569304 h 1884082"/>
              <a:gd name="connsiteX97" fmla="*/ 196733 w 1987009"/>
              <a:gd name="connsiteY97" fmla="*/ 1561164 h 1884082"/>
              <a:gd name="connsiteX98" fmla="*/ 370401 w 1987009"/>
              <a:gd name="connsiteY98" fmla="*/ 1433626 h 1884082"/>
              <a:gd name="connsiteX99" fmla="*/ 487763 w 1987009"/>
              <a:gd name="connsiteY99" fmla="*/ 1194153 h 1884082"/>
              <a:gd name="connsiteX100" fmla="*/ 495226 w 1987009"/>
              <a:gd name="connsiteY100" fmla="*/ 1196867 h 1884082"/>
              <a:gd name="connsiteX101" fmla="*/ 516934 w 1987009"/>
              <a:gd name="connsiteY101" fmla="*/ 1239606 h 1884082"/>
              <a:gd name="connsiteX102" fmla="*/ 514220 w 1987009"/>
              <a:gd name="connsiteY102" fmla="*/ 1247068 h 1884082"/>
              <a:gd name="connsiteX103" fmla="*/ 367009 w 1987009"/>
              <a:gd name="connsiteY103" fmla="*/ 1320334 h 1884082"/>
              <a:gd name="connsiteX104" fmla="*/ 229974 w 1987009"/>
              <a:gd name="connsiteY104" fmla="*/ 1391565 h 1884082"/>
              <a:gd name="connsiteX105" fmla="*/ 222512 w 1987009"/>
              <a:gd name="connsiteY105" fmla="*/ 1388852 h 1884082"/>
              <a:gd name="connsiteX106" fmla="*/ 200803 w 1987009"/>
              <a:gd name="connsiteY106" fmla="*/ 1346113 h 1884082"/>
              <a:gd name="connsiteX107" fmla="*/ 203517 w 1987009"/>
              <a:gd name="connsiteY107" fmla="*/ 1338651 h 1884082"/>
              <a:gd name="connsiteX108" fmla="*/ 341231 w 1987009"/>
              <a:gd name="connsiteY108" fmla="*/ 1270133 h 1884082"/>
              <a:gd name="connsiteX109" fmla="*/ 155352 w 1987009"/>
              <a:gd name="connsiteY109" fmla="*/ 1066615 h 1884082"/>
              <a:gd name="connsiteX110" fmla="*/ 162136 w 1987009"/>
              <a:gd name="connsiteY110" fmla="*/ 1070686 h 1884082"/>
              <a:gd name="connsiteX111" fmla="*/ 179095 w 1987009"/>
              <a:gd name="connsiteY111" fmla="*/ 1140560 h 1884082"/>
              <a:gd name="connsiteX112" fmla="*/ 312060 w 1987009"/>
              <a:gd name="connsiteY112" fmla="*/ 1107997 h 1884082"/>
              <a:gd name="connsiteX113" fmla="*/ 450452 w 1987009"/>
              <a:gd name="connsiteY113" fmla="*/ 1072721 h 1884082"/>
              <a:gd name="connsiteX114" fmla="*/ 457236 w 1987009"/>
              <a:gd name="connsiteY114" fmla="*/ 1076791 h 1884082"/>
              <a:gd name="connsiteX115" fmla="*/ 468769 w 1987009"/>
              <a:gd name="connsiteY115" fmla="*/ 1124957 h 1884082"/>
              <a:gd name="connsiteX116" fmla="*/ 464699 w 1987009"/>
              <a:gd name="connsiteY116" fmla="*/ 1131741 h 1884082"/>
              <a:gd name="connsiteX117" fmla="*/ 324950 w 1987009"/>
              <a:gd name="connsiteY117" fmla="*/ 1162947 h 1884082"/>
              <a:gd name="connsiteX118" fmla="*/ 191985 w 1987009"/>
              <a:gd name="connsiteY118" fmla="*/ 1194832 h 1884082"/>
              <a:gd name="connsiteX119" fmla="*/ 202839 w 1987009"/>
              <a:gd name="connsiteY119" fmla="*/ 1239605 h 1884082"/>
              <a:gd name="connsiteX120" fmla="*/ 198769 w 1987009"/>
              <a:gd name="connsiteY120" fmla="*/ 1246389 h 1884082"/>
              <a:gd name="connsiteX121" fmla="*/ 166206 w 1987009"/>
              <a:gd name="connsiteY121" fmla="*/ 1253852 h 1884082"/>
              <a:gd name="connsiteX122" fmla="*/ 159422 w 1987009"/>
              <a:gd name="connsiteY122" fmla="*/ 1249781 h 1884082"/>
              <a:gd name="connsiteX123" fmla="*/ 148568 w 1987009"/>
              <a:gd name="connsiteY123" fmla="*/ 1205008 h 1884082"/>
              <a:gd name="connsiteX124" fmla="*/ 120754 w 1987009"/>
              <a:gd name="connsiteY124" fmla="*/ 1211791 h 1884082"/>
              <a:gd name="connsiteX125" fmla="*/ 5427 w 1987009"/>
              <a:gd name="connsiteY125" fmla="*/ 1150736 h 1884082"/>
              <a:gd name="connsiteX126" fmla="*/ 0 w 1987009"/>
              <a:gd name="connsiteY126" fmla="*/ 1107997 h 1884082"/>
              <a:gd name="connsiteX127" fmla="*/ 5427 w 1987009"/>
              <a:gd name="connsiteY127" fmla="*/ 1100535 h 1884082"/>
              <a:gd name="connsiteX128" fmla="*/ 37312 w 1987009"/>
              <a:gd name="connsiteY128" fmla="*/ 1093073 h 1884082"/>
              <a:gd name="connsiteX129" fmla="*/ 42739 w 1987009"/>
              <a:gd name="connsiteY129" fmla="*/ 1097822 h 1884082"/>
              <a:gd name="connsiteX130" fmla="*/ 46131 w 1987009"/>
              <a:gd name="connsiteY130" fmla="*/ 1128349 h 1884082"/>
              <a:gd name="connsiteX131" fmla="*/ 111935 w 1987009"/>
              <a:gd name="connsiteY131" fmla="*/ 1156163 h 1884082"/>
              <a:gd name="connsiteX132" fmla="*/ 135678 w 1987009"/>
              <a:gd name="connsiteY132" fmla="*/ 1150736 h 1884082"/>
              <a:gd name="connsiteX133" fmla="*/ 118719 w 1987009"/>
              <a:gd name="connsiteY133" fmla="*/ 1080862 h 1884082"/>
              <a:gd name="connsiteX134" fmla="*/ 122789 w 1987009"/>
              <a:gd name="connsiteY134" fmla="*/ 1074078 h 1884082"/>
              <a:gd name="connsiteX135" fmla="*/ 1659346 w 1987009"/>
              <a:gd name="connsiteY135" fmla="*/ 1048978 h 1884082"/>
              <a:gd name="connsiteX136" fmla="*/ 1818768 w 1987009"/>
              <a:gd name="connsiteY136" fmla="*/ 1080862 h 1884082"/>
              <a:gd name="connsiteX137" fmla="*/ 1972085 w 1987009"/>
              <a:gd name="connsiteY137" fmla="*/ 1107998 h 1884082"/>
              <a:gd name="connsiteX138" fmla="*/ 1976834 w 1987009"/>
              <a:gd name="connsiteY138" fmla="*/ 1114782 h 1884082"/>
              <a:gd name="connsiteX139" fmla="*/ 1968015 w 1987009"/>
              <a:gd name="connsiteY139" fmla="*/ 1161591 h 1884082"/>
              <a:gd name="connsiteX140" fmla="*/ 1961231 w 1987009"/>
              <a:gd name="connsiteY140" fmla="*/ 1166340 h 1884082"/>
              <a:gd name="connsiteX141" fmla="*/ 1906959 w 1987009"/>
              <a:gd name="connsiteY141" fmla="*/ 1153450 h 1884082"/>
              <a:gd name="connsiteX142" fmla="*/ 1949698 w 1987009"/>
              <a:gd name="connsiteY142" fmla="*/ 1275561 h 1884082"/>
              <a:gd name="connsiteX143" fmla="*/ 1944271 w 1987009"/>
              <a:gd name="connsiteY143" fmla="*/ 1293878 h 1884082"/>
              <a:gd name="connsiteX144" fmla="*/ 1936130 w 1987009"/>
              <a:gd name="connsiteY144" fmla="*/ 1297948 h 1884082"/>
              <a:gd name="connsiteX145" fmla="*/ 1900854 w 1987009"/>
              <a:gd name="connsiteY145" fmla="*/ 1291164 h 1884082"/>
              <a:gd name="connsiteX146" fmla="*/ 1897462 w 1987009"/>
              <a:gd name="connsiteY146" fmla="*/ 1284380 h 1884082"/>
              <a:gd name="connsiteX147" fmla="*/ 1902211 w 1987009"/>
              <a:gd name="connsiteY147" fmla="*/ 1266064 h 1884082"/>
              <a:gd name="connsiteX148" fmla="*/ 1818090 w 1987009"/>
              <a:gd name="connsiteY148" fmla="*/ 1137169 h 1884082"/>
              <a:gd name="connsiteX149" fmla="*/ 1647814 w 1987009"/>
              <a:gd name="connsiteY149" fmla="*/ 1105963 h 1884082"/>
              <a:gd name="connsiteX150" fmla="*/ 1643065 w 1987009"/>
              <a:gd name="connsiteY150" fmla="*/ 1099179 h 1884082"/>
              <a:gd name="connsiteX151" fmla="*/ 1652562 w 1987009"/>
              <a:gd name="connsiteY151" fmla="*/ 1053727 h 1884082"/>
              <a:gd name="connsiteX152" fmla="*/ 1659346 w 1987009"/>
              <a:gd name="connsiteY152" fmla="*/ 1048978 h 1884082"/>
              <a:gd name="connsiteX153" fmla="*/ 260502 w 1987009"/>
              <a:gd name="connsiteY153" fmla="*/ 767445 h 1884082"/>
              <a:gd name="connsiteX154" fmla="*/ 153995 w 1987009"/>
              <a:gd name="connsiteY154" fmla="*/ 846817 h 1884082"/>
              <a:gd name="connsiteX155" fmla="*/ 240829 w 1987009"/>
              <a:gd name="connsiteY155" fmla="*/ 951290 h 1884082"/>
              <a:gd name="connsiteX156" fmla="*/ 301884 w 1987009"/>
              <a:gd name="connsiteY156" fmla="*/ 708425 h 1884082"/>
              <a:gd name="connsiteX157" fmla="*/ 307311 w 1987009"/>
              <a:gd name="connsiteY157" fmla="*/ 714531 h 1884082"/>
              <a:gd name="connsiteX158" fmla="*/ 280854 w 1987009"/>
              <a:gd name="connsiteY158" fmla="*/ 956717 h 1884082"/>
              <a:gd name="connsiteX159" fmla="*/ 412462 w 1987009"/>
              <a:gd name="connsiteY159" fmla="*/ 871239 h 1884082"/>
              <a:gd name="connsiteX160" fmla="*/ 348693 w 1987009"/>
              <a:gd name="connsiteY160" fmla="*/ 775586 h 1884082"/>
              <a:gd name="connsiteX161" fmla="*/ 343944 w 1987009"/>
              <a:gd name="connsiteY161" fmla="*/ 768124 h 1884082"/>
              <a:gd name="connsiteX162" fmla="*/ 348693 w 1987009"/>
              <a:gd name="connsiteY162" fmla="*/ 724707 h 1884082"/>
              <a:gd name="connsiteX163" fmla="*/ 354799 w 1987009"/>
              <a:gd name="connsiteY163" fmla="*/ 719958 h 1884082"/>
              <a:gd name="connsiteX164" fmla="*/ 455201 w 1987009"/>
              <a:gd name="connsiteY164" fmla="*/ 876667 h 1884082"/>
              <a:gd name="connsiteX165" fmla="*/ 267286 w 1987009"/>
              <a:gd name="connsiteY165" fmla="*/ 1015059 h 1884082"/>
              <a:gd name="connsiteX166" fmla="*/ 111256 w 1987009"/>
              <a:gd name="connsiteY166" fmla="*/ 842747 h 1884082"/>
              <a:gd name="connsiteX167" fmla="*/ 301884 w 1987009"/>
              <a:gd name="connsiteY167" fmla="*/ 708425 h 1884082"/>
              <a:gd name="connsiteX168" fmla="*/ 1965979 w 1987009"/>
              <a:gd name="connsiteY168" fmla="*/ 702998 h 1884082"/>
              <a:gd name="connsiteX169" fmla="*/ 1972085 w 1987009"/>
              <a:gd name="connsiteY169" fmla="*/ 708425 h 1884082"/>
              <a:gd name="connsiteX170" fmla="*/ 1974798 w 1987009"/>
              <a:gd name="connsiteY170" fmla="*/ 756591 h 1884082"/>
              <a:gd name="connsiteX171" fmla="*/ 1969371 w 1987009"/>
              <a:gd name="connsiteY171" fmla="*/ 762696 h 1884082"/>
              <a:gd name="connsiteX172" fmla="*/ 1834371 w 1987009"/>
              <a:gd name="connsiteY172" fmla="*/ 768802 h 1884082"/>
              <a:gd name="connsiteX173" fmla="*/ 1771281 w 1987009"/>
              <a:gd name="connsiteY173" fmla="*/ 772194 h 1884082"/>
              <a:gd name="connsiteX174" fmla="*/ 1688517 w 1987009"/>
              <a:gd name="connsiteY174" fmla="*/ 846817 h 1884082"/>
              <a:gd name="connsiteX175" fmla="*/ 1792989 w 1987009"/>
              <a:gd name="connsiteY175" fmla="*/ 932294 h 1884082"/>
              <a:gd name="connsiteX176" fmla="*/ 1843190 w 1987009"/>
              <a:gd name="connsiteY176" fmla="*/ 929581 h 1884082"/>
              <a:gd name="connsiteX177" fmla="*/ 1978190 w 1987009"/>
              <a:gd name="connsiteY177" fmla="*/ 921440 h 1884082"/>
              <a:gd name="connsiteX178" fmla="*/ 1984296 w 1987009"/>
              <a:gd name="connsiteY178" fmla="*/ 926867 h 1884082"/>
              <a:gd name="connsiteX179" fmla="*/ 1987009 w 1987009"/>
              <a:gd name="connsiteY179" fmla="*/ 975712 h 1884082"/>
              <a:gd name="connsiteX180" fmla="*/ 1981582 w 1987009"/>
              <a:gd name="connsiteY180" fmla="*/ 981817 h 1884082"/>
              <a:gd name="connsiteX181" fmla="*/ 1836406 w 1987009"/>
              <a:gd name="connsiteY181" fmla="*/ 987244 h 1884082"/>
              <a:gd name="connsiteX182" fmla="*/ 1662738 w 1987009"/>
              <a:gd name="connsiteY182" fmla="*/ 997420 h 1884082"/>
              <a:gd name="connsiteX183" fmla="*/ 1656633 w 1987009"/>
              <a:gd name="connsiteY183" fmla="*/ 991993 h 1884082"/>
              <a:gd name="connsiteX184" fmla="*/ 1653919 w 1987009"/>
              <a:gd name="connsiteY184" fmla="*/ 946541 h 1884082"/>
              <a:gd name="connsiteX185" fmla="*/ 1659346 w 1987009"/>
              <a:gd name="connsiteY185" fmla="*/ 940435 h 1884082"/>
              <a:gd name="connsiteX186" fmla="*/ 1710225 w 1987009"/>
              <a:gd name="connsiteY186" fmla="*/ 939078 h 1884082"/>
              <a:gd name="connsiteX187" fmla="*/ 1640351 w 1987009"/>
              <a:gd name="connsiteY187" fmla="*/ 831893 h 1884082"/>
              <a:gd name="connsiteX188" fmla="*/ 1765854 w 1987009"/>
              <a:gd name="connsiteY188" fmla="*/ 714531 h 1884082"/>
              <a:gd name="connsiteX189" fmla="*/ 1830979 w 1987009"/>
              <a:gd name="connsiteY189" fmla="*/ 711139 h 1884082"/>
              <a:gd name="connsiteX190" fmla="*/ 1738549 w 1987009"/>
              <a:gd name="connsiteY190" fmla="*/ 405184 h 1884082"/>
              <a:gd name="connsiteX191" fmla="*/ 1643065 w 1987009"/>
              <a:gd name="connsiteY191" fmla="*/ 431641 h 1884082"/>
              <a:gd name="connsiteX192" fmla="*/ 1577940 w 1987009"/>
              <a:gd name="connsiteY192" fmla="*/ 578852 h 1884082"/>
              <a:gd name="connsiteX193" fmla="*/ 1737362 w 1987009"/>
              <a:gd name="connsiteY193" fmla="*/ 599883 h 1884082"/>
              <a:gd name="connsiteX194" fmla="*/ 1804523 w 1987009"/>
              <a:gd name="connsiteY194" fmla="*/ 451993 h 1884082"/>
              <a:gd name="connsiteX195" fmla="*/ 1738549 w 1987009"/>
              <a:gd name="connsiteY195" fmla="*/ 405184 h 1884082"/>
              <a:gd name="connsiteX196" fmla="*/ 1743637 w 1987009"/>
              <a:gd name="connsiteY196" fmla="*/ 353287 h 1884082"/>
              <a:gd name="connsiteX197" fmla="*/ 1841834 w 1987009"/>
              <a:gd name="connsiteY197" fmla="*/ 430963 h 1884082"/>
              <a:gd name="connsiteX198" fmla="*/ 1767889 w 1987009"/>
              <a:gd name="connsiteY198" fmla="*/ 652119 h 1884082"/>
              <a:gd name="connsiteX199" fmla="*/ 1540628 w 1987009"/>
              <a:gd name="connsiteY199" fmla="*/ 599883 h 1884082"/>
              <a:gd name="connsiteX200" fmla="*/ 1613894 w 1987009"/>
              <a:gd name="connsiteY200" fmla="*/ 379405 h 1884082"/>
              <a:gd name="connsiteX201" fmla="*/ 1743637 w 1987009"/>
              <a:gd name="connsiteY201" fmla="*/ 353287 h 1884082"/>
              <a:gd name="connsiteX202" fmla="*/ 244220 w 1987009"/>
              <a:gd name="connsiteY202" fmla="*/ 274933 h 1884082"/>
              <a:gd name="connsiteX203" fmla="*/ 411783 w 1987009"/>
              <a:gd name="connsiteY203" fmla="*/ 410611 h 1884082"/>
              <a:gd name="connsiteX204" fmla="*/ 587487 w 1987009"/>
              <a:gd name="connsiteY204" fmla="*/ 546290 h 1884082"/>
              <a:gd name="connsiteX205" fmla="*/ 588165 w 1987009"/>
              <a:gd name="connsiteY205" fmla="*/ 554430 h 1884082"/>
              <a:gd name="connsiteX206" fmla="*/ 559673 w 1987009"/>
              <a:gd name="connsiteY206" fmla="*/ 591064 h 1884082"/>
              <a:gd name="connsiteX207" fmla="*/ 551532 w 1987009"/>
              <a:gd name="connsiteY207" fmla="*/ 591742 h 1884082"/>
              <a:gd name="connsiteX208" fmla="*/ 379220 w 1987009"/>
              <a:gd name="connsiteY208" fmla="*/ 452671 h 1884082"/>
              <a:gd name="connsiteX209" fmla="*/ 207587 w 1987009"/>
              <a:gd name="connsiteY209" fmla="*/ 321063 h 1884082"/>
              <a:gd name="connsiteX210" fmla="*/ 206909 w 1987009"/>
              <a:gd name="connsiteY210" fmla="*/ 312923 h 1884082"/>
              <a:gd name="connsiteX211" fmla="*/ 236080 w 1987009"/>
              <a:gd name="connsiteY211" fmla="*/ 275611 h 1884082"/>
              <a:gd name="connsiteX212" fmla="*/ 244220 w 1987009"/>
              <a:gd name="connsiteY212" fmla="*/ 274933 h 1884082"/>
              <a:gd name="connsiteX213" fmla="*/ 445703 w 1987009"/>
              <a:gd name="connsiteY213" fmla="*/ 230158 h 1884082"/>
              <a:gd name="connsiteX214" fmla="*/ 453844 w 1987009"/>
              <a:gd name="connsiteY214" fmla="*/ 230837 h 1884082"/>
              <a:gd name="connsiteX215" fmla="*/ 556959 w 1987009"/>
              <a:gd name="connsiteY215" fmla="*/ 344807 h 1884082"/>
              <a:gd name="connsiteX216" fmla="*/ 669572 w 1987009"/>
              <a:gd name="connsiteY216" fmla="*/ 465560 h 1884082"/>
              <a:gd name="connsiteX217" fmla="*/ 668894 w 1987009"/>
              <a:gd name="connsiteY217" fmla="*/ 473701 h 1884082"/>
              <a:gd name="connsiteX218" fmla="*/ 633618 w 1987009"/>
              <a:gd name="connsiteY218" fmla="*/ 505585 h 1884082"/>
              <a:gd name="connsiteX219" fmla="*/ 625477 w 1987009"/>
              <a:gd name="connsiteY219" fmla="*/ 504907 h 1884082"/>
              <a:gd name="connsiteX220" fmla="*/ 515577 w 1987009"/>
              <a:gd name="connsiteY220" fmla="*/ 383475 h 1884082"/>
              <a:gd name="connsiteX221" fmla="*/ 409748 w 1987009"/>
              <a:gd name="connsiteY221" fmla="*/ 270862 h 1884082"/>
              <a:gd name="connsiteX222" fmla="*/ 410427 w 1987009"/>
              <a:gd name="connsiteY222" fmla="*/ 262721 h 1884082"/>
              <a:gd name="connsiteX223" fmla="*/ 377185 w 1987009"/>
              <a:gd name="connsiteY223" fmla="*/ 154857 h 1884082"/>
              <a:gd name="connsiteX224" fmla="*/ 385326 w 1987009"/>
              <a:gd name="connsiteY224" fmla="*/ 155535 h 1884082"/>
              <a:gd name="connsiteX225" fmla="*/ 420603 w 1987009"/>
              <a:gd name="connsiteY225" fmla="*/ 194203 h 1884082"/>
              <a:gd name="connsiteX226" fmla="*/ 419924 w 1987009"/>
              <a:gd name="connsiteY226" fmla="*/ 202344 h 1884082"/>
              <a:gd name="connsiteX227" fmla="*/ 384648 w 1987009"/>
              <a:gd name="connsiteY227" fmla="*/ 234907 h 1884082"/>
              <a:gd name="connsiteX228" fmla="*/ 376507 w 1987009"/>
              <a:gd name="connsiteY228" fmla="*/ 234229 h 1884082"/>
              <a:gd name="connsiteX229" fmla="*/ 341231 w 1987009"/>
              <a:gd name="connsiteY229" fmla="*/ 195560 h 1884082"/>
              <a:gd name="connsiteX230" fmla="*/ 341909 w 1987009"/>
              <a:gd name="connsiteY230" fmla="*/ 187420 h 1884082"/>
              <a:gd name="connsiteX231" fmla="*/ 1431406 w 1987009"/>
              <a:gd name="connsiteY231" fmla="*/ 74806 h 1884082"/>
              <a:gd name="connsiteX232" fmla="*/ 1477537 w 1987009"/>
              <a:gd name="connsiteY232" fmla="*/ 103977 h 1884082"/>
              <a:gd name="connsiteX233" fmla="*/ 1481607 w 1987009"/>
              <a:gd name="connsiteY233" fmla="*/ 112118 h 1884082"/>
              <a:gd name="connsiteX234" fmla="*/ 1427336 w 1987009"/>
              <a:gd name="connsiteY234" fmla="*/ 373299 h 1884082"/>
              <a:gd name="connsiteX235" fmla="*/ 1626784 w 1987009"/>
              <a:gd name="connsiteY235" fmla="*/ 205058 h 1884082"/>
              <a:gd name="connsiteX236" fmla="*/ 1636281 w 1987009"/>
              <a:gd name="connsiteY236" fmla="*/ 204379 h 1884082"/>
              <a:gd name="connsiteX237" fmla="*/ 1677663 w 1987009"/>
              <a:gd name="connsiteY237" fmla="*/ 230158 h 1884082"/>
              <a:gd name="connsiteX238" fmla="*/ 1677663 w 1987009"/>
              <a:gd name="connsiteY238" fmla="*/ 236942 h 1884082"/>
              <a:gd name="connsiteX239" fmla="*/ 1322864 w 1987009"/>
              <a:gd name="connsiteY239" fmla="*/ 519153 h 1884082"/>
              <a:gd name="connsiteX240" fmla="*/ 1313366 w 1987009"/>
              <a:gd name="connsiteY240" fmla="*/ 519832 h 1884082"/>
              <a:gd name="connsiteX241" fmla="*/ 1276055 w 1987009"/>
              <a:gd name="connsiteY241" fmla="*/ 496088 h 1884082"/>
              <a:gd name="connsiteX242" fmla="*/ 1276055 w 1987009"/>
              <a:gd name="connsiteY242" fmla="*/ 489304 h 1884082"/>
              <a:gd name="connsiteX243" fmla="*/ 1360854 w 1987009"/>
              <a:gd name="connsiteY243" fmla="*/ 421465 h 1884082"/>
              <a:gd name="connsiteX244" fmla="*/ 1425301 w 1987009"/>
              <a:gd name="connsiteY244" fmla="*/ 76842 h 1884082"/>
              <a:gd name="connsiteX245" fmla="*/ 1431406 w 1987009"/>
              <a:gd name="connsiteY245" fmla="*/ 74806 h 1884082"/>
              <a:gd name="connsiteX246" fmla="*/ 1007411 w 1987009"/>
              <a:gd name="connsiteY246" fmla="*/ 42922 h 1884082"/>
              <a:gd name="connsiteX247" fmla="*/ 917185 w 1987009"/>
              <a:gd name="connsiteY247" fmla="*/ 144003 h 1884082"/>
              <a:gd name="connsiteX248" fmla="*/ 1101708 w 1987009"/>
              <a:gd name="connsiteY248" fmla="*/ 136541 h 1884082"/>
              <a:gd name="connsiteX249" fmla="*/ 1007411 w 1987009"/>
              <a:gd name="connsiteY249" fmla="*/ 42922 h 1884082"/>
              <a:gd name="connsiteX250" fmla="*/ 772688 w 1987009"/>
              <a:gd name="connsiteY250" fmla="*/ 36138 h 1884082"/>
              <a:gd name="connsiteX251" fmla="*/ 778115 w 1987009"/>
              <a:gd name="connsiteY251" fmla="*/ 38852 h 1884082"/>
              <a:gd name="connsiteX252" fmla="*/ 815427 w 1987009"/>
              <a:gd name="connsiteY252" fmla="*/ 378726 h 1884082"/>
              <a:gd name="connsiteX253" fmla="*/ 810678 w 1987009"/>
              <a:gd name="connsiteY253" fmla="*/ 386867 h 1884082"/>
              <a:gd name="connsiteX254" fmla="*/ 757764 w 1987009"/>
              <a:gd name="connsiteY254" fmla="*/ 412646 h 1884082"/>
              <a:gd name="connsiteX255" fmla="*/ 748266 w 1987009"/>
              <a:gd name="connsiteY255" fmla="*/ 411289 h 1884082"/>
              <a:gd name="connsiteX256" fmla="*/ 501331 w 1987009"/>
              <a:gd name="connsiteY256" fmla="*/ 175209 h 1884082"/>
              <a:gd name="connsiteX257" fmla="*/ 502688 w 1987009"/>
              <a:gd name="connsiteY257" fmla="*/ 169103 h 1884082"/>
              <a:gd name="connsiteX258" fmla="*/ 550176 w 1987009"/>
              <a:gd name="connsiteY258" fmla="*/ 146038 h 1884082"/>
              <a:gd name="connsiteX259" fmla="*/ 559673 w 1987009"/>
              <a:gd name="connsiteY259" fmla="*/ 148073 h 1884082"/>
              <a:gd name="connsiteX260" fmla="*/ 764547 w 1987009"/>
              <a:gd name="connsiteY260" fmla="*/ 354983 h 1884082"/>
              <a:gd name="connsiteX261" fmla="*/ 728593 w 1987009"/>
              <a:gd name="connsiteY261" fmla="*/ 64631 h 1884082"/>
              <a:gd name="connsiteX262" fmla="*/ 732663 w 1987009"/>
              <a:gd name="connsiteY262" fmla="*/ 55812 h 1884082"/>
              <a:gd name="connsiteX263" fmla="*/ 1005376 w 1987009"/>
              <a:gd name="connsiteY263" fmla="*/ 184 h 1884082"/>
              <a:gd name="connsiteX264" fmla="*/ 1166155 w 1987009"/>
              <a:gd name="connsiteY264" fmla="*/ 169103 h 1884082"/>
              <a:gd name="connsiteX265" fmla="*/ 1160728 w 1987009"/>
              <a:gd name="connsiteY265" fmla="*/ 175209 h 1884082"/>
              <a:gd name="connsiteX266" fmla="*/ 916507 w 1987009"/>
              <a:gd name="connsiteY266" fmla="*/ 184706 h 1884082"/>
              <a:gd name="connsiteX267" fmla="*/ 1020301 w 1987009"/>
              <a:gd name="connsiteY267" fmla="*/ 302747 h 1884082"/>
              <a:gd name="connsiteX268" fmla="*/ 1105100 w 1987009"/>
              <a:gd name="connsiteY268" fmla="*/ 225410 h 1884082"/>
              <a:gd name="connsiteX269" fmla="*/ 1111884 w 1987009"/>
              <a:gd name="connsiteY269" fmla="*/ 219304 h 1884082"/>
              <a:gd name="connsiteX270" fmla="*/ 1156657 w 1987009"/>
              <a:gd name="connsiteY270" fmla="*/ 217948 h 1884082"/>
              <a:gd name="connsiteX271" fmla="*/ 1162085 w 1987009"/>
              <a:gd name="connsiteY271" fmla="*/ 223375 h 1884082"/>
              <a:gd name="connsiteX272" fmla="*/ 1021657 w 1987009"/>
              <a:gd name="connsiteY272" fmla="*/ 345485 h 1884082"/>
              <a:gd name="connsiteX273" fmla="*/ 857487 w 1987009"/>
              <a:gd name="connsiteY273" fmla="*/ 179958 h 1884082"/>
              <a:gd name="connsiteX274" fmla="*/ 1005376 w 1987009"/>
              <a:gd name="connsiteY274" fmla="*/ 184 h 188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987009" h="1884082">
                <a:moveTo>
                  <a:pt x="1381206" y="1687344"/>
                </a:moveTo>
                <a:lnTo>
                  <a:pt x="1204824" y="1742294"/>
                </a:lnTo>
                <a:cubicBezTo>
                  <a:pt x="1222462" y="1792495"/>
                  <a:pt x="1264523" y="1826415"/>
                  <a:pt x="1320151" y="1808777"/>
                </a:cubicBezTo>
                <a:cubicBezTo>
                  <a:pt x="1372387" y="1792495"/>
                  <a:pt x="1391382" y="1749756"/>
                  <a:pt x="1381206" y="1687344"/>
                </a:cubicBezTo>
                <a:close/>
                <a:moveTo>
                  <a:pt x="904614" y="1538915"/>
                </a:moveTo>
                <a:cubicBezTo>
                  <a:pt x="921765" y="1536869"/>
                  <a:pt x="940420" y="1537251"/>
                  <a:pt x="959924" y="1540134"/>
                </a:cubicBezTo>
                <a:cubicBezTo>
                  <a:pt x="1046758" y="1553023"/>
                  <a:pt x="1097638" y="1599154"/>
                  <a:pt x="1089497" y="1675812"/>
                </a:cubicBezTo>
                <a:cubicBezTo>
                  <a:pt x="1088819" y="1679204"/>
                  <a:pt x="1086105" y="1681239"/>
                  <a:pt x="1082713" y="1680561"/>
                </a:cubicBezTo>
                <a:lnTo>
                  <a:pt x="1038618" y="1673777"/>
                </a:lnTo>
                <a:cubicBezTo>
                  <a:pt x="1035226" y="1673099"/>
                  <a:pt x="1033190" y="1670385"/>
                  <a:pt x="1033869" y="1666993"/>
                </a:cubicBezTo>
                <a:cubicBezTo>
                  <a:pt x="1038618" y="1615435"/>
                  <a:pt x="1010803" y="1587621"/>
                  <a:pt x="952462" y="1579480"/>
                </a:cubicBezTo>
                <a:cubicBezTo>
                  <a:pt x="904296" y="1572696"/>
                  <a:pt x="869698" y="1588300"/>
                  <a:pt x="864271" y="1624254"/>
                </a:cubicBezTo>
                <a:cubicBezTo>
                  <a:pt x="852060" y="1709732"/>
                  <a:pt x="1082035" y="1673099"/>
                  <a:pt x="1063040" y="1804707"/>
                </a:cubicBezTo>
                <a:cubicBezTo>
                  <a:pt x="1053542" y="1867797"/>
                  <a:pt x="997914" y="1892898"/>
                  <a:pt x="919899" y="1881365"/>
                </a:cubicBezTo>
                <a:cubicBezTo>
                  <a:pt x="843919" y="1870511"/>
                  <a:pt x="793040" y="1830485"/>
                  <a:pt x="797788" y="1761968"/>
                </a:cubicBezTo>
                <a:cubicBezTo>
                  <a:pt x="798467" y="1758576"/>
                  <a:pt x="801180" y="1756541"/>
                  <a:pt x="804572" y="1757219"/>
                </a:cubicBezTo>
                <a:lnTo>
                  <a:pt x="847311" y="1763325"/>
                </a:lnTo>
                <a:cubicBezTo>
                  <a:pt x="850703" y="1764003"/>
                  <a:pt x="852738" y="1766717"/>
                  <a:pt x="852738" y="1770109"/>
                </a:cubicBezTo>
                <a:cubicBezTo>
                  <a:pt x="850703" y="1812169"/>
                  <a:pt x="879195" y="1835913"/>
                  <a:pt x="926683" y="1842697"/>
                </a:cubicBezTo>
                <a:cubicBezTo>
                  <a:pt x="970778" y="1849481"/>
                  <a:pt x="1001984" y="1836591"/>
                  <a:pt x="1007412" y="1800636"/>
                </a:cubicBezTo>
                <a:cubicBezTo>
                  <a:pt x="1019623" y="1719229"/>
                  <a:pt x="788969" y="1757898"/>
                  <a:pt x="808643" y="1620862"/>
                </a:cubicBezTo>
                <a:cubicBezTo>
                  <a:pt x="815257" y="1573035"/>
                  <a:pt x="853162" y="1545052"/>
                  <a:pt x="904614" y="1538915"/>
                </a:cubicBezTo>
                <a:close/>
                <a:moveTo>
                  <a:pt x="1295718" y="1511683"/>
                </a:moveTo>
                <a:cubicBezTo>
                  <a:pt x="1359158" y="1517789"/>
                  <a:pt x="1406476" y="1564725"/>
                  <a:pt x="1429372" y="1636465"/>
                </a:cubicBezTo>
                <a:cubicBezTo>
                  <a:pt x="1459899" y="1734832"/>
                  <a:pt x="1424623" y="1819631"/>
                  <a:pt x="1333718" y="1848802"/>
                </a:cubicBezTo>
                <a:cubicBezTo>
                  <a:pt x="1242814" y="1877294"/>
                  <a:pt x="1168869" y="1831842"/>
                  <a:pt x="1134271" y="1727370"/>
                </a:cubicBezTo>
                <a:cubicBezTo>
                  <a:pt x="1133593" y="1723978"/>
                  <a:pt x="1134950" y="1721264"/>
                  <a:pt x="1138342" y="1719907"/>
                </a:cubicBezTo>
                <a:lnTo>
                  <a:pt x="1371030" y="1647319"/>
                </a:lnTo>
                <a:cubicBezTo>
                  <a:pt x="1345251" y="1572018"/>
                  <a:pt x="1301834" y="1541490"/>
                  <a:pt x="1240100" y="1560485"/>
                </a:cubicBezTo>
                <a:cubicBezTo>
                  <a:pt x="1193291" y="1574731"/>
                  <a:pt x="1172940" y="1608651"/>
                  <a:pt x="1178367" y="1656817"/>
                </a:cubicBezTo>
                <a:cubicBezTo>
                  <a:pt x="1179045" y="1660209"/>
                  <a:pt x="1176332" y="1663601"/>
                  <a:pt x="1173618" y="1664279"/>
                </a:cubicBezTo>
                <a:lnTo>
                  <a:pt x="1130201" y="1678525"/>
                </a:lnTo>
                <a:cubicBezTo>
                  <a:pt x="1126809" y="1679204"/>
                  <a:pt x="1124774" y="1677847"/>
                  <a:pt x="1123417" y="1674455"/>
                </a:cubicBezTo>
                <a:cubicBezTo>
                  <a:pt x="1113241" y="1607294"/>
                  <a:pt x="1145804" y="1544882"/>
                  <a:pt x="1227211" y="1519781"/>
                </a:cubicBezTo>
                <a:cubicBezTo>
                  <a:pt x="1251633" y="1512149"/>
                  <a:pt x="1274571" y="1509648"/>
                  <a:pt x="1295718" y="1511683"/>
                </a:cubicBezTo>
                <a:close/>
                <a:moveTo>
                  <a:pt x="688568" y="1443801"/>
                </a:moveTo>
                <a:cubicBezTo>
                  <a:pt x="701457" y="1446515"/>
                  <a:pt x="718417" y="1450585"/>
                  <a:pt x="731985" y="1458048"/>
                </a:cubicBezTo>
                <a:cubicBezTo>
                  <a:pt x="774723" y="1480435"/>
                  <a:pt x="798467" y="1521817"/>
                  <a:pt x="764548" y="1584907"/>
                </a:cubicBezTo>
                <a:lnTo>
                  <a:pt x="672965" y="1755862"/>
                </a:lnTo>
                <a:lnTo>
                  <a:pt x="705527" y="1772822"/>
                </a:lnTo>
                <a:cubicBezTo>
                  <a:pt x="708241" y="1774179"/>
                  <a:pt x="709598" y="1777570"/>
                  <a:pt x="707563" y="1780962"/>
                </a:cubicBezTo>
                <a:lnTo>
                  <a:pt x="691281" y="1810812"/>
                </a:lnTo>
                <a:cubicBezTo>
                  <a:pt x="689924" y="1813525"/>
                  <a:pt x="686532" y="1814882"/>
                  <a:pt x="683141" y="1813525"/>
                </a:cubicBezTo>
                <a:lnTo>
                  <a:pt x="650578" y="1796565"/>
                </a:lnTo>
                <a:lnTo>
                  <a:pt x="614623" y="1865083"/>
                </a:lnTo>
                <a:cubicBezTo>
                  <a:pt x="613266" y="1867797"/>
                  <a:pt x="609874" y="1869153"/>
                  <a:pt x="606482" y="1867118"/>
                </a:cubicBezTo>
                <a:lnTo>
                  <a:pt x="564422" y="1844731"/>
                </a:lnTo>
                <a:cubicBezTo>
                  <a:pt x="561708" y="1843375"/>
                  <a:pt x="560352" y="1839983"/>
                  <a:pt x="561708" y="1836591"/>
                </a:cubicBezTo>
                <a:lnTo>
                  <a:pt x="598342" y="1768751"/>
                </a:lnTo>
                <a:lnTo>
                  <a:pt x="531859" y="1732797"/>
                </a:lnTo>
                <a:cubicBezTo>
                  <a:pt x="529146" y="1731440"/>
                  <a:pt x="527789" y="1728048"/>
                  <a:pt x="529824" y="1724656"/>
                </a:cubicBezTo>
                <a:lnTo>
                  <a:pt x="546105" y="1694807"/>
                </a:lnTo>
                <a:cubicBezTo>
                  <a:pt x="547462" y="1692093"/>
                  <a:pt x="550854" y="1690736"/>
                  <a:pt x="554246" y="1692771"/>
                </a:cubicBezTo>
                <a:lnTo>
                  <a:pt x="620728" y="1728726"/>
                </a:lnTo>
                <a:lnTo>
                  <a:pt x="711633" y="1559128"/>
                </a:lnTo>
                <a:cubicBezTo>
                  <a:pt x="730628" y="1523852"/>
                  <a:pt x="724522" y="1506892"/>
                  <a:pt x="699422" y="1493324"/>
                </a:cubicBezTo>
                <a:cubicBezTo>
                  <a:pt x="687889" y="1487219"/>
                  <a:pt x="676357" y="1483148"/>
                  <a:pt x="667538" y="1480435"/>
                </a:cubicBezTo>
                <a:cubicBezTo>
                  <a:pt x="664146" y="1479756"/>
                  <a:pt x="662789" y="1476364"/>
                  <a:pt x="664146" y="1474329"/>
                </a:cubicBezTo>
                <a:lnTo>
                  <a:pt x="679749" y="1447872"/>
                </a:lnTo>
                <a:cubicBezTo>
                  <a:pt x="681105" y="1445158"/>
                  <a:pt x="685176" y="1443123"/>
                  <a:pt x="688568" y="1443801"/>
                </a:cubicBezTo>
                <a:close/>
                <a:moveTo>
                  <a:pt x="1553602" y="1402336"/>
                </a:moveTo>
                <a:cubicBezTo>
                  <a:pt x="1526212" y="1401063"/>
                  <a:pt x="1502638" y="1411918"/>
                  <a:pt x="1485000" y="1434983"/>
                </a:cubicBezTo>
                <a:cubicBezTo>
                  <a:pt x="1445653" y="1485184"/>
                  <a:pt x="1468718" y="1540812"/>
                  <a:pt x="1527738" y="1585586"/>
                </a:cubicBezTo>
                <a:cubicBezTo>
                  <a:pt x="1590150" y="1633074"/>
                  <a:pt x="1649849" y="1641893"/>
                  <a:pt x="1687839" y="1591692"/>
                </a:cubicBezTo>
                <a:cubicBezTo>
                  <a:pt x="1721759" y="1547596"/>
                  <a:pt x="1710226" y="1493325"/>
                  <a:pt x="1645100" y="1442445"/>
                </a:cubicBezTo>
                <a:cubicBezTo>
                  <a:pt x="1612198" y="1417006"/>
                  <a:pt x="1580992" y="1403607"/>
                  <a:pt x="1553602" y="1402336"/>
                </a:cubicBezTo>
                <a:close/>
                <a:moveTo>
                  <a:pt x="160100" y="1361038"/>
                </a:moveTo>
                <a:cubicBezTo>
                  <a:pt x="162813" y="1359681"/>
                  <a:pt x="166205" y="1361038"/>
                  <a:pt x="167562" y="1363751"/>
                </a:cubicBezTo>
                <a:lnTo>
                  <a:pt x="189271" y="1406490"/>
                </a:lnTo>
                <a:cubicBezTo>
                  <a:pt x="190628" y="1409204"/>
                  <a:pt x="189271" y="1412596"/>
                  <a:pt x="186557" y="1413952"/>
                </a:cubicBezTo>
                <a:lnTo>
                  <a:pt x="139748" y="1437696"/>
                </a:lnTo>
                <a:cubicBezTo>
                  <a:pt x="137035" y="1439053"/>
                  <a:pt x="133643" y="1437696"/>
                  <a:pt x="132286" y="1434982"/>
                </a:cubicBezTo>
                <a:lnTo>
                  <a:pt x="110577" y="1392244"/>
                </a:lnTo>
                <a:cubicBezTo>
                  <a:pt x="109220" y="1389530"/>
                  <a:pt x="110577" y="1386138"/>
                  <a:pt x="113291" y="1384782"/>
                </a:cubicBezTo>
                <a:close/>
                <a:moveTo>
                  <a:pt x="1548769" y="1298626"/>
                </a:moveTo>
                <a:lnTo>
                  <a:pt x="1738718" y="1445837"/>
                </a:lnTo>
                <a:lnTo>
                  <a:pt x="1896105" y="1563878"/>
                </a:lnTo>
                <a:cubicBezTo>
                  <a:pt x="1898819" y="1565913"/>
                  <a:pt x="1898819" y="1569305"/>
                  <a:pt x="1897462" y="1572018"/>
                </a:cubicBezTo>
                <a:lnTo>
                  <a:pt x="1868291" y="1610008"/>
                </a:lnTo>
                <a:cubicBezTo>
                  <a:pt x="1866256" y="1612722"/>
                  <a:pt x="1862864" y="1612722"/>
                  <a:pt x="1860151" y="1611365"/>
                </a:cubicBezTo>
                <a:lnTo>
                  <a:pt x="1730578" y="1510963"/>
                </a:lnTo>
                <a:cubicBezTo>
                  <a:pt x="1745502" y="1550310"/>
                  <a:pt x="1741432" y="1591692"/>
                  <a:pt x="1712939" y="1629003"/>
                </a:cubicBezTo>
                <a:cubicBezTo>
                  <a:pt x="1658668" y="1699556"/>
                  <a:pt x="1571155" y="1692094"/>
                  <a:pt x="1494497" y="1633752"/>
                </a:cubicBezTo>
                <a:cubicBezTo>
                  <a:pt x="1419196" y="1576767"/>
                  <a:pt x="1387990" y="1489933"/>
                  <a:pt x="1440904" y="1420737"/>
                </a:cubicBezTo>
                <a:cubicBezTo>
                  <a:pt x="1469397" y="1382747"/>
                  <a:pt x="1506708" y="1367144"/>
                  <a:pt x="1550125" y="1372571"/>
                </a:cubicBezTo>
                <a:lnTo>
                  <a:pt x="1513492" y="1346114"/>
                </a:lnTo>
                <a:cubicBezTo>
                  <a:pt x="1510779" y="1344079"/>
                  <a:pt x="1510779" y="1340687"/>
                  <a:pt x="1512135" y="1337973"/>
                </a:cubicBezTo>
                <a:lnTo>
                  <a:pt x="1540628" y="1299983"/>
                </a:lnTo>
                <a:cubicBezTo>
                  <a:pt x="1542663" y="1297269"/>
                  <a:pt x="1546055" y="1297269"/>
                  <a:pt x="1548769" y="1298626"/>
                </a:cubicBezTo>
                <a:close/>
                <a:moveTo>
                  <a:pt x="546105" y="1297947"/>
                </a:moveTo>
                <a:cubicBezTo>
                  <a:pt x="548819" y="1295912"/>
                  <a:pt x="552211" y="1296591"/>
                  <a:pt x="554246" y="1299304"/>
                </a:cubicBezTo>
                <a:lnTo>
                  <a:pt x="582738" y="1337294"/>
                </a:lnTo>
                <a:cubicBezTo>
                  <a:pt x="584773" y="1340008"/>
                  <a:pt x="584095" y="1343400"/>
                  <a:pt x="581381" y="1345435"/>
                </a:cubicBezTo>
                <a:lnTo>
                  <a:pt x="402964" y="1476365"/>
                </a:lnTo>
                <a:lnTo>
                  <a:pt x="232009" y="1608651"/>
                </a:lnTo>
                <a:cubicBezTo>
                  <a:pt x="229296" y="1610686"/>
                  <a:pt x="225904" y="1610008"/>
                  <a:pt x="223869" y="1607294"/>
                </a:cubicBezTo>
                <a:lnTo>
                  <a:pt x="195376" y="1569304"/>
                </a:lnTo>
                <a:cubicBezTo>
                  <a:pt x="193341" y="1566591"/>
                  <a:pt x="194020" y="1563199"/>
                  <a:pt x="196733" y="1561164"/>
                </a:cubicBezTo>
                <a:lnTo>
                  <a:pt x="370401" y="1433626"/>
                </a:lnTo>
                <a:close/>
                <a:moveTo>
                  <a:pt x="487763" y="1194153"/>
                </a:moveTo>
                <a:cubicBezTo>
                  <a:pt x="490477" y="1192797"/>
                  <a:pt x="493869" y="1194153"/>
                  <a:pt x="495226" y="1196867"/>
                </a:cubicBezTo>
                <a:lnTo>
                  <a:pt x="516934" y="1239606"/>
                </a:lnTo>
                <a:cubicBezTo>
                  <a:pt x="518291" y="1242319"/>
                  <a:pt x="516934" y="1245711"/>
                  <a:pt x="514220" y="1247068"/>
                </a:cubicBezTo>
                <a:lnTo>
                  <a:pt x="367009" y="1320334"/>
                </a:lnTo>
                <a:lnTo>
                  <a:pt x="229974" y="1391565"/>
                </a:lnTo>
                <a:cubicBezTo>
                  <a:pt x="227261" y="1392922"/>
                  <a:pt x="223869" y="1391565"/>
                  <a:pt x="222512" y="1388852"/>
                </a:cubicBezTo>
                <a:lnTo>
                  <a:pt x="200803" y="1346113"/>
                </a:lnTo>
                <a:cubicBezTo>
                  <a:pt x="199447" y="1343400"/>
                  <a:pt x="200803" y="1340008"/>
                  <a:pt x="203517" y="1338651"/>
                </a:cubicBezTo>
                <a:lnTo>
                  <a:pt x="341231" y="1270133"/>
                </a:lnTo>
                <a:close/>
                <a:moveTo>
                  <a:pt x="155352" y="1066615"/>
                </a:moveTo>
                <a:cubicBezTo>
                  <a:pt x="158744" y="1065937"/>
                  <a:pt x="161457" y="1067972"/>
                  <a:pt x="162136" y="1070686"/>
                </a:cubicBezTo>
                <a:lnTo>
                  <a:pt x="179095" y="1140560"/>
                </a:lnTo>
                <a:lnTo>
                  <a:pt x="312060" y="1107997"/>
                </a:lnTo>
                <a:lnTo>
                  <a:pt x="450452" y="1072721"/>
                </a:lnTo>
                <a:cubicBezTo>
                  <a:pt x="453844" y="1072043"/>
                  <a:pt x="456558" y="1074078"/>
                  <a:pt x="457236" y="1076791"/>
                </a:cubicBezTo>
                <a:lnTo>
                  <a:pt x="468769" y="1124957"/>
                </a:lnTo>
                <a:cubicBezTo>
                  <a:pt x="469447" y="1128349"/>
                  <a:pt x="467412" y="1131063"/>
                  <a:pt x="464699" y="1131741"/>
                </a:cubicBezTo>
                <a:lnTo>
                  <a:pt x="324950" y="1162947"/>
                </a:lnTo>
                <a:lnTo>
                  <a:pt x="191985" y="1194832"/>
                </a:lnTo>
                <a:lnTo>
                  <a:pt x="202839" y="1239605"/>
                </a:lnTo>
                <a:cubicBezTo>
                  <a:pt x="203518" y="1242997"/>
                  <a:pt x="201482" y="1245711"/>
                  <a:pt x="198769" y="1246389"/>
                </a:cubicBezTo>
                <a:lnTo>
                  <a:pt x="166206" y="1253852"/>
                </a:lnTo>
                <a:cubicBezTo>
                  <a:pt x="162814" y="1254530"/>
                  <a:pt x="160100" y="1252495"/>
                  <a:pt x="159422" y="1249781"/>
                </a:cubicBezTo>
                <a:lnTo>
                  <a:pt x="148568" y="1205008"/>
                </a:lnTo>
                <a:lnTo>
                  <a:pt x="120754" y="1211791"/>
                </a:lnTo>
                <a:cubicBezTo>
                  <a:pt x="50201" y="1228751"/>
                  <a:pt x="14925" y="1191440"/>
                  <a:pt x="5427" y="1150736"/>
                </a:cubicBezTo>
                <a:cubicBezTo>
                  <a:pt x="2035" y="1136490"/>
                  <a:pt x="0" y="1119530"/>
                  <a:pt x="0" y="1107997"/>
                </a:cubicBezTo>
                <a:cubicBezTo>
                  <a:pt x="0" y="1104605"/>
                  <a:pt x="2714" y="1101214"/>
                  <a:pt x="5427" y="1100535"/>
                </a:cubicBezTo>
                <a:lnTo>
                  <a:pt x="37312" y="1093073"/>
                </a:lnTo>
                <a:cubicBezTo>
                  <a:pt x="40025" y="1092394"/>
                  <a:pt x="42739" y="1094430"/>
                  <a:pt x="42739" y="1097822"/>
                </a:cubicBezTo>
                <a:cubicBezTo>
                  <a:pt x="42060" y="1107319"/>
                  <a:pt x="43417" y="1117495"/>
                  <a:pt x="46131" y="1128349"/>
                </a:cubicBezTo>
                <a:cubicBezTo>
                  <a:pt x="52236" y="1154128"/>
                  <a:pt x="71910" y="1165661"/>
                  <a:pt x="111935" y="1156163"/>
                </a:cubicBezTo>
                <a:lnTo>
                  <a:pt x="135678" y="1150736"/>
                </a:lnTo>
                <a:lnTo>
                  <a:pt x="118719" y="1080862"/>
                </a:lnTo>
                <a:cubicBezTo>
                  <a:pt x="118040" y="1077470"/>
                  <a:pt x="120075" y="1074756"/>
                  <a:pt x="122789" y="1074078"/>
                </a:cubicBezTo>
                <a:close/>
                <a:moveTo>
                  <a:pt x="1659346" y="1048978"/>
                </a:moveTo>
                <a:lnTo>
                  <a:pt x="1818768" y="1080862"/>
                </a:lnTo>
                <a:lnTo>
                  <a:pt x="1972085" y="1107998"/>
                </a:lnTo>
                <a:cubicBezTo>
                  <a:pt x="1975477" y="1108676"/>
                  <a:pt x="1977512" y="1111390"/>
                  <a:pt x="1976834" y="1114782"/>
                </a:cubicBezTo>
                <a:lnTo>
                  <a:pt x="1968015" y="1161591"/>
                </a:lnTo>
                <a:cubicBezTo>
                  <a:pt x="1967336" y="1164983"/>
                  <a:pt x="1964623" y="1167018"/>
                  <a:pt x="1961231" y="1166340"/>
                </a:cubicBezTo>
                <a:lnTo>
                  <a:pt x="1906959" y="1153450"/>
                </a:lnTo>
                <a:cubicBezTo>
                  <a:pt x="1944271" y="1184656"/>
                  <a:pt x="1958517" y="1230109"/>
                  <a:pt x="1949698" y="1275561"/>
                </a:cubicBezTo>
                <a:cubicBezTo>
                  <a:pt x="1948341" y="1282345"/>
                  <a:pt x="1946306" y="1288450"/>
                  <a:pt x="1944271" y="1293878"/>
                </a:cubicBezTo>
                <a:cubicBezTo>
                  <a:pt x="1942914" y="1296591"/>
                  <a:pt x="1939522" y="1298626"/>
                  <a:pt x="1936130" y="1297948"/>
                </a:cubicBezTo>
                <a:lnTo>
                  <a:pt x="1900854" y="1291164"/>
                </a:lnTo>
                <a:cubicBezTo>
                  <a:pt x="1898140" y="1290486"/>
                  <a:pt x="1896105" y="1287772"/>
                  <a:pt x="1897462" y="1284380"/>
                </a:cubicBezTo>
                <a:cubicBezTo>
                  <a:pt x="1898819" y="1279631"/>
                  <a:pt x="1900854" y="1273526"/>
                  <a:pt x="1902211" y="1266064"/>
                </a:cubicBezTo>
                <a:cubicBezTo>
                  <a:pt x="1912386" y="1211114"/>
                  <a:pt x="1887965" y="1157521"/>
                  <a:pt x="1818090" y="1137169"/>
                </a:cubicBezTo>
                <a:lnTo>
                  <a:pt x="1647814" y="1105963"/>
                </a:lnTo>
                <a:cubicBezTo>
                  <a:pt x="1644422" y="1105284"/>
                  <a:pt x="1642387" y="1102571"/>
                  <a:pt x="1643065" y="1099179"/>
                </a:cubicBezTo>
                <a:lnTo>
                  <a:pt x="1652562" y="1053727"/>
                </a:lnTo>
                <a:cubicBezTo>
                  <a:pt x="1653241" y="1050335"/>
                  <a:pt x="1655954" y="1048300"/>
                  <a:pt x="1659346" y="1048978"/>
                </a:cubicBezTo>
                <a:close/>
                <a:moveTo>
                  <a:pt x="260502" y="767445"/>
                </a:moveTo>
                <a:cubicBezTo>
                  <a:pt x="208266" y="763375"/>
                  <a:pt x="160100" y="788476"/>
                  <a:pt x="153995" y="846817"/>
                </a:cubicBezTo>
                <a:cubicBezTo>
                  <a:pt x="147889" y="901089"/>
                  <a:pt x="179774" y="936365"/>
                  <a:pt x="240829" y="951290"/>
                </a:cubicBezTo>
                <a:close/>
                <a:moveTo>
                  <a:pt x="301884" y="708425"/>
                </a:moveTo>
                <a:cubicBezTo>
                  <a:pt x="305276" y="709104"/>
                  <a:pt x="307311" y="711817"/>
                  <a:pt x="307311" y="714531"/>
                </a:cubicBezTo>
                <a:lnTo>
                  <a:pt x="280854" y="956717"/>
                </a:lnTo>
                <a:cubicBezTo>
                  <a:pt x="360226" y="963501"/>
                  <a:pt x="405678" y="935687"/>
                  <a:pt x="412462" y="871239"/>
                </a:cubicBezTo>
                <a:cubicBezTo>
                  <a:pt x="417889" y="823074"/>
                  <a:pt x="395502" y="790511"/>
                  <a:pt x="348693" y="775586"/>
                </a:cubicBezTo>
                <a:cubicBezTo>
                  <a:pt x="345301" y="774908"/>
                  <a:pt x="343266" y="770837"/>
                  <a:pt x="343944" y="768124"/>
                </a:cubicBezTo>
                <a:lnTo>
                  <a:pt x="348693" y="724707"/>
                </a:lnTo>
                <a:cubicBezTo>
                  <a:pt x="349372" y="721315"/>
                  <a:pt x="352085" y="719958"/>
                  <a:pt x="354799" y="719958"/>
                </a:cubicBezTo>
                <a:cubicBezTo>
                  <a:pt x="420603" y="737596"/>
                  <a:pt x="464020" y="792546"/>
                  <a:pt x="455201" y="876667"/>
                </a:cubicBezTo>
                <a:cubicBezTo>
                  <a:pt x="444347" y="978425"/>
                  <a:pt x="367688" y="1025913"/>
                  <a:pt x="267286" y="1015059"/>
                </a:cubicBezTo>
                <a:cubicBezTo>
                  <a:pt x="164849" y="1004204"/>
                  <a:pt x="101080" y="937722"/>
                  <a:pt x="111256" y="842747"/>
                </a:cubicBezTo>
                <a:cubicBezTo>
                  <a:pt x="121432" y="747772"/>
                  <a:pt x="192663" y="698928"/>
                  <a:pt x="301884" y="708425"/>
                </a:cubicBezTo>
                <a:close/>
                <a:moveTo>
                  <a:pt x="1965979" y="702998"/>
                </a:moveTo>
                <a:cubicBezTo>
                  <a:pt x="1969371" y="702998"/>
                  <a:pt x="1972085" y="705033"/>
                  <a:pt x="1972085" y="708425"/>
                </a:cubicBezTo>
                <a:lnTo>
                  <a:pt x="1974798" y="756591"/>
                </a:lnTo>
                <a:cubicBezTo>
                  <a:pt x="1974798" y="759983"/>
                  <a:pt x="1972763" y="762696"/>
                  <a:pt x="1969371" y="762696"/>
                </a:cubicBezTo>
                <a:lnTo>
                  <a:pt x="1834371" y="768802"/>
                </a:lnTo>
                <a:lnTo>
                  <a:pt x="1771281" y="772194"/>
                </a:lnTo>
                <a:cubicBezTo>
                  <a:pt x="1711582" y="775586"/>
                  <a:pt x="1686482" y="804757"/>
                  <a:pt x="1688517" y="846817"/>
                </a:cubicBezTo>
                <a:cubicBezTo>
                  <a:pt x="1690552" y="889556"/>
                  <a:pt x="1727185" y="923475"/>
                  <a:pt x="1792989" y="932294"/>
                </a:cubicBezTo>
                <a:lnTo>
                  <a:pt x="1843190" y="929581"/>
                </a:lnTo>
                <a:lnTo>
                  <a:pt x="1978190" y="921440"/>
                </a:lnTo>
                <a:cubicBezTo>
                  <a:pt x="1981582" y="921440"/>
                  <a:pt x="1984296" y="923475"/>
                  <a:pt x="1984296" y="926867"/>
                </a:cubicBezTo>
                <a:lnTo>
                  <a:pt x="1987009" y="975712"/>
                </a:lnTo>
                <a:cubicBezTo>
                  <a:pt x="1987009" y="979104"/>
                  <a:pt x="1984974" y="981817"/>
                  <a:pt x="1981582" y="981817"/>
                </a:cubicBezTo>
                <a:lnTo>
                  <a:pt x="1836406" y="987244"/>
                </a:lnTo>
                <a:lnTo>
                  <a:pt x="1662738" y="997420"/>
                </a:lnTo>
                <a:cubicBezTo>
                  <a:pt x="1659346" y="997420"/>
                  <a:pt x="1656633" y="995385"/>
                  <a:pt x="1656633" y="991993"/>
                </a:cubicBezTo>
                <a:lnTo>
                  <a:pt x="1653919" y="946541"/>
                </a:lnTo>
                <a:cubicBezTo>
                  <a:pt x="1653919" y="943149"/>
                  <a:pt x="1655954" y="940435"/>
                  <a:pt x="1659346" y="940435"/>
                </a:cubicBezTo>
                <a:lnTo>
                  <a:pt x="1710225" y="939078"/>
                </a:lnTo>
                <a:cubicBezTo>
                  <a:pt x="1675627" y="920084"/>
                  <a:pt x="1643065" y="884129"/>
                  <a:pt x="1640351" y="831893"/>
                </a:cubicBezTo>
                <a:cubicBezTo>
                  <a:pt x="1636959" y="764053"/>
                  <a:pt x="1679698" y="718601"/>
                  <a:pt x="1765854" y="714531"/>
                </a:cubicBezTo>
                <a:lnTo>
                  <a:pt x="1830979" y="711139"/>
                </a:lnTo>
                <a:close/>
                <a:moveTo>
                  <a:pt x="1738549" y="405184"/>
                </a:moveTo>
                <a:cubicBezTo>
                  <a:pt x="1711244" y="402131"/>
                  <a:pt x="1679020" y="411289"/>
                  <a:pt x="1643065" y="431641"/>
                </a:cubicBezTo>
                <a:cubicBezTo>
                  <a:pt x="1571156" y="472345"/>
                  <a:pt x="1546734" y="522546"/>
                  <a:pt x="1577940" y="578852"/>
                </a:cubicBezTo>
                <a:cubicBezTo>
                  <a:pt x="1609824" y="635159"/>
                  <a:pt x="1665452" y="639908"/>
                  <a:pt x="1737362" y="599883"/>
                </a:cubicBezTo>
                <a:cubicBezTo>
                  <a:pt x="1809271" y="559179"/>
                  <a:pt x="1835729" y="507621"/>
                  <a:pt x="1804523" y="451993"/>
                </a:cubicBezTo>
                <a:cubicBezTo>
                  <a:pt x="1788242" y="423500"/>
                  <a:pt x="1765855" y="408237"/>
                  <a:pt x="1738549" y="405184"/>
                </a:cubicBezTo>
                <a:close/>
                <a:moveTo>
                  <a:pt x="1743637" y="353287"/>
                </a:moveTo>
                <a:cubicBezTo>
                  <a:pt x="1783153" y="361597"/>
                  <a:pt x="1817412" y="387206"/>
                  <a:pt x="1841834" y="430963"/>
                </a:cubicBezTo>
                <a:cubicBezTo>
                  <a:pt x="1891357" y="518475"/>
                  <a:pt x="1858794" y="601239"/>
                  <a:pt x="1767889" y="652119"/>
                </a:cubicBezTo>
                <a:cubicBezTo>
                  <a:pt x="1677663" y="702998"/>
                  <a:pt x="1590151" y="688074"/>
                  <a:pt x="1540628" y="599883"/>
                </a:cubicBezTo>
                <a:cubicBezTo>
                  <a:pt x="1491784" y="512370"/>
                  <a:pt x="1523668" y="430285"/>
                  <a:pt x="1613894" y="379405"/>
                </a:cubicBezTo>
                <a:cubicBezTo>
                  <a:pt x="1659346" y="353965"/>
                  <a:pt x="1704120" y="344977"/>
                  <a:pt x="1743637" y="353287"/>
                </a:cubicBezTo>
                <a:close/>
                <a:moveTo>
                  <a:pt x="244220" y="274933"/>
                </a:moveTo>
                <a:lnTo>
                  <a:pt x="411783" y="410611"/>
                </a:lnTo>
                <a:lnTo>
                  <a:pt x="587487" y="546290"/>
                </a:lnTo>
                <a:cubicBezTo>
                  <a:pt x="590200" y="548325"/>
                  <a:pt x="590200" y="551717"/>
                  <a:pt x="588165" y="554430"/>
                </a:cubicBezTo>
                <a:lnTo>
                  <a:pt x="559673" y="591064"/>
                </a:lnTo>
                <a:cubicBezTo>
                  <a:pt x="557637" y="593777"/>
                  <a:pt x="554245" y="593777"/>
                  <a:pt x="551532" y="591742"/>
                </a:cubicBezTo>
                <a:lnTo>
                  <a:pt x="379220" y="452671"/>
                </a:lnTo>
                <a:lnTo>
                  <a:pt x="207587" y="321063"/>
                </a:lnTo>
                <a:cubicBezTo>
                  <a:pt x="204874" y="319028"/>
                  <a:pt x="204874" y="315636"/>
                  <a:pt x="206909" y="312923"/>
                </a:cubicBezTo>
                <a:lnTo>
                  <a:pt x="236080" y="275611"/>
                </a:lnTo>
                <a:cubicBezTo>
                  <a:pt x="238115" y="272898"/>
                  <a:pt x="241507" y="272898"/>
                  <a:pt x="244220" y="274933"/>
                </a:cubicBezTo>
                <a:close/>
                <a:moveTo>
                  <a:pt x="445703" y="230158"/>
                </a:moveTo>
                <a:cubicBezTo>
                  <a:pt x="447738" y="228123"/>
                  <a:pt x="451809" y="228123"/>
                  <a:pt x="453844" y="230837"/>
                </a:cubicBezTo>
                <a:lnTo>
                  <a:pt x="556959" y="344807"/>
                </a:lnTo>
                <a:lnTo>
                  <a:pt x="669572" y="465560"/>
                </a:lnTo>
                <a:cubicBezTo>
                  <a:pt x="671608" y="467596"/>
                  <a:pt x="671608" y="471666"/>
                  <a:pt x="668894" y="473701"/>
                </a:cubicBezTo>
                <a:lnTo>
                  <a:pt x="633618" y="505585"/>
                </a:lnTo>
                <a:cubicBezTo>
                  <a:pt x="631582" y="507621"/>
                  <a:pt x="627512" y="507621"/>
                  <a:pt x="625477" y="504907"/>
                </a:cubicBezTo>
                <a:lnTo>
                  <a:pt x="515577" y="383475"/>
                </a:lnTo>
                <a:lnTo>
                  <a:pt x="409748" y="270862"/>
                </a:lnTo>
                <a:cubicBezTo>
                  <a:pt x="407713" y="268827"/>
                  <a:pt x="407713" y="264756"/>
                  <a:pt x="410427" y="262721"/>
                </a:cubicBezTo>
                <a:close/>
                <a:moveTo>
                  <a:pt x="377185" y="154857"/>
                </a:moveTo>
                <a:cubicBezTo>
                  <a:pt x="379221" y="152822"/>
                  <a:pt x="383291" y="152822"/>
                  <a:pt x="385326" y="155535"/>
                </a:cubicBezTo>
                <a:lnTo>
                  <a:pt x="420603" y="194203"/>
                </a:lnTo>
                <a:cubicBezTo>
                  <a:pt x="422638" y="196239"/>
                  <a:pt x="422638" y="200309"/>
                  <a:pt x="419924" y="202344"/>
                </a:cubicBezTo>
                <a:lnTo>
                  <a:pt x="384648" y="234907"/>
                </a:lnTo>
                <a:cubicBezTo>
                  <a:pt x="382613" y="236942"/>
                  <a:pt x="378542" y="236942"/>
                  <a:pt x="376507" y="234229"/>
                </a:cubicBezTo>
                <a:lnTo>
                  <a:pt x="341231" y="195560"/>
                </a:lnTo>
                <a:cubicBezTo>
                  <a:pt x="339196" y="193525"/>
                  <a:pt x="339196" y="189455"/>
                  <a:pt x="341909" y="187420"/>
                </a:cubicBezTo>
                <a:close/>
                <a:moveTo>
                  <a:pt x="1431406" y="74806"/>
                </a:moveTo>
                <a:lnTo>
                  <a:pt x="1477537" y="103977"/>
                </a:lnTo>
                <a:cubicBezTo>
                  <a:pt x="1480251" y="106012"/>
                  <a:pt x="1481607" y="109404"/>
                  <a:pt x="1481607" y="112118"/>
                </a:cubicBezTo>
                <a:lnTo>
                  <a:pt x="1427336" y="373299"/>
                </a:lnTo>
                <a:lnTo>
                  <a:pt x="1626784" y="205058"/>
                </a:lnTo>
                <a:cubicBezTo>
                  <a:pt x="1629497" y="203023"/>
                  <a:pt x="1633567" y="202344"/>
                  <a:pt x="1636281" y="204379"/>
                </a:cubicBezTo>
                <a:lnTo>
                  <a:pt x="1677663" y="230158"/>
                </a:lnTo>
                <a:cubicBezTo>
                  <a:pt x="1680376" y="232193"/>
                  <a:pt x="1680376" y="234907"/>
                  <a:pt x="1677663" y="236942"/>
                </a:cubicBezTo>
                <a:lnTo>
                  <a:pt x="1322864" y="519153"/>
                </a:lnTo>
                <a:cubicBezTo>
                  <a:pt x="1320150" y="521188"/>
                  <a:pt x="1316080" y="521867"/>
                  <a:pt x="1313366" y="519832"/>
                </a:cubicBezTo>
                <a:lnTo>
                  <a:pt x="1276055" y="496088"/>
                </a:lnTo>
                <a:cubicBezTo>
                  <a:pt x="1274020" y="494731"/>
                  <a:pt x="1273341" y="491339"/>
                  <a:pt x="1276055" y="489304"/>
                </a:cubicBezTo>
                <a:lnTo>
                  <a:pt x="1360854" y="421465"/>
                </a:lnTo>
                <a:lnTo>
                  <a:pt x="1425301" y="76842"/>
                </a:lnTo>
                <a:cubicBezTo>
                  <a:pt x="1425979" y="74128"/>
                  <a:pt x="1429371" y="73450"/>
                  <a:pt x="1431406" y="74806"/>
                </a:cubicBezTo>
                <a:close/>
                <a:moveTo>
                  <a:pt x="1007411" y="42922"/>
                </a:moveTo>
                <a:cubicBezTo>
                  <a:pt x="953140" y="44958"/>
                  <a:pt x="922612" y="81591"/>
                  <a:pt x="917185" y="144003"/>
                </a:cubicBezTo>
                <a:lnTo>
                  <a:pt x="1101708" y="136541"/>
                </a:lnTo>
                <a:cubicBezTo>
                  <a:pt x="1097637" y="84304"/>
                  <a:pt x="1065753" y="40209"/>
                  <a:pt x="1007411" y="42922"/>
                </a:cubicBezTo>
                <a:close/>
                <a:moveTo>
                  <a:pt x="772688" y="36138"/>
                </a:moveTo>
                <a:cubicBezTo>
                  <a:pt x="775402" y="34782"/>
                  <a:pt x="778115" y="36817"/>
                  <a:pt x="778115" y="38852"/>
                </a:cubicBezTo>
                <a:lnTo>
                  <a:pt x="815427" y="378726"/>
                </a:lnTo>
                <a:cubicBezTo>
                  <a:pt x="815427" y="381440"/>
                  <a:pt x="813392" y="385510"/>
                  <a:pt x="810678" y="386867"/>
                </a:cubicBezTo>
                <a:lnTo>
                  <a:pt x="757764" y="412646"/>
                </a:lnTo>
                <a:cubicBezTo>
                  <a:pt x="755050" y="414003"/>
                  <a:pt x="750980" y="413324"/>
                  <a:pt x="748266" y="411289"/>
                </a:cubicBezTo>
                <a:lnTo>
                  <a:pt x="501331" y="175209"/>
                </a:lnTo>
                <a:cubicBezTo>
                  <a:pt x="499296" y="173174"/>
                  <a:pt x="499975" y="169782"/>
                  <a:pt x="502688" y="169103"/>
                </a:cubicBezTo>
                <a:lnTo>
                  <a:pt x="550176" y="146038"/>
                </a:lnTo>
                <a:cubicBezTo>
                  <a:pt x="552889" y="144681"/>
                  <a:pt x="556959" y="145359"/>
                  <a:pt x="559673" y="148073"/>
                </a:cubicBezTo>
                <a:lnTo>
                  <a:pt x="764547" y="354983"/>
                </a:lnTo>
                <a:lnTo>
                  <a:pt x="728593" y="64631"/>
                </a:lnTo>
                <a:cubicBezTo>
                  <a:pt x="728593" y="61239"/>
                  <a:pt x="729949" y="57168"/>
                  <a:pt x="732663" y="55812"/>
                </a:cubicBezTo>
                <a:close/>
                <a:moveTo>
                  <a:pt x="1005376" y="184"/>
                </a:moveTo>
                <a:cubicBezTo>
                  <a:pt x="1101029" y="-3887"/>
                  <a:pt x="1160049" y="59882"/>
                  <a:pt x="1166155" y="169103"/>
                </a:cubicBezTo>
                <a:cubicBezTo>
                  <a:pt x="1166155" y="172495"/>
                  <a:pt x="1164120" y="175209"/>
                  <a:pt x="1160728" y="175209"/>
                </a:cubicBezTo>
                <a:lnTo>
                  <a:pt x="916507" y="184706"/>
                </a:lnTo>
                <a:cubicBezTo>
                  <a:pt x="921255" y="264078"/>
                  <a:pt x="955853" y="305460"/>
                  <a:pt x="1020301" y="302747"/>
                </a:cubicBezTo>
                <a:cubicBezTo>
                  <a:pt x="1069145" y="300712"/>
                  <a:pt x="1097637" y="274254"/>
                  <a:pt x="1105100" y="225410"/>
                </a:cubicBezTo>
                <a:cubicBezTo>
                  <a:pt x="1105778" y="222018"/>
                  <a:pt x="1108492" y="219304"/>
                  <a:pt x="1111884" y="219304"/>
                </a:cubicBezTo>
                <a:lnTo>
                  <a:pt x="1156657" y="217948"/>
                </a:lnTo>
                <a:cubicBezTo>
                  <a:pt x="1160049" y="217948"/>
                  <a:pt x="1162085" y="219983"/>
                  <a:pt x="1162085" y="223375"/>
                </a:cubicBezTo>
                <a:cubicBezTo>
                  <a:pt x="1154622" y="291214"/>
                  <a:pt x="1106456" y="342093"/>
                  <a:pt x="1021657" y="345485"/>
                </a:cubicBezTo>
                <a:cubicBezTo>
                  <a:pt x="919220" y="349556"/>
                  <a:pt x="860879" y="280360"/>
                  <a:pt x="857487" y="179958"/>
                </a:cubicBezTo>
                <a:cubicBezTo>
                  <a:pt x="853416" y="76842"/>
                  <a:pt x="909723" y="4254"/>
                  <a:pt x="1005376" y="184"/>
                </a:cubicBezTo>
                <a:close/>
              </a:path>
            </a:pathLst>
          </a:custGeom>
          <a:solidFill>
            <a:schemeClr val="tx1"/>
          </a:solidFill>
        </p:spPr>
        <p:txBody>
          <a:bodyPr wrap="square">
            <a:noAutofit/>
          </a:bodyPr>
          <a:lstStyle/>
          <a:p>
            <a:pPr lvl="0"/>
            <a:r>
              <a:rPr lang="en-US"/>
              <a:t>  </a:t>
            </a:r>
          </a:p>
        </p:txBody>
      </p:sp>
      <p:sp>
        <p:nvSpPr>
          <p:cNvPr id="7" name="LYBL 2" descr="live your best life tagline graphic">
            <a:extLst>
              <a:ext uri="{FF2B5EF4-FFF2-40B4-BE49-F238E27FC236}">
                <a16:creationId xmlns:a16="http://schemas.microsoft.com/office/drawing/2014/main" id="{8F483CF5-2919-4013-76A5-FB811323EDA3}"/>
              </a:ext>
            </a:extLst>
          </p:cNvPr>
          <p:cNvSpPr>
            <a:spLocks noGrp="1"/>
          </p:cNvSpPr>
          <p:nvPr>
            <p:ph type="body" sz="quarter" idx="20" hasCustomPrompt="1"/>
          </p:nvPr>
        </p:nvSpPr>
        <p:spPr>
          <a:xfrm>
            <a:off x="13215362" y="3568413"/>
            <a:ext cx="1501783" cy="711174"/>
          </a:xfrm>
          <a:custGeom>
            <a:avLst/>
            <a:gdLst>
              <a:gd name="connsiteX0" fmla="*/ 100336 w 1501783"/>
              <a:gd name="connsiteY0" fmla="*/ 507251 h 711174"/>
              <a:gd name="connsiteX1" fmla="*/ 37626 w 1501783"/>
              <a:gd name="connsiteY1" fmla="*/ 591793 h 711174"/>
              <a:gd name="connsiteX2" fmla="*/ 99407 w 1501783"/>
              <a:gd name="connsiteY2" fmla="*/ 680980 h 711174"/>
              <a:gd name="connsiteX3" fmla="*/ 163046 w 1501783"/>
              <a:gd name="connsiteY3" fmla="*/ 595974 h 711174"/>
              <a:gd name="connsiteX4" fmla="*/ 100336 w 1501783"/>
              <a:gd name="connsiteY4" fmla="*/ 507251 h 711174"/>
              <a:gd name="connsiteX5" fmla="*/ 327484 w 1501783"/>
              <a:gd name="connsiteY5" fmla="*/ 505858 h 711174"/>
              <a:gd name="connsiteX6" fmla="*/ 263381 w 1501783"/>
              <a:gd name="connsiteY6" fmla="*/ 571819 h 711174"/>
              <a:gd name="connsiteX7" fmla="*/ 388801 w 1501783"/>
              <a:gd name="connsiteY7" fmla="*/ 571819 h 711174"/>
              <a:gd name="connsiteX8" fmla="*/ 327484 w 1501783"/>
              <a:gd name="connsiteY8" fmla="*/ 505858 h 711174"/>
              <a:gd name="connsiteX9" fmla="*/ 1302505 w 1501783"/>
              <a:gd name="connsiteY9" fmla="*/ 504929 h 711174"/>
              <a:gd name="connsiteX10" fmla="*/ 1238402 w 1501783"/>
              <a:gd name="connsiteY10" fmla="*/ 570890 h 711174"/>
              <a:gd name="connsiteX11" fmla="*/ 1363822 w 1501783"/>
              <a:gd name="connsiteY11" fmla="*/ 570890 h 711174"/>
              <a:gd name="connsiteX12" fmla="*/ 1302505 w 1501783"/>
              <a:gd name="connsiteY12" fmla="*/ 504929 h 711174"/>
              <a:gd name="connsiteX13" fmla="*/ 1005215 w 1501783"/>
              <a:gd name="connsiteY13" fmla="*/ 481703 h 711174"/>
              <a:gd name="connsiteX14" fmla="*/ 1037731 w 1501783"/>
              <a:gd name="connsiteY14" fmla="*/ 481703 h 711174"/>
              <a:gd name="connsiteX15" fmla="*/ 1041448 w 1501783"/>
              <a:gd name="connsiteY15" fmla="*/ 485419 h 711174"/>
              <a:gd name="connsiteX16" fmla="*/ 1040518 w 1501783"/>
              <a:gd name="connsiteY16" fmla="*/ 589935 h 711174"/>
              <a:gd name="connsiteX17" fmla="*/ 1041448 w 1501783"/>
              <a:gd name="connsiteY17" fmla="*/ 701884 h 711174"/>
              <a:gd name="connsiteX18" fmla="*/ 1037731 w 1501783"/>
              <a:gd name="connsiteY18" fmla="*/ 705600 h 711174"/>
              <a:gd name="connsiteX19" fmla="*/ 1005215 w 1501783"/>
              <a:gd name="connsiteY19" fmla="*/ 705600 h 711174"/>
              <a:gd name="connsiteX20" fmla="*/ 1001499 w 1501783"/>
              <a:gd name="connsiteY20" fmla="*/ 701884 h 711174"/>
              <a:gd name="connsiteX21" fmla="*/ 1002428 w 1501783"/>
              <a:gd name="connsiteY21" fmla="*/ 590400 h 711174"/>
              <a:gd name="connsiteX22" fmla="*/ 1001499 w 1501783"/>
              <a:gd name="connsiteY22" fmla="*/ 485419 h 711174"/>
              <a:gd name="connsiteX23" fmla="*/ 1005215 w 1501783"/>
              <a:gd name="connsiteY23" fmla="*/ 481703 h 711174"/>
              <a:gd name="connsiteX24" fmla="*/ 544878 w 1501783"/>
              <a:gd name="connsiteY24" fmla="*/ 477987 h 711174"/>
              <a:gd name="connsiteX25" fmla="*/ 638246 w 1501783"/>
              <a:gd name="connsiteY25" fmla="*/ 546271 h 711174"/>
              <a:gd name="connsiteX26" fmla="*/ 634530 w 1501783"/>
              <a:gd name="connsiteY26" fmla="*/ 549987 h 711174"/>
              <a:gd name="connsiteX27" fmla="*/ 605265 w 1501783"/>
              <a:gd name="connsiteY27" fmla="*/ 549987 h 711174"/>
              <a:gd name="connsiteX28" fmla="*/ 601085 w 1501783"/>
              <a:gd name="connsiteY28" fmla="*/ 546271 h 711174"/>
              <a:gd name="connsiteX29" fmla="*/ 544413 w 1501783"/>
              <a:gd name="connsiteY29" fmla="*/ 504929 h 711174"/>
              <a:gd name="connsiteX30" fmla="*/ 494246 w 1501783"/>
              <a:gd name="connsiteY30" fmla="*/ 541161 h 711174"/>
              <a:gd name="connsiteX31" fmla="*/ 645214 w 1501783"/>
              <a:gd name="connsiteY31" fmla="*/ 642426 h 711174"/>
              <a:gd name="connsiteX32" fmla="*/ 551381 w 1501783"/>
              <a:gd name="connsiteY32" fmla="*/ 710710 h 711174"/>
              <a:gd name="connsiteX33" fmla="*/ 451510 w 1501783"/>
              <a:gd name="connsiteY33" fmla="*/ 632671 h 711174"/>
              <a:gd name="connsiteX34" fmla="*/ 455226 w 1501783"/>
              <a:gd name="connsiteY34" fmla="*/ 628955 h 711174"/>
              <a:gd name="connsiteX35" fmla="*/ 485884 w 1501783"/>
              <a:gd name="connsiteY35" fmla="*/ 628955 h 711174"/>
              <a:gd name="connsiteX36" fmla="*/ 489600 w 1501783"/>
              <a:gd name="connsiteY36" fmla="*/ 632671 h 711174"/>
              <a:gd name="connsiteX37" fmla="*/ 552775 w 1501783"/>
              <a:gd name="connsiteY37" fmla="*/ 683768 h 711174"/>
              <a:gd name="connsiteX38" fmla="*/ 607588 w 1501783"/>
              <a:gd name="connsiteY38" fmla="*/ 645213 h 711174"/>
              <a:gd name="connsiteX39" fmla="*/ 456620 w 1501783"/>
              <a:gd name="connsiteY39" fmla="*/ 543484 h 711174"/>
              <a:gd name="connsiteX40" fmla="*/ 544878 w 1501783"/>
              <a:gd name="connsiteY40" fmla="*/ 477987 h 711174"/>
              <a:gd name="connsiteX41" fmla="*/ 327020 w 1501783"/>
              <a:gd name="connsiteY41" fmla="*/ 476593 h 711174"/>
              <a:gd name="connsiteX42" fmla="*/ 431536 w 1501783"/>
              <a:gd name="connsiteY42" fmla="*/ 595509 h 711174"/>
              <a:gd name="connsiteX43" fmla="*/ 427820 w 1501783"/>
              <a:gd name="connsiteY43" fmla="*/ 599225 h 711174"/>
              <a:gd name="connsiteX44" fmla="*/ 262452 w 1501783"/>
              <a:gd name="connsiteY44" fmla="*/ 599225 h 711174"/>
              <a:gd name="connsiteX45" fmla="*/ 329807 w 1501783"/>
              <a:gd name="connsiteY45" fmla="*/ 681909 h 711174"/>
              <a:gd name="connsiteX46" fmla="*/ 389265 w 1501783"/>
              <a:gd name="connsiteY46" fmla="*/ 631741 h 711174"/>
              <a:gd name="connsiteX47" fmla="*/ 393910 w 1501783"/>
              <a:gd name="connsiteY47" fmla="*/ 628025 h 711174"/>
              <a:gd name="connsiteX48" fmla="*/ 424104 w 1501783"/>
              <a:gd name="connsiteY48" fmla="*/ 628025 h 711174"/>
              <a:gd name="connsiteX49" fmla="*/ 424104 w 1501783"/>
              <a:gd name="connsiteY49" fmla="*/ 628490 h 711174"/>
              <a:gd name="connsiteX50" fmla="*/ 427356 w 1501783"/>
              <a:gd name="connsiteY50" fmla="*/ 632206 h 711174"/>
              <a:gd name="connsiteX51" fmla="*/ 328878 w 1501783"/>
              <a:gd name="connsiteY51" fmla="*/ 711174 h 711174"/>
              <a:gd name="connsiteX52" fmla="*/ 222039 w 1501783"/>
              <a:gd name="connsiteY52" fmla="*/ 594580 h 711174"/>
              <a:gd name="connsiteX53" fmla="*/ 327020 w 1501783"/>
              <a:gd name="connsiteY53" fmla="*/ 476593 h 711174"/>
              <a:gd name="connsiteX54" fmla="*/ 1302041 w 1501783"/>
              <a:gd name="connsiteY54" fmla="*/ 475664 h 711174"/>
              <a:gd name="connsiteX55" fmla="*/ 1406557 w 1501783"/>
              <a:gd name="connsiteY55" fmla="*/ 594580 h 711174"/>
              <a:gd name="connsiteX56" fmla="*/ 1402841 w 1501783"/>
              <a:gd name="connsiteY56" fmla="*/ 598296 h 711174"/>
              <a:gd name="connsiteX57" fmla="*/ 1237473 w 1501783"/>
              <a:gd name="connsiteY57" fmla="*/ 598296 h 711174"/>
              <a:gd name="connsiteX58" fmla="*/ 1304828 w 1501783"/>
              <a:gd name="connsiteY58" fmla="*/ 680980 h 711174"/>
              <a:gd name="connsiteX59" fmla="*/ 1364286 w 1501783"/>
              <a:gd name="connsiteY59" fmla="*/ 630812 h 711174"/>
              <a:gd name="connsiteX60" fmla="*/ 1368931 w 1501783"/>
              <a:gd name="connsiteY60" fmla="*/ 627096 h 711174"/>
              <a:gd name="connsiteX61" fmla="*/ 1399125 w 1501783"/>
              <a:gd name="connsiteY61" fmla="*/ 627096 h 711174"/>
              <a:gd name="connsiteX62" fmla="*/ 1399125 w 1501783"/>
              <a:gd name="connsiteY62" fmla="*/ 627561 h 711174"/>
              <a:gd name="connsiteX63" fmla="*/ 1402377 w 1501783"/>
              <a:gd name="connsiteY63" fmla="*/ 631277 h 711174"/>
              <a:gd name="connsiteX64" fmla="*/ 1303899 w 1501783"/>
              <a:gd name="connsiteY64" fmla="*/ 710245 h 711174"/>
              <a:gd name="connsiteX65" fmla="*/ 1197060 w 1501783"/>
              <a:gd name="connsiteY65" fmla="*/ 593651 h 711174"/>
              <a:gd name="connsiteX66" fmla="*/ 1302041 w 1501783"/>
              <a:gd name="connsiteY66" fmla="*/ 475664 h 711174"/>
              <a:gd name="connsiteX67" fmla="*/ 679124 w 1501783"/>
              <a:gd name="connsiteY67" fmla="*/ 426426 h 711174"/>
              <a:gd name="connsiteX68" fmla="*/ 711176 w 1501783"/>
              <a:gd name="connsiteY68" fmla="*/ 426426 h 711174"/>
              <a:gd name="connsiteX69" fmla="*/ 714892 w 1501783"/>
              <a:gd name="connsiteY69" fmla="*/ 430142 h 711174"/>
              <a:gd name="connsiteX70" fmla="*/ 714428 w 1501783"/>
              <a:gd name="connsiteY70" fmla="*/ 482168 h 711174"/>
              <a:gd name="connsiteX71" fmla="*/ 765524 w 1501783"/>
              <a:gd name="connsiteY71" fmla="*/ 482168 h 711174"/>
              <a:gd name="connsiteX72" fmla="*/ 769240 w 1501783"/>
              <a:gd name="connsiteY72" fmla="*/ 485884 h 711174"/>
              <a:gd name="connsiteX73" fmla="*/ 769240 w 1501783"/>
              <a:gd name="connsiteY73" fmla="*/ 509110 h 711174"/>
              <a:gd name="connsiteX74" fmla="*/ 765524 w 1501783"/>
              <a:gd name="connsiteY74" fmla="*/ 512826 h 711174"/>
              <a:gd name="connsiteX75" fmla="*/ 714428 w 1501783"/>
              <a:gd name="connsiteY75" fmla="*/ 512826 h 711174"/>
              <a:gd name="connsiteX76" fmla="*/ 714428 w 1501783"/>
              <a:gd name="connsiteY76" fmla="*/ 643355 h 711174"/>
              <a:gd name="connsiteX77" fmla="*/ 742763 w 1501783"/>
              <a:gd name="connsiteY77" fmla="*/ 678658 h 711174"/>
              <a:gd name="connsiteX78" fmla="*/ 765989 w 1501783"/>
              <a:gd name="connsiteY78" fmla="*/ 675871 h 711174"/>
              <a:gd name="connsiteX79" fmla="*/ 769705 w 1501783"/>
              <a:gd name="connsiteY79" fmla="*/ 678658 h 711174"/>
              <a:gd name="connsiteX80" fmla="*/ 769705 w 1501783"/>
              <a:gd name="connsiteY80" fmla="*/ 699561 h 711174"/>
              <a:gd name="connsiteX81" fmla="*/ 770170 w 1501783"/>
              <a:gd name="connsiteY81" fmla="*/ 699561 h 711174"/>
              <a:gd name="connsiteX82" fmla="*/ 766453 w 1501783"/>
              <a:gd name="connsiteY82" fmla="*/ 704671 h 711174"/>
              <a:gd name="connsiteX83" fmla="*/ 735795 w 1501783"/>
              <a:gd name="connsiteY83" fmla="*/ 709781 h 711174"/>
              <a:gd name="connsiteX84" fmla="*/ 675873 w 1501783"/>
              <a:gd name="connsiteY84" fmla="*/ 644284 h 711174"/>
              <a:gd name="connsiteX85" fmla="*/ 675873 w 1501783"/>
              <a:gd name="connsiteY85" fmla="*/ 512826 h 711174"/>
              <a:gd name="connsiteX86" fmla="*/ 651253 w 1501783"/>
              <a:gd name="connsiteY86" fmla="*/ 512826 h 711174"/>
              <a:gd name="connsiteX87" fmla="*/ 647537 w 1501783"/>
              <a:gd name="connsiteY87" fmla="*/ 509110 h 711174"/>
              <a:gd name="connsiteX88" fmla="*/ 647537 w 1501783"/>
              <a:gd name="connsiteY88" fmla="*/ 485884 h 711174"/>
              <a:gd name="connsiteX89" fmla="*/ 651253 w 1501783"/>
              <a:gd name="connsiteY89" fmla="*/ 482168 h 711174"/>
              <a:gd name="connsiteX90" fmla="*/ 675873 w 1501783"/>
              <a:gd name="connsiteY90" fmla="*/ 482168 h 711174"/>
              <a:gd name="connsiteX91" fmla="*/ 675408 w 1501783"/>
              <a:gd name="connsiteY91" fmla="*/ 430142 h 711174"/>
              <a:gd name="connsiteX92" fmla="*/ 679124 w 1501783"/>
              <a:gd name="connsiteY92" fmla="*/ 426426 h 711174"/>
              <a:gd name="connsiteX93" fmla="*/ 1005215 w 1501783"/>
              <a:gd name="connsiteY93" fmla="*/ 412490 h 711174"/>
              <a:gd name="connsiteX94" fmla="*/ 1037731 w 1501783"/>
              <a:gd name="connsiteY94" fmla="*/ 412490 h 711174"/>
              <a:gd name="connsiteX95" fmla="*/ 1041448 w 1501783"/>
              <a:gd name="connsiteY95" fmla="*/ 416206 h 711174"/>
              <a:gd name="connsiteX96" fmla="*/ 1041448 w 1501783"/>
              <a:gd name="connsiteY96" fmla="*/ 451974 h 711174"/>
              <a:gd name="connsiteX97" fmla="*/ 1037731 w 1501783"/>
              <a:gd name="connsiteY97" fmla="*/ 455690 h 711174"/>
              <a:gd name="connsiteX98" fmla="*/ 1005215 w 1501783"/>
              <a:gd name="connsiteY98" fmla="*/ 455690 h 711174"/>
              <a:gd name="connsiteX99" fmla="*/ 1001499 w 1501783"/>
              <a:gd name="connsiteY99" fmla="*/ 451974 h 711174"/>
              <a:gd name="connsiteX100" fmla="*/ 1001499 w 1501783"/>
              <a:gd name="connsiteY100" fmla="*/ 416206 h 711174"/>
              <a:gd name="connsiteX101" fmla="*/ 1005215 w 1501783"/>
              <a:gd name="connsiteY101" fmla="*/ 412490 h 711174"/>
              <a:gd name="connsiteX102" fmla="*/ 3716 w 1501783"/>
              <a:gd name="connsiteY102" fmla="*/ 409238 h 711174"/>
              <a:gd name="connsiteX103" fmla="*/ 36232 w 1501783"/>
              <a:gd name="connsiteY103" fmla="*/ 409238 h 711174"/>
              <a:gd name="connsiteX104" fmla="*/ 39948 w 1501783"/>
              <a:gd name="connsiteY104" fmla="*/ 412954 h 711174"/>
              <a:gd name="connsiteX105" fmla="*/ 39019 w 1501783"/>
              <a:gd name="connsiteY105" fmla="*/ 517006 h 711174"/>
              <a:gd name="connsiteX106" fmla="*/ 110091 w 1501783"/>
              <a:gd name="connsiteY106" fmla="*/ 477986 h 711174"/>
              <a:gd name="connsiteX107" fmla="*/ 202529 w 1501783"/>
              <a:gd name="connsiteY107" fmla="*/ 593651 h 711174"/>
              <a:gd name="connsiteX108" fmla="*/ 109626 w 1501783"/>
              <a:gd name="connsiteY108" fmla="*/ 710244 h 711174"/>
              <a:gd name="connsiteX109" fmla="*/ 38555 w 1501783"/>
              <a:gd name="connsiteY109" fmla="*/ 671225 h 711174"/>
              <a:gd name="connsiteX110" fmla="*/ 39484 w 1501783"/>
              <a:gd name="connsiteY110" fmla="*/ 701883 h 711174"/>
              <a:gd name="connsiteX111" fmla="*/ 35768 w 1501783"/>
              <a:gd name="connsiteY111" fmla="*/ 705599 h 711174"/>
              <a:gd name="connsiteX112" fmla="*/ 3716 w 1501783"/>
              <a:gd name="connsiteY112" fmla="*/ 705599 h 711174"/>
              <a:gd name="connsiteX113" fmla="*/ 0 w 1501783"/>
              <a:gd name="connsiteY113" fmla="*/ 701883 h 711174"/>
              <a:gd name="connsiteX114" fmla="*/ 1394 w 1501783"/>
              <a:gd name="connsiteY114" fmla="*/ 538838 h 711174"/>
              <a:gd name="connsiteX115" fmla="*/ 0 w 1501783"/>
              <a:gd name="connsiteY115" fmla="*/ 412954 h 711174"/>
              <a:gd name="connsiteX116" fmla="*/ 3716 w 1501783"/>
              <a:gd name="connsiteY116" fmla="*/ 409238 h 711174"/>
              <a:gd name="connsiteX117" fmla="*/ 919279 w 1501783"/>
              <a:gd name="connsiteY117" fmla="*/ 401806 h 711174"/>
              <a:gd name="connsiteX118" fmla="*/ 951331 w 1501783"/>
              <a:gd name="connsiteY118" fmla="*/ 401806 h 711174"/>
              <a:gd name="connsiteX119" fmla="*/ 955047 w 1501783"/>
              <a:gd name="connsiteY119" fmla="*/ 405522 h 711174"/>
              <a:gd name="connsiteX120" fmla="*/ 953189 w 1501783"/>
              <a:gd name="connsiteY120" fmla="*/ 551845 h 711174"/>
              <a:gd name="connsiteX121" fmla="*/ 955047 w 1501783"/>
              <a:gd name="connsiteY121" fmla="*/ 702348 h 711174"/>
              <a:gd name="connsiteX122" fmla="*/ 951331 w 1501783"/>
              <a:gd name="connsiteY122" fmla="*/ 706064 h 711174"/>
              <a:gd name="connsiteX123" fmla="*/ 919279 w 1501783"/>
              <a:gd name="connsiteY123" fmla="*/ 706064 h 711174"/>
              <a:gd name="connsiteX124" fmla="*/ 919279 w 1501783"/>
              <a:gd name="connsiteY124" fmla="*/ 705600 h 711174"/>
              <a:gd name="connsiteX125" fmla="*/ 915563 w 1501783"/>
              <a:gd name="connsiteY125" fmla="*/ 701883 h 711174"/>
              <a:gd name="connsiteX126" fmla="*/ 917421 w 1501783"/>
              <a:gd name="connsiteY126" fmla="*/ 551845 h 711174"/>
              <a:gd name="connsiteX127" fmla="*/ 915563 w 1501783"/>
              <a:gd name="connsiteY127" fmla="*/ 405522 h 711174"/>
              <a:gd name="connsiteX128" fmla="*/ 919279 w 1501783"/>
              <a:gd name="connsiteY128" fmla="*/ 401806 h 711174"/>
              <a:gd name="connsiteX129" fmla="*/ 1165473 w 1501783"/>
              <a:gd name="connsiteY129" fmla="*/ 396232 h 711174"/>
              <a:gd name="connsiteX130" fmla="*/ 1194738 w 1501783"/>
              <a:gd name="connsiteY130" fmla="*/ 399484 h 711174"/>
              <a:gd name="connsiteX131" fmla="*/ 1198454 w 1501783"/>
              <a:gd name="connsiteY131" fmla="*/ 404129 h 711174"/>
              <a:gd name="connsiteX132" fmla="*/ 1198454 w 1501783"/>
              <a:gd name="connsiteY132" fmla="*/ 426426 h 711174"/>
              <a:gd name="connsiteX133" fmla="*/ 1194738 w 1501783"/>
              <a:gd name="connsiteY133" fmla="*/ 429677 h 711174"/>
              <a:gd name="connsiteX134" fmla="*/ 1174299 w 1501783"/>
              <a:gd name="connsiteY134" fmla="*/ 426890 h 711174"/>
              <a:gd name="connsiteX135" fmla="*/ 1145499 w 1501783"/>
              <a:gd name="connsiteY135" fmla="*/ 465909 h 711174"/>
              <a:gd name="connsiteX136" fmla="*/ 1145499 w 1501783"/>
              <a:gd name="connsiteY136" fmla="*/ 482632 h 711174"/>
              <a:gd name="connsiteX137" fmla="*/ 1194273 w 1501783"/>
              <a:gd name="connsiteY137" fmla="*/ 482632 h 711174"/>
              <a:gd name="connsiteX138" fmla="*/ 1197989 w 1501783"/>
              <a:gd name="connsiteY138" fmla="*/ 486348 h 711174"/>
              <a:gd name="connsiteX139" fmla="*/ 1197989 w 1501783"/>
              <a:gd name="connsiteY139" fmla="*/ 509109 h 711174"/>
              <a:gd name="connsiteX140" fmla="*/ 1194273 w 1501783"/>
              <a:gd name="connsiteY140" fmla="*/ 512826 h 711174"/>
              <a:gd name="connsiteX141" fmla="*/ 1145499 w 1501783"/>
              <a:gd name="connsiteY141" fmla="*/ 512826 h 711174"/>
              <a:gd name="connsiteX142" fmla="*/ 1145499 w 1501783"/>
              <a:gd name="connsiteY142" fmla="*/ 604800 h 711174"/>
              <a:gd name="connsiteX143" fmla="*/ 1145034 w 1501783"/>
              <a:gd name="connsiteY143" fmla="*/ 604800 h 711174"/>
              <a:gd name="connsiteX144" fmla="*/ 1146428 w 1501783"/>
              <a:gd name="connsiteY144" fmla="*/ 701884 h 711174"/>
              <a:gd name="connsiteX145" fmla="*/ 1142712 w 1501783"/>
              <a:gd name="connsiteY145" fmla="*/ 705600 h 711174"/>
              <a:gd name="connsiteX146" fmla="*/ 1109266 w 1501783"/>
              <a:gd name="connsiteY146" fmla="*/ 705600 h 711174"/>
              <a:gd name="connsiteX147" fmla="*/ 1105550 w 1501783"/>
              <a:gd name="connsiteY147" fmla="*/ 701884 h 711174"/>
              <a:gd name="connsiteX148" fmla="*/ 1106944 w 1501783"/>
              <a:gd name="connsiteY148" fmla="*/ 604800 h 711174"/>
              <a:gd name="connsiteX149" fmla="*/ 1106944 w 1501783"/>
              <a:gd name="connsiteY149" fmla="*/ 512361 h 711174"/>
              <a:gd name="connsiteX150" fmla="*/ 1075821 w 1501783"/>
              <a:gd name="connsiteY150" fmla="*/ 512361 h 711174"/>
              <a:gd name="connsiteX151" fmla="*/ 1072105 w 1501783"/>
              <a:gd name="connsiteY151" fmla="*/ 508645 h 711174"/>
              <a:gd name="connsiteX152" fmla="*/ 1072105 w 1501783"/>
              <a:gd name="connsiteY152" fmla="*/ 485884 h 711174"/>
              <a:gd name="connsiteX153" fmla="*/ 1075821 w 1501783"/>
              <a:gd name="connsiteY153" fmla="*/ 482167 h 711174"/>
              <a:gd name="connsiteX154" fmla="*/ 1106944 w 1501783"/>
              <a:gd name="connsiteY154" fmla="*/ 482167 h 711174"/>
              <a:gd name="connsiteX155" fmla="*/ 1106944 w 1501783"/>
              <a:gd name="connsiteY155" fmla="*/ 462658 h 711174"/>
              <a:gd name="connsiteX156" fmla="*/ 1165473 w 1501783"/>
              <a:gd name="connsiteY156" fmla="*/ 396232 h 711174"/>
              <a:gd name="connsiteX157" fmla="*/ 1006608 w 1501783"/>
              <a:gd name="connsiteY157" fmla="*/ 104516 h 711174"/>
              <a:gd name="connsiteX158" fmla="*/ 941111 w 1501783"/>
              <a:gd name="connsiteY158" fmla="*/ 193238 h 711174"/>
              <a:gd name="connsiteX159" fmla="*/ 1006608 w 1501783"/>
              <a:gd name="connsiteY159" fmla="*/ 280567 h 711174"/>
              <a:gd name="connsiteX160" fmla="*/ 1071640 w 1501783"/>
              <a:gd name="connsiteY160" fmla="*/ 193238 h 711174"/>
              <a:gd name="connsiteX161" fmla="*/ 1006608 w 1501783"/>
              <a:gd name="connsiteY161" fmla="*/ 104516 h 711174"/>
              <a:gd name="connsiteX162" fmla="*/ 475200 w 1501783"/>
              <a:gd name="connsiteY162" fmla="*/ 103586 h 711174"/>
              <a:gd name="connsiteX163" fmla="*/ 411097 w 1501783"/>
              <a:gd name="connsiteY163" fmla="*/ 169548 h 711174"/>
              <a:gd name="connsiteX164" fmla="*/ 536517 w 1501783"/>
              <a:gd name="connsiteY164" fmla="*/ 169548 h 711174"/>
              <a:gd name="connsiteX165" fmla="*/ 475200 w 1501783"/>
              <a:gd name="connsiteY165" fmla="*/ 103586 h 711174"/>
              <a:gd name="connsiteX166" fmla="*/ 1141318 w 1501783"/>
              <a:gd name="connsiteY166" fmla="*/ 81290 h 711174"/>
              <a:gd name="connsiteX167" fmla="*/ 1173834 w 1501783"/>
              <a:gd name="connsiteY167" fmla="*/ 81290 h 711174"/>
              <a:gd name="connsiteX168" fmla="*/ 1177550 w 1501783"/>
              <a:gd name="connsiteY168" fmla="*/ 85006 h 711174"/>
              <a:gd name="connsiteX169" fmla="*/ 1176621 w 1501783"/>
              <a:gd name="connsiteY169" fmla="*/ 176516 h 711174"/>
              <a:gd name="connsiteX170" fmla="*/ 1176621 w 1501783"/>
              <a:gd name="connsiteY170" fmla="*/ 219716 h 711174"/>
              <a:gd name="connsiteX171" fmla="*/ 1224002 w 1501783"/>
              <a:gd name="connsiteY171" fmla="*/ 278245 h 711174"/>
              <a:gd name="connsiteX172" fmla="*/ 1285783 w 1501783"/>
              <a:gd name="connsiteY172" fmla="*/ 210425 h 711174"/>
              <a:gd name="connsiteX173" fmla="*/ 1285783 w 1501783"/>
              <a:gd name="connsiteY173" fmla="*/ 176516 h 711174"/>
              <a:gd name="connsiteX174" fmla="*/ 1284854 w 1501783"/>
              <a:gd name="connsiteY174" fmla="*/ 85006 h 711174"/>
              <a:gd name="connsiteX175" fmla="*/ 1288570 w 1501783"/>
              <a:gd name="connsiteY175" fmla="*/ 81290 h 711174"/>
              <a:gd name="connsiteX176" fmla="*/ 1321551 w 1501783"/>
              <a:gd name="connsiteY176" fmla="*/ 81290 h 711174"/>
              <a:gd name="connsiteX177" fmla="*/ 1325267 w 1501783"/>
              <a:gd name="connsiteY177" fmla="*/ 85006 h 711174"/>
              <a:gd name="connsiteX178" fmla="*/ 1324802 w 1501783"/>
              <a:gd name="connsiteY178" fmla="*/ 183019 h 711174"/>
              <a:gd name="connsiteX179" fmla="*/ 1325731 w 1501783"/>
              <a:gd name="connsiteY179" fmla="*/ 301006 h 711174"/>
              <a:gd name="connsiteX180" fmla="*/ 1322015 w 1501783"/>
              <a:gd name="connsiteY180" fmla="*/ 304722 h 711174"/>
              <a:gd name="connsiteX181" fmla="*/ 1291357 w 1501783"/>
              <a:gd name="connsiteY181" fmla="*/ 304722 h 711174"/>
              <a:gd name="connsiteX182" fmla="*/ 1287641 w 1501783"/>
              <a:gd name="connsiteY182" fmla="*/ 301006 h 711174"/>
              <a:gd name="connsiteX183" fmla="*/ 1288570 w 1501783"/>
              <a:gd name="connsiteY183" fmla="*/ 266632 h 711174"/>
              <a:gd name="connsiteX184" fmla="*/ 1213783 w 1501783"/>
              <a:gd name="connsiteY184" fmla="*/ 309832 h 711174"/>
              <a:gd name="connsiteX185" fmla="*/ 1138531 w 1501783"/>
              <a:gd name="connsiteY185" fmla="*/ 220645 h 711174"/>
              <a:gd name="connsiteX186" fmla="*/ 1138531 w 1501783"/>
              <a:gd name="connsiteY186" fmla="*/ 176516 h 711174"/>
              <a:gd name="connsiteX187" fmla="*/ 1137602 w 1501783"/>
              <a:gd name="connsiteY187" fmla="*/ 85006 h 711174"/>
              <a:gd name="connsiteX188" fmla="*/ 1141318 w 1501783"/>
              <a:gd name="connsiteY188" fmla="*/ 81290 h 711174"/>
              <a:gd name="connsiteX189" fmla="*/ 697240 w 1501783"/>
              <a:gd name="connsiteY189" fmla="*/ 81290 h 711174"/>
              <a:gd name="connsiteX190" fmla="*/ 734401 w 1501783"/>
              <a:gd name="connsiteY190" fmla="*/ 81290 h 711174"/>
              <a:gd name="connsiteX191" fmla="*/ 739511 w 1501783"/>
              <a:gd name="connsiteY191" fmla="*/ 84542 h 711174"/>
              <a:gd name="connsiteX192" fmla="*/ 803150 w 1501783"/>
              <a:gd name="connsiteY192" fmla="*/ 253625 h 711174"/>
              <a:gd name="connsiteX193" fmla="*/ 856570 w 1501783"/>
              <a:gd name="connsiteY193" fmla="*/ 85006 h 711174"/>
              <a:gd name="connsiteX194" fmla="*/ 861679 w 1501783"/>
              <a:gd name="connsiteY194" fmla="*/ 81290 h 711174"/>
              <a:gd name="connsiteX195" fmla="*/ 894660 w 1501783"/>
              <a:gd name="connsiteY195" fmla="*/ 81290 h 711174"/>
              <a:gd name="connsiteX196" fmla="*/ 897447 w 1501783"/>
              <a:gd name="connsiteY196" fmla="*/ 85006 h 711174"/>
              <a:gd name="connsiteX197" fmla="*/ 796647 w 1501783"/>
              <a:gd name="connsiteY197" fmla="*/ 371148 h 711174"/>
              <a:gd name="connsiteX198" fmla="*/ 791537 w 1501783"/>
              <a:gd name="connsiteY198" fmla="*/ 374864 h 711174"/>
              <a:gd name="connsiteX199" fmla="*/ 761343 w 1501783"/>
              <a:gd name="connsiteY199" fmla="*/ 374864 h 711174"/>
              <a:gd name="connsiteX200" fmla="*/ 758556 w 1501783"/>
              <a:gd name="connsiteY200" fmla="*/ 371148 h 711174"/>
              <a:gd name="connsiteX201" fmla="*/ 782247 w 1501783"/>
              <a:gd name="connsiteY201" fmla="*/ 305187 h 711174"/>
              <a:gd name="connsiteX202" fmla="*/ 694453 w 1501783"/>
              <a:gd name="connsiteY202" fmla="*/ 84542 h 711174"/>
              <a:gd name="connsiteX203" fmla="*/ 697240 w 1501783"/>
              <a:gd name="connsiteY203" fmla="*/ 81290 h 711174"/>
              <a:gd name="connsiteX204" fmla="*/ 161187 w 1501783"/>
              <a:gd name="connsiteY204" fmla="*/ 80361 h 711174"/>
              <a:gd name="connsiteX205" fmla="*/ 196026 w 1501783"/>
              <a:gd name="connsiteY205" fmla="*/ 80361 h 711174"/>
              <a:gd name="connsiteX206" fmla="*/ 201136 w 1501783"/>
              <a:gd name="connsiteY206" fmla="*/ 84077 h 711174"/>
              <a:gd name="connsiteX207" fmla="*/ 264310 w 1501783"/>
              <a:gd name="connsiteY207" fmla="*/ 270813 h 711174"/>
              <a:gd name="connsiteX208" fmla="*/ 328878 w 1501783"/>
              <a:gd name="connsiteY208" fmla="*/ 84077 h 711174"/>
              <a:gd name="connsiteX209" fmla="*/ 333987 w 1501783"/>
              <a:gd name="connsiteY209" fmla="*/ 80361 h 711174"/>
              <a:gd name="connsiteX210" fmla="*/ 364646 w 1501783"/>
              <a:gd name="connsiteY210" fmla="*/ 80361 h 711174"/>
              <a:gd name="connsiteX211" fmla="*/ 367433 w 1501783"/>
              <a:gd name="connsiteY211" fmla="*/ 83613 h 711174"/>
              <a:gd name="connsiteX212" fmla="*/ 288929 w 1501783"/>
              <a:gd name="connsiteY212" fmla="*/ 301006 h 711174"/>
              <a:gd name="connsiteX213" fmla="*/ 283820 w 1501783"/>
              <a:gd name="connsiteY213" fmla="*/ 304258 h 711174"/>
              <a:gd name="connsiteX214" fmla="*/ 243871 w 1501783"/>
              <a:gd name="connsiteY214" fmla="*/ 304258 h 711174"/>
              <a:gd name="connsiteX215" fmla="*/ 238761 w 1501783"/>
              <a:gd name="connsiteY215" fmla="*/ 301006 h 711174"/>
              <a:gd name="connsiteX216" fmla="*/ 158400 w 1501783"/>
              <a:gd name="connsiteY216" fmla="*/ 83613 h 711174"/>
              <a:gd name="connsiteX217" fmla="*/ 161187 w 1501783"/>
              <a:gd name="connsiteY217" fmla="*/ 80361 h 711174"/>
              <a:gd name="connsiteX218" fmla="*/ 95226 w 1501783"/>
              <a:gd name="connsiteY218" fmla="*/ 79896 h 711174"/>
              <a:gd name="connsiteX219" fmla="*/ 127742 w 1501783"/>
              <a:gd name="connsiteY219" fmla="*/ 79896 h 711174"/>
              <a:gd name="connsiteX220" fmla="*/ 131458 w 1501783"/>
              <a:gd name="connsiteY220" fmla="*/ 83613 h 711174"/>
              <a:gd name="connsiteX221" fmla="*/ 130994 w 1501783"/>
              <a:gd name="connsiteY221" fmla="*/ 188129 h 711174"/>
              <a:gd name="connsiteX222" fmla="*/ 131923 w 1501783"/>
              <a:gd name="connsiteY222" fmla="*/ 300077 h 711174"/>
              <a:gd name="connsiteX223" fmla="*/ 128207 w 1501783"/>
              <a:gd name="connsiteY223" fmla="*/ 303793 h 711174"/>
              <a:gd name="connsiteX224" fmla="*/ 95226 w 1501783"/>
              <a:gd name="connsiteY224" fmla="*/ 303793 h 711174"/>
              <a:gd name="connsiteX225" fmla="*/ 91510 w 1501783"/>
              <a:gd name="connsiteY225" fmla="*/ 300077 h 711174"/>
              <a:gd name="connsiteX226" fmla="*/ 92439 w 1501783"/>
              <a:gd name="connsiteY226" fmla="*/ 188593 h 711174"/>
              <a:gd name="connsiteX227" fmla="*/ 91510 w 1501783"/>
              <a:gd name="connsiteY227" fmla="*/ 83613 h 711174"/>
              <a:gd name="connsiteX228" fmla="*/ 95226 w 1501783"/>
              <a:gd name="connsiteY228" fmla="*/ 79896 h 711174"/>
              <a:gd name="connsiteX229" fmla="*/ 1006608 w 1501783"/>
              <a:gd name="connsiteY229" fmla="*/ 75251 h 711174"/>
              <a:gd name="connsiteX230" fmla="*/ 1112518 w 1501783"/>
              <a:gd name="connsiteY230" fmla="*/ 192309 h 711174"/>
              <a:gd name="connsiteX231" fmla="*/ 1006608 w 1501783"/>
              <a:gd name="connsiteY231" fmla="*/ 309832 h 711174"/>
              <a:gd name="connsiteX232" fmla="*/ 900698 w 1501783"/>
              <a:gd name="connsiteY232" fmla="*/ 193238 h 711174"/>
              <a:gd name="connsiteX233" fmla="*/ 1006608 w 1501783"/>
              <a:gd name="connsiteY233" fmla="*/ 75251 h 711174"/>
              <a:gd name="connsiteX234" fmla="*/ 1485061 w 1501783"/>
              <a:gd name="connsiteY234" fmla="*/ 74322 h 711174"/>
              <a:gd name="connsiteX235" fmla="*/ 1498067 w 1501783"/>
              <a:gd name="connsiteY235" fmla="*/ 75716 h 711174"/>
              <a:gd name="connsiteX236" fmla="*/ 1501783 w 1501783"/>
              <a:gd name="connsiteY236" fmla="*/ 80361 h 711174"/>
              <a:gd name="connsiteX237" fmla="*/ 1501783 w 1501783"/>
              <a:gd name="connsiteY237" fmla="*/ 105445 h 711174"/>
              <a:gd name="connsiteX238" fmla="*/ 1498067 w 1501783"/>
              <a:gd name="connsiteY238" fmla="*/ 108696 h 711174"/>
              <a:gd name="connsiteX239" fmla="*/ 1485525 w 1501783"/>
              <a:gd name="connsiteY239" fmla="*/ 107767 h 711174"/>
              <a:gd name="connsiteX240" fmla="*/ 1410273 w 1501783"/>
              <a:gd name="connsiteY240" fmla="*/ 179767 h 711174"/>
              <a:gd name="connsiteX241" fmla="*/ 1410738 w 1501783"/>
              <a:gd name="connsiteY241" fmla="*/ 297290 h 711174"/>
              <a:gd name="connsiteX242" fmla="*/ 1407022 w 1501783"/>
              <a:gd name="connsiteY242" fmla="*/ 301006 h 711174"/>
              <a:gd name="connsiteX243" fmla="*/ 1374970 w 1501783"/>
              <a:gd name="connsiteY243" fmla="*/ 301006 h 711174"/>
              <a:gd name="connsiteX244" fmla="*/ 1371254 w 1501783"/>
              <a:gd name="connsiteY244" fmla="*/ 297290 h 711174"/>
              <a:gd name="connsiteX245" fmla="*/ 1372647 w 1501783"/>
              <a:gd name="connsiteY245" fmla="*/ 186735 h 711174"/>
              <a:gd name="connsiteX246" fmla="*/ 1371254 w 1501783"/>
              <a:gd name="connsiteY246" fmla="*/ 80825 h 711174"/>
              <a:gd name="connsiteX247" fmla="*/ 1374970 w 1501783"/>
              <a:gd name="connsiteY247" fmla="*/ 77109 h 711174"/>
              <a:gd name="connsiteX248" fmla="*/ 1407022 w 1501783"/>
              <a:gd name="connsiteY248" fmla="*/ 77109 h 711174"/>
              <a:gd name="connsiteX249" fmla="*/ 1410738 w 1501783"/>
              <a:gd name="connsiteY249" fmla="*/ 80825 h 711174"/>
              <a:gd name="connsiteX250" fmla="*/ 1408880 w 1501783"/>
              <a:gd name="connsiteY250" fmla="*/ 118451 h 711174"/>
              <a:gd name="connsiteX251" fmla="*/ 1485061 w 1501783"/>
              <a:gd name="connsiteY251" fmla="*/ 74322 h 711174"/>
              <a:gd name="connsiteX252" fmla="*/ 474736 w 1501783"/>
              <a:gd name="connsiteY252" fmla="*/ 74322 h 711174"/>
              <a:gd name="connsiteX253" fmla="*/ 579252 w 1501783"/>
              <a:gd name="connsiteY253" fmla="*/ 193238 h 711174"/>
              <a:gd name="connsiteX254" fmla="*/ 575536 w 1501783"/>
              <a:gd name="connsiteY254" fmla="*/ 196954 h 711174"/>
              <a:gd name="connsiteX255" fmla="*/ 409703 w 1501783"/>
              <a:gd name="connsiteY255" fmla="*/ 196954 h 711174"/>
              <a:gd name="connsiteX256" fmla="*/ 477058 w 1501783"/>
              <a:gd name="connsiteY256" fmla="*/ 279638 h 711174"/>
              <a:gd name="connsiteX257" fmla="*/ 536517 w 1501783"/>
              <a:gd name="connsiteY257" fmla="*/ 229470 h 711174"/>
              <a:gd name="connsiteX258" fmla="*/ 541162 w 1501783"/>
              <a:gd name="connsiteY258" fmla="*/ 225754 h 711174"/>
              <a:gd name="connsiteX259" fmla="*/ 571820 w 1501783"/>
              <a:gd name="connsiteY259" fmla="*/ 225754 h 711174"/>
              <a:gd name="connsiteX260" fmla="*/ 571820 w 1501783"/>
              <a:gd name="connsiteY260" fmla="*/ 226219 h 711174"/>
              <a:gd name="connsiteX261" fmla="*/ 575072 w 1501783"/>
              <a:gd name="connsiteY261" fmla="*/ 229935 h 711174"/>
              <a:gd name="connsiteX262" fmla="*/ 476594 w 1501783"/>
              <a:gd name="connsiteY262" fmla="*/ 308903 h 711174"/>
              <a:gd name="connsiteX263" fmla="*/ 369755 w 1501783"/>
              <a:gd name="connsiteY263" fmla="*/ 192309 h 711174"/>
              <a:gd name="connsiteX264" fmla="*/ 474736 w 1501783"/>
              <a:gd name="connsiteY264" fmla="*/ 74322 h 711174"/>
              <a:gd name="connsiteX265" fmla="*/ 95226 w 1501783"/>
              <a:gd name="connsiteY265" fmla="*/ 11148 h 711174"/>
              <a:gd name="connsiteX266" fmla="*/ 127742 w 1501783"/>
              <a:gd name="connsiteY266" fmla="*/ 11148 h 711174"/>
              <a:gd name="connsiteX267" fmla="*/ 131458 w 1501783"/>
              <a:gd name="connsiteY267" fmla="*/ 14864 h 711174"/>
              <a:gd name="connsiteX268" fmla="*/ 131458 w 1501783"/>
              <a:gd name="connsiteY268" fmla="*/ 50632 h 711174"/>
              <a:gd name="connsiteX269" fmla="*/ 127742 w 1501783"/>
              <a:gd name="connsiteY269" fmla="*/ 54348 h 711174"/>
              <a:gd name="connsiteX270" fmla="*/ 95226 w 1501783"/>
              <a:gd name="connsiteY270" fmla="*/ 54348 h 711174"/>
              <a:gd name="connsiteX271" fmla="*/ 91510 w 1501783"/>
              <a:gd name="connsiteY271" fmla="*/ 50632 h 711174"/>
              <a:gd name="connsiteX272" fmla="*/ 91510 w 1501783"/>
              <a:gd name="connsiteY272" fmla="*/ 14864 h 711174"/>
              <a:gd name="connsiteX273" fmla="*/ 95226 w 1501783"/>
              <a:gd name="connsiteY273" fmla="*/ 11148 h 711174"/>
              <a:gd name="connsiteX274" fmla="*/ 6038 w 1501783"/>
              <a:gd name="connsiteY274" fmla="*/ 0 h 711174"/>
              <a:gd name="connsiteX275" fmla="*/ 38090 w 1501783"/>
              <a:gd name="connsiteY275" fmla="*/ 0 h 711174"/>
              <a:gd name="connsiteX276" fmla="*/ 41806 w 1501783"/>
              <a:gd name="connsiteY276" fmla="*/ 3716 h 711174"/>
              <a:gd name="connsiteX277" fmla="*/ 39948 w 1501783"/>
              <a:gd name="connsiteY277" fmla="*/ 150039 h 711174"/>
              <a:gd name="connsiteX278" fmla="*/ 41806 w 1501783"/>
              <a:gd name="connsiteY278" fmla="*/ 300542 h 711174"/>
              <a:gd name="connsiteX279" fmla="*/ 38090 w 1501783"/>
              <a:gd name="connsiteY279" fmla="*/ 304258 h 711174"/>
              <a:gd name="connsiteX280" fmla="*/ 6038 w 1501783"/>
              <a:gd name="connsiteY280" fmla="*/ 304258 h 711174"/>
              <a:gd name="connsiteX281" fmla="*/ 6038 w 1501783"/>
              <a:gd name="connsiteY281" fmla="*/ 303794 h 711174"/>
              <a:gd name="connsiteX282" fmla="*/ 2322 w 1501783"/>
              <a:gd name="connsiteY282" fmla="*/ 300077 h 711174"/>
              <a:gd name="connsiteX283" fmla="*/ 4180 w 1501783"/>
              <a:gd name="connsiteY283" fmla="*/ 150039 h 711174"/>
              <a:gd name="connsiteX284" fmla="*/ 2322 w 1501783"/>
              <a:gd name="connsiteY284" fmla="*/ 3716 h 711174"/>
              <a:gd name="connsiteX285" fmla="*/ 6038 w 1501783"/>
              <a:gd name="connsiteY285" fmla="*/ 0 h 711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501783" h="711174">
                <a:moveTo>
                  <a:pt x="100336" y="507251"/>
                </a:moveTo>
                <a:cubicBezTo>
                  <a:pt x="62710" y="507251"/>
                  <a:pt x="38090" y="535586"/>
                  <a:pt x="37626" y="591793"/>
                </a:cubicBezTo>
                <a:cubicBezTo>
                  <a:pt x="37161" y="648464"/>
                  <a:pt x="59923" y="680980"/>
                  <a:pt x="99407" y="680980"/>
                </a:cubicBezTo>
                <a:cubicBezTo>
                  <a:pt x="142607" y="681444"/>
                  <a:pt x="163046" y="646141"/>
                  <a:pt x="163046" y="595974"/>
                </a:cubicBezTo>
                <a:cubicBezTo>
                  <a:pt x="163046" y="543019"/>
                  <a:pt x="143071" y="506786"/>
                  <a:pt x="100336" y="507251"/>
                </a:cubicBezTo>
                <a:close/>
                <a:moveTo>
                  <a:pt x="327484" y="505858"/>
                </a:moveTo>
                <a:cubicBezTo>
                  <a:pt x="290323" y="505858"/>
                  <a:pt x="269420" y="529548"/>
                  <a:pt x="263381" y="571819"/>
                </a:cubicBezTo>
                <a:lnTo>
                  <a:pt x="388801" y="571819"/>
                </a:lnTo>
                <a:cubicBezTo>
                  <a:pt x="387407" y="536051"/>
                  <a:pt x="366968" y="505858"/>
                  <a:pt x="327484" y="505858"/>
                </a:cubicBezTo>
                <a:close/>
                <a:moveTo>
                  <a:pt x="1302505" y="504929"/>
                </a:moveTo>
                <a:cubicBezTo>
                  <a:pt x="1265344" y="504929"/>
                  <a:pt x="1244441" y="528619"/>
                  <a:pt x="1238402" y="570890"/>
                </a:cubicBezTo>
                <a:lnTo>
                  <a:pt x="1363822" y="570890"/>
                </a:lnTo>
                <a:cubicBezTo>
                  <a:pt x="1362428" y="535587"/>
                  <a:pt x="1341989" y="504929"/>
                  <a:pt x="1302505" y="504929"/>
                </a:cubicBezTo>
                <a:close/>
                <a:moveTo>
                  <a:pt x="1005215" y="481703"/>
                </a:moveTo>
                <a:lnTo>
                  <a:pt x="1037731" y="481703"/>
                </a:lnTo>
                <a:cubicBezTo>
                  <a:pt x="1040054" y="481703"/>
                  <a:pt x="1041448" y="483561"/>
                  <a:pt x="1041448" y="485419"/>
                </a:cubicBezTo>
                <a:lnTo>
                  <a:pt x="1040518" y="589935"/>
                </a:lnTo>
                <a:lnTo>
                  <a:pt x="1041448" y="701884"/>
                </a:lnTo>
                <a:cubicBezTo>
                  <a:pt x="1041448" y="704206"/>
                  <a:pt x="1039589" y="705600"/>
                  <a:pt x="1037731" y="705600"/>
                </a:cubicBezTo>
                <a:lnTo>
                  <a:pt x="1005215" y="705600"/>
                </a:lnTo>
                <a:cubicBezTo>
                  <a:pt x="1002893" y="705600"/>
                  <a:pt x="1001499" y="703742"/>
                  <a:pt x="1001499" y="701884"/>
                </a:cubicBezTo>
                <a:lnTo>
                  <a:pt x="1002428" y="590400"/>
                </a:lnTo>
                <a:lnTo>
                  <a:pt x="1001499" y="485419"/>
                </a:lnTo>
                <a:cubicBezTo>
                  <a:pt x="1001499" y="483096"/>
                  <a:pt x="1003357" y="481703"/>
                  <a:pt x="1005215" y="481703"/>
                </a:cubicBezTo>
                <a:close/>
                <a:moveTo>
                  <a:pt x="544878" y="477987"/>
                </a:moveTo>
                <a:cubicBezTo>
                  <a:pt x="596904" y="477987"/>
                  <a:pt x="634994" y="499819"/>
                  <a:pt x="638246" y="546271"/>
                </a:cubicBezTo>
                <a:cubicBezTo>
                  <a:pt x="638246" y="548593"/>
                  <a:pt x="636388" y="549987"/>
                  <a:pt x="634530" y="549987"/>
                </a:cubicBezTo>
                <a:lnTo>
                  <a:pt x="605265" y="549987"/>
                </a:lnTo>
                <a:cubicBezTo>
                  <a:pt x="602943" y="549987"/>
                  <a:pt x="601549" y="548129"/>
                  <a:pt x="601085" y="546271"/>
                </a:cubicBezTo>
                <a:cubicBezTo>
                  <a:pt x="598297" y="517935"/>
                  <a:pt x="576930" y="504929"/>
                  <a:pt x="544413" y="504929"/>
                </a:cubicBezTo>
                <a:cubicBezTo>
                  <a:pt x="513755" y="504929"/>
                  <a:pt x="494246" y="516077"/>
                  <a:pt x="494246" y="541161"/>
                </a:cubicBezTo>
                <a:cubicBezTo>
                  <a:pt x="494246" y="596903"/>
                  <a:pt x="645214" y="548593"/>
                  <a:pt x="645214" y="642426"/>
                </a:cubicBezTo>
                <a:cubicBezTo>
                  <a:pt x="645214" y="685626"/>
                  <a:pt x="604801" y="710710"/>
                  <a:pt x="551381" y="710710"/>
                </a:cubicBezTo>
                <a:cubicBezTo>
                  <a:pt x="491923" y="710710"/>
                  <a:pt x="452904" y="684697"/>
                  <a:pt x="451510" y="632671"/>
                </a:cubicBezTo>
                <a:cubicBezTo>
                  <a:pt x="451510" y="630348"/>
                  <a:pt x="453368" y="628955"/>
                  <a:pt x="455226" y="628955"/>
                </a:cubicBezTo>
                <a:lnTo>
                  <a:pt x="485884" y="628955"/>
                </a:lnTo>
                <a:cubicBezTo>
                  <a:pt x="488207" y="628955"/>
                  <a:pt x="489600" y="630813"/>
                  <a:pt x="489600" y="632671"/>
                </a:cubicBezTo>
                <a:cubicBezTo>
                  <a:pt x="491459" y="667974"/>
                  <a:pt x="512826" y="683768"/>
                  <a:pt x="552775" y="683768"/>
                </a:cubicBezTo>
                <a:cubicBezTo>
                  <a:pt x="585755" y="683768"/>
                  <a:pt x="607588" y="669832"/>
                  <a:pt x="607588" y="645213"/>
                </a:cubicBezTo>
                <a:cubicBezTo>
                  <a:pt x="607588" y="586684"/>
                  <a:pt x="456620" y="634064"/>
                  <a:pt x="456620" y="543484"/>
                </a:cubicBezTo>
                <a:cubicBezTo>
                  <a:pt x="456620" y="500284"/>
                  <a:pt x="491923" y="477987"/>
                  <a:pt x="544878" y="477987"/>
                </a:cubicBezTo>
                <a:close/>
                <a:moveTo>
                  <a:pt x="327020" y="476593"/>
                </a:moveTo>
                <a:cubicBezTo>
                  <a:pt x="391588" y="476593"/>
                  <a:pt x="430143" y="520722"/>
                  <a:pt x="431536" y="595509"/>
                </a:cubicBezTo>
                <a:cubicBezTo>
                  <a:pt x="431536" y="597832"/>
                  <a:pt x="429678" y="599225"/>
                  <a:pt x="427820" y="599225"/>
                </a:cubicBezTo>
                <a:lnTo>
                  <a:pt x="262452" y="599225"/>
                </a:lnTo>
                <a:cubicBezTo>
                  <a:pt x="263846" y="653109"/>
                  <a:pt x="286142" y="681909"/>
                  <a:pt x="329807" y="681909"/>
                </a:cubicBezTo>
                <a:cubicBezTo>
                  <a:pt x="362788" y="681909"/>
                  <a:pt x="382762" y="664722"/>
                  <a:pt x="389265" y="631741"/>
                </a:cubicBezTo>
                <a:cubicBezTo>
                  <a:pt x="389730" y="629419"/>
                  <a:pt x="392052" y="628025"/>
                  <a:pt x="393910" y="628025"/>
                </a:cubicBezTo>
                <a:lnTo>
                  <a:pt x="424104" y="628025"/>
                </a:lnTo>
                <a:lnTo>
                  <a:pt x="424104" y="628490"/>
                </a:lnTo>
                <a:cubicBezTo>
                  <a:pt x="426427" y="628490"/>
                  <a:pt x="427356" y="630348"/>
                  <a:pt x="427356" y="632206"/>
                </a:cubicBezTo>
                <a:cubicBezTo>
                  <a:pt x="420388" y="677729"/>
                  <a:pt x="386478" y="711174"/>
                  <a:pt x="328878" y="711174"/>
                </a:cubicBezTo>
                <a:cubicBezTo>
                  <a:pt x="259200" y="711174"/>
                  <a:pt x="222039" y="662864"/>
                  <a:pt x="222039" y="594580"/>
                </a:cubicBezTo>
                <a:cubicBezTo>
                  <a:pt x="222039" y="524438"/>
                  <a:pt x="261987" y="476593"/>
                  <a:pt x="327020" y="476593"/>
                </a:cubicBezTo>
                <a:close/>
                <a:moveTo>
                  <a:pt x="1302041" y="475664"/>
                </a:moveTo>
                <a:cubicBezTo>
                  <a:pt x="1366609" y="475664"/>
                  <a:pt x="1405164" y="519793"/>
                  <a:pt x="1406557" y="594580"/>
                </a:cubicBezTo>
                <a:cubicBezTo>
                  <a:pt x="1406557" y="596903"/>
                  <a:pt x="1404699" y="598296"/>
                  <a:pt x="1402841" y="598296"/>
                </a:cubicBezTo>
                <a:lnTo>
                  <a:pt x="1237473" y="598296"/>
                </a:lnTo>
                <a:cubicBezTo>
                  <a:pt x="1238867" y="652180"/>
                  <a:pt x="1261163" y="680980"/>
                  <a:pt x="1304828" y="680980"/>
                </a:cubicBezTo>
                <a:cubicBezTo>
                  <a:pt x="1337809" y="680980"/>
                  <a:pt x="1357783" y="663793"/>
                  <a:pt x="1364286" y="630812"/>
                </a:cubicBezTo>
                <a:cubicBezTo>
                  <a:pt x="1364751" y="628490"/>
                  <a:pt x="1367073" y="627096"/>
                  <a:pt x="1368931" y="627096"/>
                </a:cubicBezTo>
                <a:lnTo>
                  <a:pt x="1399125" y="627096"/>
                </a:lnTo>
                <a:lnTo>
                  <a:pt x="1399125" y="627561"/>
                </a:lnTo>
                <a:cubicBezTo>
                  <a:pt x="1401448" y="627561"/>
                  <a:pt x="1402377" y="629419"/>
                  <a:pt x="1402377" y="631277"/>
                </a:cubicBezTo>
                <a:cubicBezTo>
                  <a:pt x="1395409" y="676800"/>
                  <a:pt x="1361499" y="710245"/>
                  <a:pt x="1303899" y="710245"/>
                </a:cubicBezTo>
                <a:cubicBezTo>
                  <a:pt x="1234221" y="710245"/>
                  <a:pt x="1197060" y="661935"/>
                  <a:pt x="1197060" y="593651"/>
                </a:cubicBezTo>
                <a:cubicBezTo>
                  <a:pt x="1197060" y="523509"/>
                  <a:pt x="1237009" y="475664"/>
                  <a:pt x="1302041" y="475664"/>
                </a:cubicBezTo>
                <a:close/>
                <a:moveTo>
                  <a:pt x="679124" y="426426"/>
                </a:moveTo>
                <a:lnTo>
                  <a:pt x="711176" y="426426"/>
                </a:lnTo>
                <a:cubicBezTo>
                  <a:pt x="713498" y="426426"/>
                  <a:pt x="714892" y="428284"/>
                  <a:pt x="714892" y="430142"/>
                </a:cubicBezTo>
                <a:lnTo>
                  <a:pt x="714428" y="482168"/>
                </a:lnTo>
                <a:lnTo>
                  <a:pt x="765524" y="482168"/>
                </a:lnTo>
                <a:cubicBezTo>
                  <a:pt x="767847" y="482168"/>
                  <a:pt x="769240" y="484026"/>
                  <a:pt x="769240" y="485884"/>
                </a:cubicBezTo>
                <a:lnTo>
                  <a:pt x="769240" y="509110"/>
                </a:lnTo>
                <a:cubicBezTo>
                  <a:pt x="769240" y="511432"/>
                  <a:pt x="767382" y="512826"/>
                  <a:pt x="765524" y="512826"/>
                </a:cubicBezTo>
                <a:lnTo>
                  <a:pt x="714428" y="512826"/>
                </a:lnTo>
                <a:lnTo>
                  <a:pt x="714428" y="643355"/>
                </a:lnTo>
                <a:cubicBezTo>
                  <a:pt x="714428" y="670297"/>
                  <a:pt x="723718" y="678658"/>
                  <a:pt x="742763" y="678658"/>
                </a:cubicBezTo>
                <a:cubicBezTo>
                  <a:pt x="751589" y="678658"/>
                  <a:pt x="759486" y="677265"/>
                  <a:pt x="765989" y="675871"/>
                </a:cubicBezTo>
                <a:cubicBezTo>
                  <a:pt x="768311" y="674942"/>
                  <a:pt x="769705" y="676800"/>
                  <a:pt x="769705" y="678658"/>
                </a:cubicBezTo>
                <a:lnTo>
                  <a:pt x="769705" y="699561"/>
                </a:lnTo>
                <a:lnTo>
                  <a:pt x="770170" y="699561"/>
                </a:lnTo>
                <a:cubicBezTo>
                  <a:pt x="770170" y="701884"/>
                  <a:pt x="768311" y="703742"/>
                  <a:pt x="766453" y="704671"/>
                </a:cubicBezTo>
                <a:cubicBezTo>
                  <a:pt x="757628" y="707458"/>
                  <a:pt x="746479" y="709781"/>
                  <a:pt x="735795" y="709781"/>
                </a:cubicBezTo>
                <a:cubicBezTo>
                  <a:pt x="703279" y="709781"/>
                  <a:pt x="675873" y="693058"/>
                  <a:pt x="675873" y="644284"/>
                </a:cubicBezTo>
                <a:lnTo>
                  <a:pt x="675873" y="512826"/>
                </a:lnTo>
                <a:lnTo>
                  <a:pt x="651253" y="512826"/>
                </a:lnTo>
                <a:cubicBezTo>
                  <a:pt x="648931" y="512826"/>
                  <a:pt x="647537" y="510968"/>
                  <a:pt x="647537" y="509110"/>
                </a:cubicBezTo>
                <a:lnTo>
                  <a:pt x="647537" y="485884"/>
                </a:lnTo>
                <a:cubicBezTo>
                  <a:pt x="647537" y="483561"/>
                  <a:pt x="649395" y="482168"/>
                  <a:pt x="651253" y="482168"/>
                </a:cubicBezTo>
                <a:lnTo>
                  <a:pt x="675873" y="482168"/>
                </a:lnTo>
                <a:lnTo>
                  <a:pt x="675408" y="430142"/>
                </a:lnTo>
                <a:cubicBezTo>
                  <a:pt x="675408" y="427819"/>
                  <a:pt x="677266" y="426426"/>
                  <a:pt x="679124" y="426426"/>
                </a:cubicBezTo>
                <a:close/>
                <a:moveTo>
                  <a:pt x="1005215" y="412490"/>
                </a:moveTo>
                <a:lnTo>
                  <a:pt x="1037731" y="412490"/>
                </a:lnTo>
                <a:cubicBezTo>
                  <a:pt x="1040054" y="412490"/>
                  <a:pt x="1041448" y="414348"/>
                  <a:pt x="1041448" y="416206"/>
                </a:cubicBezTo>
                <a:lnTo>
                  <a:pt x="1041448" y="451974"/>
                </a:lnTo>
                <a:cubicBezTo>
                  <a:pt x="1041448" y="454296"/>
                  <a:pt x="1039589" y="455690"/>
                  <a:pt x="1037731" y="455690"/>
                </a:cubicBezTo>
                <a:lnTo>
                  <a:pt x="1005215" y="455690"/>
                </a:lnTo>
                <a:cubicBezTo>
                  <a:pt x="1002893" y="455690"/>
                  <a:pt x="1001499" y="453832"/>
                  <a:pt x="1001499" y="451974"/>
                </a:cubicBezTo>
                <a:lnTo>
                  <a:pt x="1001499" y="416206"/>
                </a:lnTo>
                <a:cubicBezTo>
                  <a:pt x="1001499" y="413883"/>
                  <a:pt x="1003357" y="412490"/>
                  <a:pt x="1005215" y="412490"/>
                </a:cubicBezTo>
                <a:close/>
                <a:moveTo>
                  <a:pt x="3716" y="409238"/>
                </a:moveTo>
                <a:lnTo>
                  <a:pt x="36232" y="409238"/>
                </a:lnTo>
                <a:cubicBezTo>
                  <a:pt x="38555" y="409238"/>
                  <a:pt x="39948" y="411096"/>
                  <a:pt x="39948" y="412954"/>
                </a:cubicBezTo>
                <a:lnTo>
                  <a:pt x="39019" y="517006"/>
                </a:lnTo>
                <a:cubicBezTo>
                  <a:pt x="54349" y="492851"/>
                  <a:pt x="78039" y="477986"/>
                  <a:pt x="110091" y="477986"/>
                </a:cubicBezTo>
                <a:cubicBezTo>
                  <a:pt x="170478" y="477986"/>
                  <a:pt x="202529" y="528619"/>
                  <a:pt x="202529" y="593651"/>
                </a:cubicBezTo>
                <a:cubicBezTo>
                  <a:pt x="202994" y="658219"/>
                  <a:pt x="169084" y="710244"/>
                  <a:pt x="109626" y="710244"/>
                </a:cubicBezTo>
                <a:cubicBezTo>
                  <a:pt x="77574" y="710244"/>
                  <a:pt x="53419" y="696774"/>
                  <a:pt x="38555" y="671225"/>
                </a:cubicBezTo>
                <a:lnTo>
                  <a:pt x="39484" y="701883"/>
                </a:lnTo>
                <a:cubicBezTo>
                  <a:pt x="39484" y="704206"/>
                  <a:pt x="37626" y="705599"/>
                  <a:pt x="35768" y="705599"/>
                </a:cubicBezTo>
                <a:lnTo>
                  <a:pt x="3716" y="705599"/>
                </a:lnTo>
                <a:cubicBezTo>
                  <a:pt x="1394" y="705599"/>
                  <a:pt x="0" y="703741"/>
                  <a:pt x="0" y="701883"/>
                </a:cubicBezTo>
                <a:lnTo>
                  <a:pt x="1394" y="538838"/>
                </a:lnTo>
                <a:lnTo>
                  <a:pt x="0" y="412954"/>
                </a:lnTo>
                <a:cubicBezTo>
                  <a:pt x="0" y="410632"/>
                  <a:pt x="1858" y="409238"/>
                  <a:pt x="3716" y="409238"/>
                </a:cubicBezTo>
                <a:close/>
                <a:moveTo>
                  <a:pt x="919279" y="401806"/>
                </a:moveTo>
                <a:lnTo>
                  <a:pt x="951331" y="401806"/>
                </a:lnTo>
                <a:cubicBezTo>
                  <a:pt x="953653" y="401806"/>
                  <a:pt x="955047" y="403664"/>
                  <a:pt x="955047" y="405522"/>
                </a:cubicBezTo>
                <a:lnTo>
                  <a:pt x="953189" y="551845"/>
                </a:lnTo>
                <a:lnTo>
                  <a:pt x="955047" y="702348"/>
                </a:lnTo>
                <a:cubicBezTo>
                  <a:pt x="955047" y="704671"/>
                  <a:pt x="953189" y="706064"/>
                  <a:pt x="951331" y="706064"/>
                </a:cubicBezTo>
                <a:lnTo>
                  <a:pt x="919279" y="706064"/>
                </a:lnTo>
                <a:lnTo>
                  <a:pt x="919279" y="705600"/>
                </a:lnTo>
                <a:cubicBezTo>
                  <a:pt x="916957" y="705600"/>
                  <a:pt x="915563" y="703741"/>
                  <a:pt x="915563" y="701883"/>
                </a:cubicBezTo>
                <a:lnTo>
                  <a:pt x="917421" y="551845"/>
                </a:lnTo>
                <a:lnTo>
                  <a:pt x="915563" y="405522"/>
                </a:lnTo>
                <a:cubicBezTo>
                  <a:pt x="915563" y="403200"/>
                  <a:pt x="917421" y="401806"/>
                  <a:pt x="919279" y="401806"/>
                </a:cubicBezTo>
                <a:close/>
                <a:moveTo>
                  <a:pt x="1165473" y="396232"/>
                </a:moveTo>
                <a:cubicBezTo>
                  <a:pt x="1175692" y="396232"/>
                  <a:pt x="1186841" y="397625"/>
                  <a:pt x="1194738" y="399484"/>
                </a:cubicBezTo>
                <a:cubicBezTo>
                  <a:pt x="1197060" y="399948"/>
                  <a:pt x="1198454" y="402271"/>
                  <a:pt x="1198454" y="404129"/>
                </a:cubicBezTo>
                <a:lnTo>
                  <a:pt x="1198454" y="426426"/>
                </a:lnTo>
                <a:cubicBezTo>
                  <a:pt x="1198454" y="428284"/>
                  <a:pt x="1196596" y="429677"/>
                  <a:pt x="1194738" y="429677"/>
                </a:cubicBezTo>
                <a:cubicBezTo>
                  <a:pt x="1188699" y="427819"/>
                  <a:pt x="1181731" y="426890"/>
                  <a:pt x="1174299" y="426890"/>
                </a:cubicBezTo>
                <a:cubicBezTo>
                  <a:pt x="1156647" y="426890"/>
                  <a:pt x="1145499" y="437574"/>
                  <a:pt x="1145499" y="465909"/>
                </a:cubicBezTo>
                <a:lnTo>
                  <a:pt x="1145499" y="482632"/>
                </a:lnTo>
                <a:lnTo>
                  <a:pt x="1194273" y="482632"/>
                </a:lnTo>
                <a:cubicBezTo>
                  <a:pt x="1196596" y="482632"/>
                  <a:pt x="1197989" y="484490"/>
                  <a:pt x="1197989" y="486348"/>
                </a:cubicBezTo>
                <a:lnTo>
                  <a:pt x="1197989" y="509109"/>
                </a:lnTo>
                <a:cubicBezTo>
                  <a:pt x="1197989" y="511432"/>
                  <a:pt x="1196131" y="512826"/>
                  <a:pt x="1194273" y="512826"/>
                </a:cubicBezTo>
                <a:lnTo>
                  <a:pt x="1145499" y="512826"/>
                </a:lnTo>
                <a:lnTo>
                  <a:pt x="1145499" y="604800"/>
                </a:lnTo>
                <a:lnTo>
                  <a:pt x="1145034" y="604800"/>
                </a:lnTo>
                <a:lnTo>
                  <a:pt x="1146428" y="701884"/>
                </a:lnTo>
                <a:cubicBezTo>
                  <a:pt x="1146428" y="704206"/>
                  <a:pt x="1144570" y="705600"/>
                  <a:pt x="1142712" y="705600"/>
                </a:cubicBezTo>
                <a:lnTo>
                  <a:pt x="1109266" y="705600"/>
                </a:lnTo>
                <a:cubicBezTo>
                  <a:pt x="1106944" y="705600"/>
                  <a:pt x="1105550" y="703742"/>
                  <a:pt x="1105550" y="701884"/>
                </a:cubicBezTo>
                <a:lnTo>
                  <a:pt x="1106944" y="604800"/>
                </a:lnTo>
                <a:lnTo>
                  <a:pt x="1106944" y="512361"/>
                </a:lnTo>
                <a:lnTo>
                  <a:pt x="1075821" y="512361"/>
                </a:lnTo>
                <a:cubicBezTo>
                  <a:pt x="1073498" y="512361"/>
                  <a:pt x="1072105" y="510503"/>
                  <a:pt x="1072105" y="508645"/>
                </a:cubicBezTo>
                <a:lnTo>
                  <a:pt x="1072105" y="485884"/>
                </a:lnTo>
                <a:cubicBezTo>
                  <a:pt x="1072105" y="483561"/>
                  <a:pt x="1073963" y="482167"/>
                  <a:pt x="1075821" y="482167"/>
                </a:cubicBezTo>
                <a:lnTo>
                  <a:pt x="1106944" y="482167"/>
                </a:lnTo>
                <a:lnTo>
                  <a:pt x="1106944" y="462658"/>
                </a:lnTo>
                <a:cubicBezTo>
                  <a:pt x="1106944" y="413419"/>
                  <a:pt x="1137137" y="396232"/>
                  <a:pt x="1165473" y="396232"/>
                </a:cubicBezTo>
                <a:close/>
                <a:moveTo>
                  <a:pt x="1006608" y="104516"/>
                </a:moveTo>
                <a:cubicBezTo>
                  <a:pt x="962479" y="104980"/>
                  <a:pt x="941111" y="137032"/>
                  <a:pt x="941111" y="193238"/>
                </a:cubicBezTo>
                <a:cubicBezTo>
                  <a:pt x="941111" y="249445"/>
                  <a:pt x="962943" y="280567"/>
                  <a:pt x="1006608" y="280567"/>
                </a:cubicBezTo>
                <a:cubicBezTo>
                  <a:pt x="1050737" y="280567"/>
                  <a:pt x="1071640" y="249445"/>
                  <a:pt x="1071640" y="193238"/>
                </a:cubicBezTo>
                <a:cubicBezTo>
                  <a:pt x="1071640" y="137032"/>
                  <a:pt x="1049808" y="104516"/>
                  <a:pt x="1006608" y="104516"/>
                </a:cubicBezTo>
                <a:close/>
                <a:moveTo>
                  <a:pt x="475200" y="103586"/>
                </a:moveTo>
                <a:cubicBezTo>
                  <a:pt x="438039" y="103586"/>
                  <a:pt x="417136" y="127277"/>
                  <a:pt x="411097" y="169548"/>
                </a:cubicBezTo>
                <a:lnTo>
                  <a:pt x="536517" y="169548"/>
                </a:lnTo>
                <a:cubicBezTo>
                  <a:pt x="535123" y="133780"/>
                  <a:pt x="514684" y="103586"/>
                  <a:pt x="475200" y="103586"/>
                </a:cubicBezTo>
                <a:close/>
                <a:moveTo>
                  <a:pt x="1141318" y="81290"/>
                </a:moveTo>
                <a:lnTo>
                  <a:pt x="1173834" y="81290"/>
                </a:lnTo>
                <a:cubicBezTo>
                  <a:pt x="1176157" y="81290"/>
                  <a:pt x="1177550" y="83148"/>
                  <a:pt x="1177550" y="85006"/>
                </a:cubicBezTo>
                <a:lnTo>
                  <a:pt x="1176621" y="176516"/>
                </a:lnTo>
                <a:lnTo>
                  <a:pt x="1176621" y="219716"/>
                </a:lnTo>
                <a:cubicBezTo>
                  <a:pt x="1176621" y="260129"/>
                  <a:pt x="1195667" y="278245"/>
                  <a:pt x="1224002" y="278245"/>
                </a:cubicBezTo>
                <a:cubicBezTo>
                  <a:pt x="1253267" y="278245"/>
                  <a:pt x="1276957" y="254555"/>
                  <a:pt x="1285783" y="210425"/>
                </a:cubicBezTo>
                <a:lnTo>
                  <a:pt x="1285783" y="176516"/>
                </a:lnTo>
                <a:lnTo>
                  <a:pt x="1284854" y="85006"/>
                </a:lnTo>
                <a:cubicBezTo>
                  <a:pt x="1284854" y="82684"/>
                  <a:pt x="1286712" y="81290"/>
                  <a:pt x="1288570" y="81290"/>
                </a:cubicBezTo>
                <a:lnTo>
                  <a:pt x="1321551" y="81290"/>
                </a:lnTo>
                <a:cubicBezTo>
                  <a:pt x="1323873" y="81290"/>
                  <a:pt x="1325267" y="83148"/>
                  <a:pt x="1325267" y="85006"/>
                </a:cubicBezTo>
                <a:lnTo>
                  <a:pt x="1324802" y="183019"/>
                </a:lnTo>
                <a:lnTo>
                  <a:pt x="1325731" y="301006"/>
                </a:lnTo>
                <a:cubicBezTo>
                  <a:pt x="1325731" y="303329"/>
                  <a:pt x="1323873" y="304722"/>
                  <a:pt x="1322015" y="304722"/>
                </a:cubicBezTo>
                <a:lnTo>
                  <a:pt x="1291357" y="304722"/>
                </a:lnTo>
                <a:cubicBezTo>
                  <a:pt x="1289034" y="304722"/>
                  <a:pt x="1287641" y="302864"/>
                  <a:pt x="1287641" y="301006"/>
                </a:cubicBezTo>
                <a:lnTo>
                  <a:pt x="1288570" y="266632"/>
                </a:lnTo>
                <a:cubicBezTo>
                  <a:pt x="1274635" y="289393"/>
                  <a:pt x="1249086" y="309832"/>
                  <a:pt x="1213783" y="309832"/>
                </a:cubicBezTo>
                <a:cubicBezTo>
                  <a:pt x="1167796" y="309832"/>
                  <a:pt x="1138531" y="279174"/>
                  <a:pt x="1138531" y="220645"/>
                </a:cubicBezTo>
                <a:lnTo>
                  <a:pt x="1138531" y="176516"/>
                </a:lnTo>
                <a:lnTo>
                  <a:pt x="1137602" y="85006"/>
                </a:lnTo>
                <a:cubicBezTo>
                  <a:pt x="1137602" y="82684"/>
                  <a:pt x="1139460" y="81290"/>
                  <a:pt x="1141318" y="81290"/>
                </a:cubicBezTo>
                <a:close/>
                <a:moveTo>
                  <a:pt x="697240" y="81290"/>
                </a:moveTo>
                <a:lnTo>
                  <a:pt x="734401" y="81290"/>
                </a:lnTo>
                <a:cubicBezTo>
                  <a:pt x="736724" y="81290"/>
                  <a:pt x="738582" y="83148"/>
                  <a:pt x="739511" y="84542"/>
                </a:cubicBezTo>
                <a:lnTo>
                  <a:pt x="803150" y="253625"/>
                </a:lnTo>
                <a:lnTo>
                  <a:pt x="856570" y="85006"/>
                </a:lnTo>
                <a:cubicBezTo>
                  <a:pt x="857499" y="82684"/>
                  <a:pt x="859821" y="81290"/>
                  <a:pt x="861679" y="81290"/>
                </a:cubicBezTo>
                <a:lnTo>
                  <a:pt x="894660" y="81290"/>
                </a:lnTo>
                <a:cubicBezTo>
                  <a:pt x="896982" y="81290"/>
                  <a:pt x="897912" y="83148"/>
                  <a:pt x="897447" y="85006"/>
                </a:cubicBezTo>
                <a:lnTo>
                  <a:pt x="796647" y="371148"/>
                </a:lnTo>
                <a:cubicBezTo>
                  <a:pt x="795718" y="373471"/>
                  <a:pt x="793395" y="374864"/>
                  <a:pt x="791537" y="374864"/>
                </a:cubicBezTo>
                <a:lnTo>
                  <a:pt x="761343" y="374864"/>
                </a:lnTo>
                <a:cubicBezTo>
                  <a:pt x="759485" y="374864"/>
                  <a:pt x="758092" y="373006"/>
                  <a:pt x="758556" y="371148"/>
                </a:cubicBezTo>
                <a:lnTo>
                  <a:pt x="782247" y="305187"/>
                </a:lnTo>
                <a:lnTo>
                  <a:pt x="694453" y="84542"/>
                </a:lnTo>
                <a:cubicBezTo>
                  <a:pt x="693988" y="82684"/>
                  <a:pt x="695382" y="81290"/>
                  <a:pt x="697240" y="81290"/>
                </a:cubicBezTo>
                <a:close/>
                <a:moveTo>
                  <a:pt x="161187" y="80361"/>
                </a:moveTo>
                <a:lnTo>
                  <a:pt x="196026" y="80361"/>
                </a:lnTo>
                <a:cubicBezTo>
                  <a:pt x="198348" y="80361"/>
                  <a:pt x="200207" y="82219"/>
                  <a:pt x="201136" y="84077"/>
                </a:cubicBezTo>
                <a:lnTo>
                  <a:pt x="264310" y="270813"/>
                </a:lnTo>
                <a:lnTo>
                  <a:pt x="328878" y="84077"/>
                </a:lnTo>
                <a:cubicBezTo>
                  <a:pt x="329807" y="81755"/>
                  <a:pt x="332129" y="80361"/>
                  <a:pt x="333987" y="80361"/>
                </a:cubicBezTo>
                <a:lnTo>
                  <a:pt x="364646" y="80361"/>
                </a:lnTo>
                <a:cubicBezTo>
                  <a:pt x="366968" y="80361"/>
                  <a:pt x="367897" y="82219"/>
                  <a:pt x="367433" y="83613"/>
                </a:cubicBezTo>
                <a:lnTo>
                  <a:pt x="288929" y="301006"/>
                </a:lnTo>
                <a:cubicBezTo>
                  <a:pt x="288000" y="302864"/>
                  <a:pt x="285678" y="304258"/>
                  <a:pt x="283820" y="304258"/>
                </a:cubicBezTo>
                <a:lnTo>
                  <a:pt x="243871" y="304258"/>
                </a:lnTo>
                <a:cubicBezTo>
                  <a:pt x="241549" y="304258"/>
                  <a:pt x="239691" y="302400"/>
                  <a:pt x="238761" y="301006"/>
                </a:cubicBezTo>
                <a:lnTo>
                  <a:pt x="158400" y="83613"/>
                </a:lnTo>
                <a:cubicBezTo>
                  <a:pt x="157936" y="81755"/>
                  <a:pt x="159329" y="80361"/>
                  <a:pt x="161187" y="80361"/>
                </a:cubicBezTo>
                <a:close/>
                <a:moveTo>
                  <a:pt x="95226" y="79896"/>
                </a:moveTo>
                <a:lnTo>
                  <a:pt x="127742" y="79896"/>
                </a:lnTo>
                <a:cubicBezTo>
                  <a:pt x="130065" y="79896"/>
                  <a:pt x="131458" y="81754"/>
                  <a:pt x="131458" y="83613"/>
                </a:cubicBezTo>
                <a:lnTo>
                  <a:pt x="130994" y="188129"/>
                </a:lnTo>
                <a:lnTo>
                  <a:pt x="131923" y="300077"/>
                </a:lnTo>
                <a:cubicBezTo>
                  <a:pt x="131923" y="302400"/>
                  <a:pt x="130065" y="303793"/>
                  <a:pt x="128207" y="303793"/>
                </a:cubicBezTo>
                <a:lnTo>
                  <a:pt x="95226" y="303793"/>
                </a:lnTo>
                <a:cubicBezTo>
                  <a:pt x="92904" y="303793"/>
                  <a:pt x="91510" y="301935"/>
                  <a:pt x="91510" y="300077"/>
                </a:cubicBezTo>
                <a:lnTo>
                  <a:pt x="92439" y="188593"/>
                </a:lnTo>
                <a:lnTo>
                  <a:pt x="91510" y="83613"/>
                </a:lnTo>
                <a:cubicBezTo>
                  <a:pt x="91510" y="81290"/>
                  <a:pt x="93368" y="79896"/>
                  <a:pt x="95226" y="79896"/>
                </a:cubicBezTo>
                <a:close/>
                <a:moveTo>
                  <a:pt x="1006608" y="75251"/>
                </a:moveTo>
                <a:cubicBezTo>
                  <a:pt x="1074892" y="75251"/>
                  <a:pt x="1112518" y="121703"/>
                  <a:pt x="1112518" y="192309"/>
                </a:cubicBezTo>
                <a:cubicBezTo>
                  <a:pt x="1112518" y="262916"/>
                  <a:pt x="1074892" y="309832"/>
                  <a:pt x="1006608" y="309832"/>
                </a:cubicBezTo>
                <a:cubicBezTo>
                  <a:pt x="938788" y="309832"/>
                  <a:pt x="900698" y="263845"/>
                  <a:pt x="900698" y="193238"/>
                </a:cubicBezTo>
                <a:cubicBezTo>
                  <a:pt x="900698" y="122167"/>
                  <a:pt x="938788" y="75251"/>
                  <a:pt x="1006608" y="75251"/>
                </a:cubicBezTo>
                <a:close/>
                <a:moveTo>
                  <a:pt x="1485061" y="74322"/>
                </a:moveTo>
                <a:cubicBezTo>
                  <a:pt x="1489706" y="74322"/>
                  <a:pt x="1494351" y="74787"/>
                  <a:pt x="1498067" y="75716"/>
                </a:cubicBezTo>
                <a:cubicBezTo>
                  <a:pt x="1500390" y="76180"/>
                  <a:pt x="1501783" y="78503"/>
                  <a:pt x="1501783" y="80361"/>
                </a:cubicBezTo>
                <a:lnTo>
                  <a:pt x="1501783" y="105445"/>
                </a:lnTo>
                <a:cubicBezTo>
                  <a:pt x="1501783" y="107303"/>
                  <a:pt x="1499925" y="108696"/>
                  <a:pt x="1498067" y="108696"/>
                </a:cubicBezTo>
                <a:cubicBezTo>
                  <a:pt x="1494816" y="108232"/>
                  <a:pt x="1490170" y="107767"/>
                  <a:pt x="1485525" y="107767"/>
                </a:cubicBezTo>
                <a:cubicBezTo>
                  <a:pt x="1447899" y="107767"/>
                  <a:pt x="1414919" y="130993"/>
                  <a:pt x="1410273" y="179767"/>
                </a:cubicBezTo>
                <a:lnTo>
                  <a:pt x="1410738" y="297290"/>
                </a:lnTo>
                <a:cubicBezTo>
                  <a:pt x="1410738" y="299612"/>
                  <a:pt x="1408880" y="301006"/>
                  <a:pt x="1407022" y="301006"/>
                </a:cubicBezTo>
                <a:lnTo>
                  <a:pt x="1374970" y="301006"/>
                </a:lnTo>
                <a:cubicBezTo>
                  <a:pt x="1372647" y="301006"/>
                  <a:pt x="1371254" y="299148"/>
                  <a:pt x="1371254" y="297290"/>
                </a:cubicBezTo>
                <a:lnTo>
                  <a:pt x="1372647" y="186735"/>
                </a:lnTo>
                <a:lnTo>
                  <a:pt x="1371254" y="80825"/>
                </a:lnTo>
                <a:cubicBezTo>
                  <a:pt x="1371254" y="78503"/>
                  <a:pt x="1373112" y="77109"/>
                  <a:pt x="1374970" y="77109"/>
                </a:cubicBezTo>
                <a:lnTo>
                  <a:pt x="1407022" y="77109"/>
                </a:lnTo>
                <a:cubicBezTo>
                  <a:pt x="1409344" y="77109"/>
                  <a:pt x="1410738" y="78967"/>
                  <a:pt x="1410738" y="80825"/>
                </a:cubicBezTo>
                <a:lnTo>
                  <a:pt x="1408880" y="118451"/>
                </a:lnTo>
                <a:cubicBezTo>
                  <a:pt x="1425138" y="89651"/>
                  <a:pt x="1453474" y="74322"/>
                  <a:pt x="1485061" y="74322"/>
                </a:cubicBezTo>
                <a:close/>
                <a:moveTo>
                  <a:pt x="474736" y="74322"/>
                </a:moveTo>
                <a:cubicBezTo>
                  <a:pt x="539304" y="74322"/>
                  <a:pt x="577859" y="118451"/>
                  <a:pt x="579252" y="193238"/>
                </a:cubicBezTo>
                <a:cubicBezTo>
                  <a:pt x="579252" y="195561"/>
                  <a:pt x="577394" y="196954"/>
                  <a:pt x="575536" y="196954"/>
                </a:cubicBezTo>
                <a:lnTo>
                  <a:pt x="409703" y="196954"/>
                </a:lnTo>
                <a:cubicBezTo>
                  <a:pt x="411097" y="250838"/>
                  <a:pt x="433394" y="279638"/>
                  <a:pt x="477058" y="279638"/>
                </a:cubicBezTo>
                <a:cubicBezTo>
                  <a:pt x="510039" y="279638"/>
                  <a:pt x="530013" y="262451"/>
                  <a:pt x="536517" y="229470"/>
                </a:cubicBezTo>
                <a:cubicBezTo>
                  <a:pt x="536981" y="227148"/>
                  <a:pt x="539304" y="225754"/>
                  <a:pt x="541162" y="225754"/>
                </a:cubicBezTo>
                <a:lnTo>
                  <a:pt x="571820" y="225754"/>
                </a:lnTo>
                <a:lnTo>
                  <a:pt x="571820" y="226219"/>
                </a:lnTo>
                <a:cubicBezTo>
                  <a:pt x="574143" y="226219"/>
                  <a:pt x="575072" y="228077"/>
                  <a:pt x="575072" y="229935"/>
                </a:cubicBezTo>
                <a:cubicBezTo>
                  <a:pt x="568104" y="275457"/>
                  <a:pt x="534194" y="308903"/>
                  <a:pt x="476594" y="308903"/>
                </a:cubicBezTo>
                <a:cubicBezTo>
                  <a:pt x="406916" y="308903"/>
                  <a:pt x="369755" y="260593"/>
                  <a:pt x="369755" y="192309"/>
                </a:cubicBezTo>
                <a:cubicBezTo>
                  <a:pt x="369755" y="122167"/>
                  <a:pt x="409703" y="74322"/>
                  <a:pt x="474736" y="74322"/>
                </a:cubicBezTo>
                <a:close/>
                <a:moveTo>
                  <a:pt x="95226" y="11148"/>
                </a:moveTo>
                <a:lnTo>
                  <a:pt x="127742" y="11148"/>
                </a:lnTo>
                <a:cubicBezTo>
                  <a:pt x="130065" y="11148"/>
                  <a:pt x="131458" y="13006"/>
                  <a:pt x="131458" y="14864"/>
                </a:cubicBezTo>
                <a:lnTo>
                  <a:pt x="131458" y="50632"/>
                </a:lnTo>
                <a:cubicBezTo>
                  <a:pt x="131458" y="52954"/>
                  <a:pt x="129600" y="54348"/>
                  <a:pt x="127742" y="54348"/>
                </a:cubicBezTo>
                <a:lnTo>
                  <a:pt x="95226" y="54348"/>
                </a:lnTo>
                <a:cubicBezTo>
                  <a:pt x="92904" y="54348"/>
                  <a:pt x="91510" y="52490"/>
                  <a:pt x="91510" y="50632"/>
                </a:cubicBezTo>
                <a:lnTo>
                  <a:pt x="91510" y="14864"/>
                </a:lnTo>
                <a:cubicBezTo>
                  <a:pt x="91510" y="12542"/>
                  <a:pt x="93368" y="11148"/>
                  <a:pt x="95226" y="11148"/>
                </a:cubicBezTo>
                <a:close/>
                <a:moveTo>
                  <a:pt x="6038" y="0"/>
                </a:moveTo>
                <a:lnTo>
                  <a:pt x="38090" y="0"/>
                </a:lnTo>
                <a:cubicBezTo>
                  <a:pt x="40412" y="0"/>
                  <a:pt x="41806" y="1858"/>
                  <a:pt x="41806" y="3716"/>
                </a:cubicBezTo>
                <a:lnTo>
                  <a:pt x="39948" y="150039"/>
                </a:lnTo>
                <a:lnTo>
                  <a:pt x="41806" y="300542"/>
                </a:lnTo>
                <a:cubicBezTo>
                  <a:pt x="41806" y="302865"/>
                  <a:pt x="39948" y="304258"/>
                  <a:pt x="38090" y="304258"/>
                </a:cubicBezTo>
                <a:lnTo>
                  <a:pt x="6038" y="304258"/>
                </a:lnTo>
                <a:lnTo>
                  <a:pt x="6038" y="303794"/>
                </a:lnTo>
                <a:cubicBezTo>
                  <a:pt x="3716" y="303794"/>
                  <a:pt x="2322" y="301936"/>
                  <a:pt x="2322" y="300077"/>
                </a:cubicBezTo>
                <a:lnTo>
                  <a:pt x="4180" y="150039"/>
                </a:lnTo>
                <a:lnTo>
                  <a:pt x="2322" y="3716"/>
                </a:lnTo>
                <a:cubicBezTo>
                  <a:pt x="2322" y="1394"/>
                  <a:pt x="4180" y="0"/>
                  <a:pt x="6038" y="0"/>
                </a:cubicBezTo>
                <a:close/>
              </a:path>
            </a:pathLst>
          </a:custGeom>
          <a:solidFill>
            <a:schemeClr val="tx1"/>
          </a:solidFill>
        </p:spPr>
        <p:txBody>
          <a:bodyPr wrap="square">
            <a:noAutofit/>
          </a:bodyPr>
          <a:lstStyle/>
          <a:p>
            <a:pPr lvl="0"/>
            <a:r>
              <a:rPr lang="en-US"/>
              <a:t> </a:t>
            </a:r>
          </a:p>
        </p:txBody>
      </p:sp>
      <p:sp>
        <p:nvSpPr>
          <p:cNvPr id="11" name="LYBL 1" descr="live your best life tagline graphic">
            <a:extLst>
              <a:ext uri="{FF2B5EF4-FFF2-40B4-BE49-F238E27FC236}">
                <a16:creationId xmlns:a16="http://schemas.microsoft.com/office/drawing/2014/main" id="{8B848369-B4E0-1C37-12AC-4CCED5B63508}"/>
              </a:ext>
            </a:extLst>
          </p:cNvPr>
          <p:cNvSpPr>
            <a:spLocks noGrp="1"/>
          </p:cNvSpPr>
          <p:nvPr>
            <p:ph type="body" sz="quarter" idx="22" hasCustomPrompt="1"/>
          </p:nvPr>
        </p:nvSpPr>
        <p:spPr>
          <a:xfrm>
            <a:off x="13940543" y="1088687"/>
            <a:ext cx="783622" cy="1440313"/>
          </a:xfrm>
          <a:custGeom>
            <a:avLst/>
            <a:gdLst>
              <a:gd name="connsiteX0" fmla="*/ 402004 w 783622"/>
              <a:gd name="connsiteY0" fmla="*/ 1240933 h 1440313"/>
              <a:gd name="connsiteX1" fmla="*/ 339754 w 783622"/>
              <a:gd name="connsiteY1" fmla="*/ 1304987 h 1440313"/>
              <a:gd name="connsiteX2" fmla="*/ 461547 w 783622"/>
              <a:gd name="connsiteY2" fmla="*/ 1304987 h 1440313"/>
              <a:gd name="connsiteX3" fmla="*/ 402004 w 783622"/>
              <a:gd name="connsiteY3" fmla="*/ 1240933 h 1440313"/>
              <a:gd name="connsiteX4" fmla="*/ 112860 w 783622"/>
              <a:gd name="connsiteY4" fmla="*/ 1218379 h 1440313"/>
              <a:gd name="connsiteX5" fmla="*/ 144436 w 783622"/>
              <a:gd name="connsiteY5" fmla="*/ 1218379 h 1440313"/>
              <a:gd name="connsiteX6" fmla="*/ 148044 w 783622"/>
              <a:gd name="connsiteY6" fmla="*/ 1221987 h 1440313"/>
              <a:gd name="connsiteX7" fmla="*/ 147142 w 783622"/>
              <a:gd name="connsiteY7" fmla="*/ 1323481 h 1440313"/>
              <a:gd name="connsiteX8" fmla="*/ 148044 w 783622"/>
              <a:gd name="connsiteY8" fmla="*/ 1432193 h 1440313"/>
              <a:gd name="connsiteX9" fmla="*/ 144436 w 783622"/>
              <a:gd name="connsiteY9" fmla="*/ 1435801 h 1440313"/>
              <a:gd name="connsiteX10" fmla="*/ 112860 w 783622"/>
              <a:gd name="connsiteY10" fmla="*/ 1435801 h 1440313"/>
              <a:gd name="connsiteX11" fmla="*/ 109251 w 783622"/>
              <a:gd name="connsiteY11" fmla="*/ 1432193 h 1440313"/>
              <a:gd name="connsiteX12" fmla="*/ 110153 w 783622"/>
              <a:gd name="connsiteY12" fmla="*/ 1323932 h 1440313"/>
              <a:gd name="connsiteX13" fmla="*/ 109251 w 783622"/>
              <a:gd name="connsiteY13" fmla="*/ 1221987 h 1440313"/>
              <a:gd name="connsiteX14" fmla="*/ 112860 w 783622"/>
              <a:gd name="connsiteY14" fmla="*/ 1218379 h 1440313"/>
              <a:gd name="connsiteX15" fmla="*/ 401553 w 783622"/>
              <a:gd name="connsiteY15" fmla="*/ 1212515 h 1440313"/>
              <a:gd name="connsiteX16" fmla="*/ 503047 w 783622"/>
              <a:gd name="connsiteY16" fmla="*/ 1327993 h 1440313"/>
              <a:gd name="connsiteX17" fmla="*/ 499438 w 783622"/>
              <a:gd name="connsiteY17" fmla="*/ 1331601 h 1440313"/>
              <a:gd name="connsiteX18" fmla="*/ 338852 w 783622"/>
              <a:gd name="connsiteY18" fmla="*/ 1331601 h 1440313"/>
              <a:gd name="connsiteX19" fmla="*/ 404260 w 783622"/>
              <a:gd name="connsiteY19" fmla="*/ 1411894 h 1440313"/>
              <a:gd name="connsiteX20" fmla="*/ 461998 w 783622"/>
              <a:gd name="connsiteY20" fmla="*/ 1363177 h 1440313"/>
              <a:gd name="connsiteX21" fmla="*/ 466509 w 783622"/>
              <a:gd name="connsiteY21" fmla="*/ 1359569 h 1440313"/>
              <a:gd name="connsiteX22" fmla="*/ 495830 w 783622"/>
              <a:gd name="connsiteY22" fmla="*/ 1359569 h 1440313"/>
              <a:gd name="connsiteX23" fmla="*/ 495830 w 783622"/>
              <a:gd name="connsiteY23" fmla="*/ 1360020 h 1440313"/>
              <a:gd name="connsiteX24" fmla="*/ 498987 w 783622"/>
              <a:gd name="connsiteY24" fmla="*/ 1363628 h 1440313"/>
              <a:gd name="connsiteX25" fmla="*/ 403357 w 783622"/>
              <a:gd name="connsiteY25" fmla="*/ 1440313 h 1440313"/>
              <a:gd name="connsiteX26" fmla="*/ 299608 w 783622"/>
              <a:gd name="connsiteY26" fmla="*/ 1327090 h 1440313"/>
              <a:gd name="connsiteX27" fmla="*/ 401553 w 783622"/>
              <a:gd name="connsiteY27" fmla="*/ 1212515 h 1440313"/>
              <a:gd name="connsiteX28" fmla="*/ 112860 w 783622"/>
              <a:gd name="connsiteY28" fmla="*/ 1151167 h 1440313"/>
              <a:gd name="connsiteX29" fmla="*/ 144436 w 783622"/>
              <a:gd name="connsiteY29" fmla="*/ 1151167 h 1440313"/>
              <a:gd name="connsiteX30" fmla="*/ 148044 w 783622"/>
              <a:gd name="connsiteY30" fmla="*/ 1154776 h 1440313"/>
              <a:gd name="connsiteX31" fmla="*/ 148044 w 783622"/>
              <a:gd name="connsiteY31" fmla="*/ 1189509 h 1440313"/>
              <a:gd name="connsiteX32" fmla="*/ 144436 w 783622"/>
              <a:gd name="connsiteY32" fmla="*/ 1193118 h 1440313"/>
              <a:gd name="connsiteX33" fmla="*/ 112860 w 783622"/>
              <a:gd name="connsiteY33" fmla="*/ 1193118 h 1440313"/>
              <a:gd name="connsiteX34" fmla="*/ 109251 w 783622"/>
              <a:gd name="connsiteY34" fmla="*/ 1189509 h 1440313"/>
              <a:gd name="connsiteX35" fmla="*/ 109251 w 783622"/>
              <a:gd name="connsiteY35" fmla="*/ 1154776 h 1440313"/>
              <a:gd name="connsiteX36" fmla="*/ 112860 w 783622"/>
              <a:gd name="connsiteY36" fmla="*/ 1151167 h 1440313"/>
              <a:gd name="connsiteX37" fmla="*/ 29860 w 783622"/>
              <a:gd name="connsiteY37" fmla="*/ 1140793 h 1440313"/>
              <a:gd name="connsiteX38" fmla="*/ 60984 w 783622"/>
              <a:gd name="connsiteY38" fmla="*/ 1140793 h 1440313"/>
              <a:gd name="connsiteX39" fmla="*/ 64593 w 783622"/>
              <a:gd name="connsiteY39" fmla="*/ 1144402 h 1440313"/>
              <a:gd name="connsiteX40" fmla="*/ 62789 w 783622"/>
              <a:gd name="connsiteY40" fmla="*/ 1286493 h 1440313"/>
              <a:gd name="connsiteX41" fmla="*/ 64593 w 783622"/>
              <a:gd name="connsiteY41" fmla="*/ 1432644 h 1440313"/>
              <a:gd name="connsiteX42" fmla="*/ 60984 w 783622"/>
              <a:gd name="connsiteY42" fmla="*/ 1436253 h 1440313"/>
              <a:gd name="connsiteX43" fmla="*/ 29860 w 783622"/>
              <a:gd name="connsiteY43" fmla="*/ 1436253 h 1440313"/>
              <a:gd name="connsiteX44" fmla="*/ 29860 w 783622"/>
              <a:gd name="connsiteY44" fmla="*/ 1435802 h 1440313"/>
              <a:gd name="connsiteX45" fmla="*/ 26251 w 783622"/>
              <a:gd name="connsiteY45" fmla="*/ 1432193 h 1440313"/>
              <a:gd name="connsiteX46" fmla="*/ 28055 w 783622"/>
              <a:gd name="connsiteY46" fmla="*/ 1286493 h 1440313"/>
              <a:gd name="connsiteX47" fmla="*/ 26251 w 783622"/>
              <a:gd name="connsiteY47" fmla="*/ 1144402 h 1440313"/>
              <a:gd name="connsiteX48" fmla="*/ 29860 w 783622"/>
              <a:gd name="connsiteY48" fmla="*/ 1140793 h 1440313"/>
              <a:gd name="connsiteX49" fmla="*/ 268483 w 783622"/>
              <a:gd name="connsiteY49" fmla="*/ 1134928 h 1440313"/>
              <a:gd name="connsiteX50" fmla="*/ 296901 w 783622"/>
              <a:gd name="connsiteY50" fmla="*/ 1138086 h 1440313"/>
              <a:gd name="connsiteX51" fmla="*/ 300510 w 783622"/>
              <a:gd name="connsiteY51" fmla="*/ 1142596 h 1440313"/>
              <a:gd name="connsiteX52" fmla="*/ 300510 w 783622"/>
              <a:gd name="connsiteY52" fmla="*/ 1164248 h 1440313"/>
              <a:gd name="connsiteX53" fmla="*/ 296901 w 783622"/>
              <a:gd name="connsiteY53" fmla="*/ 1167406 h 1440313"/>
              <a:gd name="connsiteX54" fmla="*/ 277054 w 783622"/>
              <a:gd name="connsiteY54" fmla="*/ 1164700 h 1440313"/>
              <a:gd name="connsiteX55" fmla="*/ 249086 w 783622"/>
              <a:gd name="connsiteY55" fmla="*/ 1202591 h 1440313"/>
              <a:gd name="connsiteX56" fmla="*/ 249086 w 783622"/>
              <a:gd name="connsiteY56" fmla="*/ 1218830 h 1440313"/>
              <a:gd name="connsiteX57" fmla="*/ 296450 w 783622"/>
              <a:gd name="connsiteY57" fmla="*/ 1218830 h 1440313"/>
              <a:gd name="connsiteX58" fmla="*/ 300059 w 783622"/>
              <a:gd name="connsiteY58" fmla="*/ 1222438 h 1440313"/>
              <a:gd name="connsiteX59" fmla="*/ 300059 w 783622"/>
              <a:gd name="connsiteY59" fmla="*/ 1244542 h 1440313"/>
              <a:gd name="connsiteX60" fmla="*/ 296450 w 783622"/>
              <a:gd name="connsiteY60" fmla="*/ 1248150 h 1440313"/>
              <a:gd name="connsiteX61" fmla="*/ 248635 w 783622"/>
              <a:gd name="connsiteY61" fmla="*/ 1248150 h 1440313"/>
              <a:gd name="connsiteX62" fmla="*/ 248635 w 783622"/>
              <a:gd name="connsiteY62" fmla="*/ 1337465 h 1440313"/>
              <a:gd name="connsiteX63" fmla="*/ 249988 w 783622"/>
              <a:gd name="connsiteY63" fmla="*/ 1431742 h 1440313"/>
              <a:gd name="connsiteX64" fmla="*/ 246380 w 783622"/>
              <a:gd name="connsiteY64" fmla="*/ 1435350 h 1440313"/>
              <a:gd name="connsiteX65" fmla="*/ 213902 w 783622"/>
              <a:gd name="connsiteY65" fmla="*/ 1435350 h 1440313"/>
              <a:gd name="connsiteX66" fmla="*/ 210293 w 783622"/>
              <a:gd name="connsiteY66" fmla="*/ 1431742 h 1440313"/>
              <a:gd name="connsiteX67" fmla="*/ 211646 w 783622"/>
              <a:gd name="connsiteY67" fmla="*/ 1337465 h 1440313"/>
              <a:gd name="connsiteX68" fmla="*/ 211646 w 783622"/>
              <a:gd name="connsiteY68" fmla="*/ 1247699 h 1440313"/>
              <a:gd name="connsiteX69" fmla="*/ 181424 w 783622"/>
              <a:gd name="connsiteY69" fmla="*/ 1247699 h 1440313"/>
              <a:gd name="connsiteX70" fmla="*/ 177815 w 783622"/>
              <a:gd name="connsiteY70" fmla="*/ 1244090 h 1440313"/>
              <a:gd name="connsiteX71" fmla="*/ 177815 w 783622"/>
              <a:gd name="connsiteY71" fmla="*/ 1221987 h 1440313"/>
              <a:gd name="connsiteX72" fmla="*/ 181424 w 783622"/>
              <a:gd name="connsiteY72" fmla="*/ 1218379 h 1440313"/>
              <a:gd name="connsiteX73" fmla="*/ 211646 w 783622"/>
              <a:gd name="connsiteY73" fmla="*/ 1218379 h 1440313"/>
              <a:gd name="connsiteX74" fmla="*/ 211646 w 783622"/>
              <a:gd name="connsiteY74" fmla="*/ 1199433 h 1440313"/>
              <a:gd name="connsiteX75" fmla="*/ 268483 w 783622"/>
              <a:gd name="connsiteY75" fmla="*/ 1134928 h 1440313"/>
              <a:gd name="connsiteX76" fmla="*/ 121430 w 783622"/>
              <a:gd name="connsiteY76" fmla="*/ 828191 h 1440313"/>
              <a:gd name="connsiteX77" fmla="*/ 60534 w 783622"/>
              <a:gd name="connsiteY77" fmla="*/ 910288 h 1440313"/>
              <a:gd name="connsiteX78" fmla="*/ 120528 w 783622"/>
              <a:gd name="connsiteY78" fmla="*/ 996897 h 1440313"/>
              <a:gd name="connsiteX79" fmla="*/ 182327 w 783622"/>
              <a:gd name="connsiteY79" fmla="*/ 914348 h 1440313"/>
              <a:gd name="connsiteX80" fmla="*/ 121430 w 783622"/>
              <a:gd name="connsiteY80" fmla="*/ 828191 h 1440313"/>
              <a:gd name="connsiteX81" fmla="*/ 345619 w 783622"/>
              <a:gd name="connsiteY81" fmla="*/ 826838 h 1440313"/>
              <a:gd name="connsiteX82" fmla="*/ 283369 w 783622"/>
              <a:gd name="connsiteY82" fmla="*/ 890892 h 1440313"/>
              <a:gd name="connsiteX83" fmla="*/ 405162 w 783622"/>
              <a:gd name="connsiteY83" fmla="*/ 890892 h 1440313"/>
              <a:gd name="connsiteX84" fmla="*/ 345619 w 783622"/>
              <a:gd name="connsiteY84" fmla="*/ 826838 h 1440313"/>
              <a:gd name="connsiteX85" fmla="*/ 556726 w 783622"/>
              <a:gd name="connsiteY85" fmla="*/ 800224 h 1440313"/>
              <a:gd name="connsiteX86" fmla="*/ 647394 w 783622"/>
              <a:gd name="connsiteY86" fmla="*/ 866533 h 1440313"/>
              <a:gd name="connsiteX87" fmla="*/ 643785 w 783622"/>
              <a:gd name="connsiteY87" fmla="*/ 870142 h 1440313"/>
              <a:gd name="connsiteX88" fmla="*/ 615367 w 783622"/>
              <a:gd name="connsiteY88" fmla="*/ 870142 h 1440313"/>
              <a:gd name="connsiteX89" fmla="*/ 611307 w 783622"/>
              <a:gd name="connsiteY89" fmla="*/ 866533 h 1440313"/>
              <a:gd name="connsiteX90" fmla="*/ 556275 w 783622"/>
              <a:gd name="connsiteY90" fmla="*/ 826387 h 1440313"/>
              <a:gd name="connsiteX91" fmla="*/ 507558 w 783622"/>
              <a:gd name="connsiteY91" fmla="*/ 861571 h 1440313"/>
              <a:gd name="connsiteX92" fmla="*/ 654160 w 783622"/>
              <a:gd name="connsiteY92" fmla="*/ 959908 h 1440313"/>
              <a:gd name="connsiteX93" fmla="*/ 563041 w 783622"/>
              <a:gd name="connsiteY93" fmla="*/ 1026217 h 1440313"/>
              <a:gd name="connsiteX94" fmla="*/ 466058 w 783622"/>
              <a:gd name="connsiteY94" fmla="*/ 950435 h 1440313"/>
              <a:gd name="connsiteX95" fmla="*/ 469667 w 783622"/>
              <a:gd name="connsiteY95" fmla="*/ 946826 h 1440313"/>
              <a:gd name="connsiteX96" fmla="*/ 499438 w 783622"/>
              <a:gd name="connsiteY96" fmla="*/ 946826 h 1440313"/>
              <a:gd name="connsiteX97" fmla="*/ 503047 w 783622"/>
              <a:gd name="connsiteY97" fmla="*/ 950435 h 1440313"/>
              <a:gd name="connsiteX98" fmla="*/ 564394 w 783622"/>
              <a:gd name="connsiteY98" fmla="*/ 1000054 h 1440313"/>
              <a:gd name="connsiteX99" fmla="*/ 617622 w 783622"/>
              <a:gd name="connsiteY99" fmla="*/ 962614 h 1440313"/>
              <a:gd name="connsiteX100" fmla="*/ 471020 w 783622"/>
              <a:gd name="connsiteY100" fmla="*/ 863827 h 1440313"/>
              <a:gd name="connsiteX101" fmla="*/ 556726 w 783622"/>
              <a:gd name="connsiteY101" fmla="*/ 800224 h 1440313"/>
              <a:gd name="connsiteX102" fmla="*/ 345168 w 783622"/>
              <a:gd name="connsiteY102" fmla="*/ 798420 h 1440313"/>
              <a:gd name="connsiteX103" fmla="*/ 446662 w 783622"/>
              <a:gd name="connsiteY103" fmla="*/ 913898 h 1440313"/>
              <a:gd name="connsiteX104" fmla="*/ 443053 w 783622"/>
              <a:gd name="connsiteY104" fmla="*/ 917506 h 1440313"/>
              <a:gd name="connsiteX105" fmla="*/ 282467 w 783622"/>
              <a:gd name="connsiteY105" fmla="*/ 917506 h 1440313"/>
              <a:gd name="connsiteX106" fmla="*/ 347875 w 783622"/>
              <a:gd name="connsiteY106" fmla="*/ 997799 h 1440313"/>
              <a:gd name="connsiteX107" fmla="*/ 405613 w 783622"/>
              <a:gd name="connsiteY107" fmla="*/ 949082 h 1440313"/>
              <a:gd name="connsiteX108" fmla="*/ 410124 w 783622"/>
              <a:gd name="connsiteY108" fmla="*/ 945473 h 1440313"/>
              <a:gd name="connsiteX109" fmla="*/ 439445 w 783622"/>
              <a:gd name="connsiteY109" fmla="*/ 945473 h 1440313"/>
              <a:gd name="connsiteX110" fmla="*/ 439445 w 783622"/>
              <a:gd name="connsiteY110" fmla="*/ 945925 h 1440313"/>
              <a:gd name="connsiteX111" fmla="*/ 442602 w 783622"/>
              <a:gd name="connsiteY111" fmla="*/ 949533 h 1440313"/>
              <a:gd name="connsiteX112" fmla="*/ 346972 w 783622"/>
              <a:gd name="connsiteY112" fmla="*/ 1026218 h 1440313"/>
              <a:gd name="connsiteX113" fmla="*/ 243223 w 783622"/>
              <a:gd name="connsiteY113" fmla="*/ 912995 h 1440313"/>
              <a:gd name="connsiteX114" fmla="*/ 345168 w 783622"/>
              <a:gd name="connsiteY114" fmla="*/ 798420 h 1440313"/>
              <a:gd name="connsiteX115" fmla="*/ 691149 w 783622"/>
              <a:gd name="connsiteY115" fmla="*/ 749702 h 1440313"/>
              <a:gd name="connsiteX116" fmla="*/ 722274 w 783622"/>
              <a:gd name="connsiteY116" fmla="*/ 749702 h 1440313"/>
              <a:gd name="connsiteX117" fmla="*/ 725882 w 783622"/>
              <a:gd name="connsiteY117" fmla="*/ 753311 h 1440313"/>
              <a:gd name="connsiteX118" fmla="*/ 725431 w 783622"/>
              <a:gd name="connsiteY118" fmla="*/ 803832 h 1440313"/>
              <a:gd name="connsiteX119" fmla="*/ 775050 w 783622"/>
              <a:gd name="connsiteY119" fmla="*/ 803832 h 1440313"/>
              <a:gd name="connsiteX120" fmla="*/ 778659 w 783622"/>
              <a:gd name="connsiteY120" fmla="*/ 807441 h 1440313"/>
              <a:gd name="connsiteX121" fmla="*/ 778659 w 783622"/>
              <a:gd name="connsiteY121" fmla="*/ 829995 h 1440313"/>
              <a:gd name="connsiteX122" fmla="*/ 775050 w 783622"/>
              <a:gd name="connsiteY122" fmla="*/ 833604 h 1440313"/>
              <a:gd name="connsiteX123" fmla="*/ 725431 w 783622"/>
              <a:gd name="connsiteY123" fmla="*/ 833604 h 1440313"/>
              <a:gd name="connsiteX124" fmla="*/ 725431 w 783622"/>
              <a:gd name="connsiteY124" fmla="*/ 960358 h 1440313"/>
              <a:gd name="connsiteX125" fmla="*/ 752947 w 783622"/>
              <a:gd name="connsiteY125" fmla="*/ 994641 h 1440313"/>
              <a:gd name="connsiteX126" fmla="*/ 775501 w 783622"/>
              <a:gd name="connsiteY126" fmla="*/ 991934 h 1440313"/>
              <a:gd name="connsiteX127" fmla="*/ 779110 w 783622"/>
              <a:gd name="connsiteY127" fmla="*/ 994641 h 1440313"/>
              <a:gd name="connsiteX128" fmla="*/ 779110 w 783622"/>
              <a:gd name="connsiteY128" fmla="*/ 1014940 h 1440313"/>
              <a:gd name="connsiteX129" fmla="*/ 779561 w 783622"/>
              <a:gd name="connsiteY129" fmla="*/ 1014940 h 1440313"/>
              <a:gd name="connsiteX130" fmla="*/ 775953 w 783622"/>
              <a:gd name="connsiteY130" fmla="*/ 1019902 h 1440313"/>
              <a:gd name="connsiteX131" fmla="*/ 746181 w 783622"/>
              <a:gd name="connsiteY131" fmla="*/ 1024863 h 1440313"/>
              <a:gd name="connsiteX132" fmla="*/ 687991 w 783622"/>
              <a:gd name="connsiteY132" fmla="*/ 961261 h 1440313"/>
              <a:gd name="connsiteX133" fmla="*/ 687991 w 783622"/>
              <a:gd name="connsiteY133" fmla="*/ 833604 h 1440313"/>
              <a:gd name="connsiteX134" fmla="*/ 664084 w 783622"/>
              <a:gd name="connsiteY134" fmla="*/ 833604 h 1440313"/>
              <a:gd name="connsiteX135" fmla="*/ 660475 w 783622"/>
              <a:gd name="connsiteY135" fmla="*/ 829995 h 1440313"/>
              <a:gd name="connsiteX136" fmla="*/ 660475 w 783622"/>
              <a:gd name="connsiteY136" fmla="*/ 807441 h 1440313"/>
              <a:gd name="connsiteX137" fmla="*/ 664084 w 783622"/>
              <a:gd name="connsiteY137" fmla="*/ 803832 h 1440313"/>
              <a:gd name="connsiteX138" fmla="*/ 687991 w 783622"/>
              <a:gd name="connsiteY138" fmla="*/ 803832 h 1440313"/>
              <a:gd name="connsiteX139" fmla="*/ 687540 w 783622"/>
              <a:gd name="connsiteY139" fmla="*/ 753311 h 1440313"/>
              <a:gd name="connsiteX140" fmla="*/ 691149 w 783622"/>
              <a:gd name="connsiteY140" fmla="*/ 749702 h 1440313"/>
              <a:gd name="connsiteX141" fmla="*/ 27605 w 783622"/>
              <a:gd name="connsiteY141" fmla="*/ 737072 h 1440313"/>
              <a:gd name="connsiteX142" fmla="*/ 59181 w 783622"/>
              <a:gd name="connsiteY142" fmla="*/ 737072 h 1440313"/>
              <a:gd name="connsiteX143" fmla="*/ 62789 w 783622"/>
              <a:gd name="connsiteY143" fmla="*/ 740681 h 1440313"/>
              <a:gd name="connsiteX144" fmla="*/ 62338 w 783622"/>
              <a:gd name="connsiteY144" fmla="*/ 837664 h 1440313"/>
              <a:gd name="connsiteX145" fmla="*/ 131354 w 783622"/>
              <a:gd name="connsiteY145" fmla="*/ 799773 h 1440313"/>
              <a:gd name="connsiteX146" fmla="*/ 221120 w 783622"/>
              <a:gd name="connsiteY146" fmla="*/ 912093 h 1440313"/>
              <a:gd name="connsiteX147" fmla="*/ 130452 w 783622"/>
              <a:gd name="connsiteY147" fmla="*/ 1025766 h 1440313"/>
              <a:gd name="connsiteX148" fmla="*/ 61436 w 783622"/>
              <a:gd name="connsiteY148" fmla="*/ 987875 h 1440313"/>
              <a:gd name="connsiteX149" fmla="*/ 62338 w 783622"/>
              <a:gd name="connsiteY149" fmla="*/ 1017646 h 1440313"/>
              <a:gd name="connsiteX150" fmla="*/ 58729 w 783622"/>
              <a:gd name="connsiteY150" fmla="*/ 1021255 h 1440313"/>
              <a:gd name="connsiteX151" fmla="*/ 27605 w 783622"/>
              <a:gd name="connsiteY151" fmla="*/ 1021255 h 1440313"/>
              <a:gd name="connsiteX152" fmla="*/ 23996 w 783622"/>
              <a:gd name="connsiteY152" fmla="*/ 1017646 h 1440313"/>
              <a:gd name="connsiteX153" fmla="*/ 25349 w 783622"/>
              <a:gd name="connsiteY153" fmla="*/ 859316 h 1440313"/>
              <a:gd name="connsiteX154" fmla="*/ 23996 w 783622"/>
              <a:gd name="connsiteY154" fmla="*/ 740681 h 1440313"/>
              <a:gd name="connsiteX155" fmla="*/ 27605 w 783622"/>
              <a:gd name="connsiteY155" fmla="*/ 737072 h 1440313"/>
              <a:gd name="connsiteX156" fmla="*/ 302766 w 783622"/>
              <a:gd name="connsiteY156" fmla="*/ 438003 h 1440313"/>
              <a:gd name="connsiteX157" fmla="*/ 239163 w 783622"/>
              <a:gd name="connsiteY157" fmla="*/ 524160 h 1440313"/>
              <a:gd name="connsiteX158" fmla="*/ 302766 w 783622"/>
              <a:gd name="connsiteY158" fmla="*/ 608964 h 1440313"/>
              <a:gd name="connsiteX159" fmla="*/ 365918 w 783622"/>
              <a:gd name="connsiteY159" fmla="*/ 524160 h 1440313"/>
              <a:gd name="connsiteX160" fmla="*/ 302766 w 783622"/>
              <a:gd name="connsiteY160" fmla="*/ 438003 h 1440313"/>
              <a:gd name="connsiteX161" fmla="*/ 433129 w 783622"/>
              <a:gd name="connsiteY161" fmla="*/ 415449 h 1440313"/>
              <a:gd name="connsiteX162" fmla="*/ 464705 w 783622"/>
              <a:gd name="connsiteY162" fmla="*/ 415449 h 1440313"/>
              <a:gd name="connsiteX163" fmla="*/ 468313 w 783622"/>
              <a:gd name="connsiteY163" fmla="*/ 419058 h 1440313"/>
              <a:gd name="connsiteX164" fmla="*/ 467411 w 783622"/>
              <a:gd name="connsiteY164" fmla="*/ 507921 h 1440313"/>
              <a:gd name="connsiteX165" fmla="*/ 467411 w 783622"/>
              <a:gd name="connsiteY165" fmla="*/ 549872 h 1440313"/>
              <a:gd name="connsiteX166" fmla="*/ 513422 w 783622"/>
              <a:gd name="connsiteY166" fmla="*/ 606709 h 1440313"/>
              <a:gd name="connsiteX167" fmla="*/ 573416 w 783622"/>
              <a:gd name="connsiteY167" fmla="*/ 540850 h 1440313"/>
              <a:gd name="connsiteX168" fmla="*/ 573416 w 783622"/>
              <a:gd name="connsiteY168" fmla="*/ 507921 h 1440313"/>
              <a:gd name="connsiteX169" fmla="*/ 572514 w 783622"/>
              <a:gd name="connsiteY169" fmla="*/ 419058 h 1440313"/>
              <a:gd name="connsiteX170" fmla="*/ 576122 w 783622"/>
              <a:gd name="connsiteY170" fmla="*/ 415449 h 1440313"/>
              <a:gd name="connsiteX171" fmla="*/ 608149 w 783622"/>
              <a:gd name="connsiteY171" fmla="*/ 415449 h 1440313"/>
              <a:gd name="connsiteX172" fmla="*/ 611758 w 783622"/>
              <a:gd name="connsiteY172" fmla="*/ 419058 h 1440313"/>
              <a:gd name="connsiteX173" fmla="*/ 610405 w 783622"/>
              <a:gd name="connsiteY173" fmla="*/ 514688 h 1440313"/>
              <a:gd name="connsiteX174" fmla="*/ 611307 w 783622"/>
              <a:gd name="connsiteY174" fmla="*/ 629263 h 1440313"/>
              <a:gd name="connsiteX175" fmla="*/ 607698 w 783622"/>
              <a:gd name="connsiteY175" fmla="*/ 632872 h 1440313"/>
              <a:gd name="connsiteX176" fmla="*/ 577927 w 783622"/>
              <a:gd name="connsiteY176" fmla="*/ 632872 h 1440313"/>
              <a:gd name="connsiteX177" fmla="*/ 574318 w 783622"/>
              <a:gd name="connsiteY177" fmla="*/ 629263 h 1440313"/>
              <a:gd name="connsiteX178" fmla="*/ 575220 w 783622"/>
              <a:gd name="connsiteY178" fmla="*/ 595883 h 1440313"/>
              <a:gd name="connsiteX179" fmla="*/ 503498 w 783622"/>
              <a:gd name="connsiteY179" fmla="*/ 637383 h 1440313"/>
              <a:gd name="connsiteX180" fmla="*/ 430422 w 783622"/>
              <a:gd name="connsiteY180" fmla="*/ 550774 h 1440313"/>
              <a:gd name="connsiteX181" fmla="*/ 430422 w 783622"/>
              <a:gd name="connsiteY181" fmla="*/ 507921 h 1440313"/>
              <a:gd name="connsiteX182" fmla="*/ 429520 w 783622"/>
              <a:gd name="connsiteY182" fmla="*/ 419058 h 1440313"/>
              <a:gd name="connsiteX183" fmla="*/ 433129 w 783622"/>
              <a:gd name="connsiteY183" fmla="*/ 415449 h 1440313"/>
              <a:gd name="connsiteX184" fmla="*/ 2795 w 783622"/>
              <a:gd name="connsiteY184" fmla="*/ 414998 h 1440313"/>
              <a:gd name="connsiteX185" fmla="*/ 38882 w 783622"/>
              <a:gd name="connsiteY185" fmla="*/ 414998 h 1440313"/>
              <a:gd name="connsiteX186" fmla="*/ 43844 w 783622"/>
              <a:gd name="connsiteY186" fmla="*/ 418156 h 1440313"/>
              <a:gd name="connsiteX187" fmla="*/ 105642 w 783622"/>
              <a:gd name="connsiteY187" fmla="*/ 582350 h 1440313"/>
              <a:gd name="connsiteX188" fmla="*/ 157517 w 783622"/>
              <a:gd name="connsiteY188" fmla="*/ 418607 h 1440313"/>
              <a:gd name="connsiteX189" fmla="*/ 162479 w 783622"/>
              <a:gd name="connsiteY189" fmla="*/ 414998 h 1440313"/>
              <a:gd name="connsiteX190" fmla="*/ 194506 w 783622"/>
              <a:gd name="connsiteY190" fmla="*/ 414998 h 1440313"/>
              <a:gd name="connsiteX191" fmla="*/ 197212 w 783622"/>
              <a:gd name="connsiteY191" fmla="*/ 418607 h 1440313"/>
              <a:gd name="connsiteX192" fmla="*/ 98876 w 783622"/>
              <a:gd name="connsiteY192" fmla="*/ 696475 h 1440313"/>
              <a:gd name="connsiteX193" fmla="*/ 93914 w 783622"/>
              <a:gd name="connsiteY193" fmla="*/ 700083 h 1440313"/>
              <a:gd name="connsiteX194" fmla="*/ 64593 w 783622"/>
              <a:gd name="connsiteY194" fmla="*/ 700083 h 1440313"/>
              <a:gd name="connsiteX195" fmla="*/ 61887 w 783622"/>
              <a:gd name="connsiteY195" fmla="*/ 696475 h 1440313"/>
              <a:gd name="connsiteX196" fmla="*/ 84892 w 783622"/>
              <a:gd name="connsiteY196" fmla="*/ 632421 h 1440313"/>
              <a:gd name="connsiteX197" fmla="*/ 88 w 783622"/>
              <a:gd name="connsiteY197" fmla="*/ 418156 h 1440313"/>
              <a:gd name="connsiteX198" fmla="*/ 2795 w 783622"/>
              <a:gd name="connsiteY198" fmla="*/ 414998 h 1440313"/>
              <a:gd name="connsiteX199" fmla="*/ 302766 w 783622"/>
              <a:gd name="connsiteY199" fmla="*/ 409585 h 1440313"/>
              <a:gd name="connsiteX200" fmla="*/ 405613 w 783622"/>
              <a:gd name="connsiteY200" fmla="*/ 523258 h 1440313"/>
              <a:gd name="connsiteX201" fmla="*/ 302766 w 783622"/>
              <a:gd name="connsiteY201" fmla="*/ 637383 h 1440313"/>
              <a:gd name="connsiteX202" fmla="*/ 199919 w 783622"/>
              <a:gd name="connsiteY202" fmla="*/ 524160 h 1440313"/>
              <a:gd name="connsiteX203" fmla="*/ 302766 w 783622"/>
              <a:gd name="connsiteY203" fmla="*/ 409585 h 1440313"/>
              <a:gd name="connsiteX204" fmla="*/ 767383 w 783622"/>
              <a:gd name="connsiteY204" fmla="*/ 408683 h 1440313"/>
              <a:gd name="connsiteX205" fmla="*/ 780013 w 783622"/>
              <a:gd name="connsiteY205" fmla="*/ 410036 h 1440313"/>
              <a:gd name="connsiteX206" fmla="*/ 783622 w 783622"/>
              <a:gd name="connsiteY206" fmla="*/ 414547 h 1440313"/>
              <a:gd name="connsiteX207" fmla="*/ 783622 w 783622"/>
              <a:gd name="connsiteY207" fmla="*/ 438003 h 1440313"/>
              <a:gd name="connsiteX208" fmla="*/ 780013 w 783622"/>
              <a:gd name="connsiteY208" fmla="*/ 441161 h 1440313"/>
              <a:gd name="connsiteX209" fmla="*/ 767834 w 783622"/>
              <a:gd name="connsiteY209" fmla="*/ 440259 h 1440313"/>
              <a:gd name="connsiteX210" fmla="*/ 694758 w 783622"/>
              <a:gd name="connsiteY210" fmla="*/ 510177 h 1440313"/>
              <a:gd name="connsiteX211" fmla="*/ 695209 w 783622"/>
              <a:gd name="connsiteY211" fmla="*/ 624301 h 1440313"/>
              <a:gd name="connsiteX212" fmla="*/ 691600 w 783622"/>
              <a:gd name="connsiteY212" fmla="*/ 627910 h 1440313"/>
              <a:gd name="connsiteX213" fmla="*/ 660476 w 783622"/>
              <a:gd name="connsiteY213" fmla="*/ 627910 h 1440313"/>
              <a:gd name="connsiteX214" fmla="*/ 660476 w 783622"/>
              <a:gd name="connsiteY214" fmla="*/ 628361 h 1440313"/>
              <a:gd name="connsiteX215" fmla="*/ 656867 w 783622"/>
              <a:gd name="connsiteY215" fmla="*/ 624752 h 1440313"/>
              <a:gd name="connsiteX216" fmla="*/ 658220 w 783622"/>
              <a:gd name="connsiteY216" fmla="*/ 517394 h 1440313"/>
              <a:gd name="connsiteX217" fmla="*/ 656867 w 783622"/>
              <a:gd name="connsiteY217" fmla="*/ 414998 h 1440313"/>
              <a:gd name="connsiteX218" fmla="*/ 660476 w 783622"/>
              <a:gd name="connsiteY218" fmla="*/ 411390 h 1440313"/>
              <a:gd name="connsiteX219" fmla="*/ 691600 w 783622"/>
              <a:gd name="connsiteY219" fmla="*/ 411390 h 1440313"/>
              <a:gd name="connsiteX220" fmla="*/ 695209 w 783622"/>
              <a:gd name="connsiteY220" fmla="*/ 414998 h 1440313"/>
              <a:gd name="connsiteX221" fmla="*/ 693405 w 783622"/>
              <a:gd name="connsiteY221" fmla="*/ 451536 h 1440313"/>
              <a:gd name="connsiteX222" fmla="*/ 767383 w 783622"/>
              <a:gd name="connsiteY222" fmla="*/ 408683 h 1440313"/>
              <a:gd name="connsiteX223" fmla="*/ 485455 w 783622"/>
              <a:gd name="connsiteY223" fmla="*/ 100592 h 1440313"/>
              <a:gd name="connsiteX224" fmla="*/ 423205 w 783622"/>
              <a:gd name="connsiteY224" fmla="*/ 164646 h 1440313"/>
              <a:gd name="connsiteX225" fmla="*/ 544998 w 783622"/>
              <a:gd name="connsiteY225" fmla="*/ 164646 h 1440313"/>
              <a:gd name="connsiteX226" fmla="*/ 485455 w 783622"/>
              <a:gd name="connsiteY226" fmla="*/ 100592 h 1440313"/>
              <a:gd name="connsiteX227" fmla="*/ 180522 w 783622"/>
              <a:gd name="connsiteY227" fmla="*/ 78038 h 1440313"/>
              <a:gd name="connsiteX228" fmla="*/ 214353 w 783622"/>
              <a:gd name="connsiteY228" fmla="*/ 78038 h 1440313"/>
              <a:gd name="connsiteX229" fmla="*/ 219315 w 783622"/>
              <a:gd name="connsiteY229" fmla="*/ 81647 h 1440313"/>
              <a:gd name="connsiteX230" fmla="*/ 280663 w 783622"/>
              <a:gd name="connsiteY230" fmla="*/ 262983 h 1440313"/>
              <a:gd name="connsiteX231" fmla="*/ 343363 w 783622"/>
              <a:gd name="connsiteY231" fmla="*/ 81647 h 1440313"/>
              <a:gd name="connsiteX232" fmla="*/ 348325 w 783622"/>
              <a:gd name="connsiteY232" fmla="*/ 78038 h 1440313"/>
              <a:gd name="connsiteX233" fmla="*/ 378097 w 783622"/>
              <a:gd name="connsiteY233" fmla="*/ 78038 h 1440313"/>
              <a:gd name="connsiteX234" fmla="*/ 380803 w 783622"/>
              <a:gd name="connsiteY234" fmla="*/ 81196 h 1440313"/>
              <a:gd name="connsiteX235" fmla="*/ 304570 w 783622"/>
              <a:gd name="connsiteY235" fmla="*/ 292303 h 1440313"/>
              <a:gd name="connsiteX236" fmla="*/ 299608 w 783622"/>
              <a:gd name="connsiteY236" fmla="*/ 295461 h 1440313"/>
              <a:gd name="connsiteX237" fmla="*/ 260815 w 783622"/>
              <a:gd name="connsiteY237" fmla="*/ 295461 h 1440313"/>
              <a:gd name="connsiteX238" fmla="*/ 255853 w 783622"/>
              <a:gd name="connsiteY238" fmla="*/ 292303 h 1440313"/>
              <a:gd name="connsiteX239" fmla="*/ 177815 w 783622"/>
              <a:gd name="connsiteY239" fmla="*/ 81196 h 1440313"/>
              <a:gd name="connsiteX240" fmla="*/ 180522 w 783622"/>
              <a:gd name="connsiteY240" fmla="*/ 78038 h 1440313"/>
              <a:gd name="connsiteX241" fmla="*/ 116468 w 783622"/>
              <a:gd name="connsiteY241" fmla="*/ 77586 h 1440313"/>
              <a:gd name="connsiteX242" fmla="*/ 148044 w 783622"/>
              <a:gd name="connsiteY242" fmla="*/ 77586 h 1440313"/>
              <a:gd name="connsiteX243" fmla="*/ 151652 w 783622"/>
              <a:gd name="connsiteY243" fmla="*/ 81195 h 1440313"/>
              <a:gd name="connsiteX244" fmla="*/ 151201 w 783622"/>
              <a:gd name="connsiteY244" fmla="*/ 182689 h 1440313"/>
              <a:gd name="connsiteX245" fmla="*/ 152103 w 783622"/>
              <a:gd name="connsiteY245" fmla="*/ 291400 h 1440313"/>
              <a:gd name="connsiteX246" fmla="*/ 148495 w 783622"/>
              <a:gd name="connsiteY246" fmla="*/ 295009 h 1440313"/>
              <a:gd name="connsiteX247" fmla="*/ 116468 w 783622"/>
              <a:gd name="connsiteY247" fmla="*/ 295009 h 1440313"/>
              <a:gd name="connsiteX248" fmla="*/ 112859 w 783622"/>
              <a:gd name="connsiteY248" fmla="*/ 291400 h 1440313"/>
              <a:gd name="connsiteX249" fmla="*/ 113761 w 783622"/>
              <a:gd name="connsiteY249" fmla="*/ 183140 h 1440313"/>
              <a:gd name="connsiteX250" fmla="*/ 112859 w 783622"/>
              <a:gd name="connsiteY250" fmla="*/ 81195 h 1440313"/>
              <a:gd name="connsiteX251" fmla="*/ 116468 w 783622"/>
              <a:gd name="connsiteY251" fmla="*/ 77586 h 1440313"/>
              <a:gd name="connsiteX252" fmla="*/ 485004 w 783622"/>
              <a:gd name="connsiteY252" fmla="*/ 72174 h 1440313"/>
              <a:gd name="connsiteX253" fmla="*/ 586498 w 783622"/>
              <a:gd name="connsiteY253" fmla="*/ 187652 h 1440313"/>
              <a:gd name="connsiteX254" fmla="*/ 582889 w 783622"/>
              <a:gd name="connsiteY254" fmla="*/ 191260 h 1440313"/>
              <a:gd name="connsiteX255" fmla="*/ 421852 w 783622"/>
              <a:gd name="connsiteY255" fmla="*/ 191260 h 1440313"/>
              <a:gd name="connsiteX256" fmla="*/ 487259 w 783622"/>
              <a:gd name="connsiteY256" fmla="*/ 271553 h 1440313"/>
              <a:gd name="connsiteX257" fmla="*/ 544998 w 783622"/>
              <a:gd name="connsiteY257" fmla="*/ 222836 h 1440313"/>
              <a:gd name="connsiteX258" fmla="*/ 549509 w 783622"/>
              <a:gd name="connsiteY258" fmla="*/ 219227 h 1440313"/>
              <a:gd name="connsiteX259" fmla="*/ 579281 w 783622"/>
              <a:gd name="connsiteY259" fmla="*/ 219227 h 1440313"/>
              <a:gd name="connsiteX260" fmla="*/ 579281 w 783622"/>
              <a:gd name="connsiteY260" fmla="*/ 219679 h 1440313"/>
              <a:gd name="connsiteX261" fmla="*/ 582438 w 783622"/>
              <a:gd name="connsiteY261" fmla="*/ 223287 h 1440313"/>
              <a:gd name="connsiteX262" fmla="*/ 486808 w 783622"/>
              <a:gd name="connsiteY262" fmla="*/ 299972 h 1440313"/>
              <a:gd name="connsiteX263" fmla="*/ 383059 w 783622"/>
              <a:gd name="connsiteY263" fmla="*/ 186749 h 1440313"/>
              <a:gd name="connsiteX264" fmla="*/ 485004 w 783622"/>
              <a:gd name="connsiteY264" fmla="*/ 72174 h 1440313"/>
              <a:gd name="connsiteX265" fmla="*/ 116468 w 783622"/>
              <a:gd name="connsiteY265" fmla="*/ 10826 h 1440313"/>
              <a:gd name="connsiteX266" fmla="*/ 148044 w 783622"/>
              <a:gd name="connsiteY266" fmla="*/ 10826 h 1440313"/>
              <a:gd name="connsiteX267" fmla="*/ 151652 w 783622"/>
              <a:gd name="connsiteY267" fmla="*/ 14435 h 1440313"/>
              <a:gd name="connsiteX268" fmla="*/ 151652 w 783622"/>
              <a:gd name="connsiteY268" fmla="*/ 49168 h 1440313"/>
              <a:gd name="connsiteX269" fmla="*/ 148044 w 783622"/>
              <a:gd name="connsiteY269" fmla="*/ 52777 h 1440313"/>
              <a:gd name="connsiteX270" fmla="*/ 116468 w 783622"/>
              <a:gd name="connsiteY270" fmla="*/ 52777 h 1440313"/>
              <a:gd name="connsiteX271" fmla="*/ 112859 w 783622"/>
              <a:gd name="connsiteY271" fmla="*/ 49168 h 1440313"/>
              <a:gd name="connsiteX272" fmla="*/ 112859 w 783622"/>
              <a:gd name="connsiteY272" fmla="*/ 14435 h 1440313"/>
              <a:gd name="connsiteX273" fmla="*/ 116468 w 783622"/>
              <a:gd name="connsiteY273" fmla="*/ 10826 h 1440313"/>
              <a:gd name="connsiteX274" fmla="*/ 29860 w 783622"/>
              <a:gd name="connsiteY274" fmla="*/ 0 h 1440313"/>
              <a:gd name="connsiteX275" fmla="*/ 60984 w 783622"/>
              <a:gd name="connsiteY275" fmla="*/ 0 h 1440313"/>
              <a:gd name="connsiteX276" fmla="*/ 64593 w 783622"/>
              <a:gd name="connsiteY276" fmla="*/ 3609 h 1440313"/>
              <a:gd name="connsiteX277" fmla="*/ 62789 w 783622"/>
              <a:gd name="connsiteY277" fmla="*/ 145700 h 1440313"/>
              <a:gd name="connsiteX278" fmla="*/ 64593 w 783622"/>
              <a:gd name="connsiteY278" fmla="*/ 291852 h 1440313"/>
              <a:gd name="connsiteX279" fmla="*/ 60984 w 783622"/>
              <a:gd name="connsiteY279" fmla="*/ 295460 h 1440313"/>
              <a:gd name="connsiteX280" fmla="*/ 29860 w 783622"/>
              <a:gd name="connsiteY280" fmla="*/ 295460 h 1440313"/>
              <a:gd name="connsiteX281" fmla="*/ 29860 w 783622"/>
              <a:gd name="connsiteY281" fmla="*/ 295009 h 1440313"/>
              <a:gd name="connsiteX282" fmla="*/ 26251 w 783622"/>
              <a:gd name="connsiteY282" fmla="*/ 291401 h 1440313"/>
              <a:gd name="connsiteX283" fmla="*/ 28055 w 783622"/>
              <a:gd name="connsiteY283" fmla="*/ 145700 h 1440313"/>
              <a:gd name="connsiteX284" fmla="*/ 26251 w 783622"/>
              <a:gd name="connsiteY284" fmla="*/ 3609 h 1440313"/>
              <a:gd name="connsiteX285" fmla="*/ 29860 w 783622"/>
              <a:gd name="connsiteY285" fmla="*/ 0 h 144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783622" h="1440313">
                <a:moveTo>
                  <a:pt x="402004" y="1240933"/>
                </a:moveTo>
                <a:cubicBezTo>
                  <a:pt x="365917" y="1240933"/>
                  <a:pt x="345619" y="1263939"/>
                  <a:pt x="339754" y="1304987"/>
                </a:cubicBezTo>
                <a:lnTo>
                  <a:pt x="461547" y="1304987"/>
                </a:lnTo>
                <a:cubicBezTo>
                  <a:pt x="460194" y="1270705"/>
                  <a:pt x="440346" y="1240933"/>
                  <a:pt x="402004" y="1240933"/>
                </a:cubicBezTo>
                <a:close/>
                <a:moveTo>
                  <a:pt x="112860" y="1218379"/>
                </a:moveTo>
                <a:lnTo>
                  <a:pt x="144436" y="1218379"/>
                </a:lnTo>
                <a:cubicBezTo>
                  <a:pt x="146691" y="1218379"/>
                  <a:pt x="148044" y="1220183"/>
                  <a:pt x="148044" y="1221987"/>
                </a:cubicBezTo>
                <a:lnTo>
                  <a:pt x="147142" y="1323481"/>
                </a:lnTo>
                <a:lnTo>
                  <a:pt x="148044" y="1432193"/>
                </a:lnTo>
                <a:cubicBezTo>
                  <a:pt x="148044" y="1434448"/>
                  <a:pt x="146240" y="1435801"/>
                  <a:pt x="144436" y="1435801"/>
                </a:cubicBezTo>
                <a:lnTo>
                  <a:pt x="112860" y="1435801"/>
                </a:lnTo>
                <a:cubicBezTo>
                  <a:pt x="110604" y="1435801"/>
                  <a:pt x="109251" y="1433997"/>
                  <a:pt x="109251" y="1432193"/>
                </a:cubicBezTo>
                <a:lnTo>
                  <a:pt x="110153" y="1323932"/>
                </a:lnTo>
                <a:lnTo>
                  <a:pt x="109251" y="1221987"/>
                </a:lnTo>
                <a:cubicBezTo>
                  <a:pt x="109251" y="1219732"/>
                  <a:pt x="111055" y="1218379"/>
                  <a:pt x="112860" y="1218379"/>
                </a:cubicBezTo>
                <a:close/>
                <a:moveTo>
                  <a:pt x="401553" y="1212515"/>
                </a:moveTo>
                <a:cubicBezTo>
                  <a:pt x="464254" y="1212515"/>
                  <a:pt x="501694" y="1255368"/>
                  <a:pt x="503047" y="1327993"/>
                </a:cubicBezTo>
                <a:cubicBezTo>
                  <a:pt x="503047" y="1330248"/>
                  <a:pt x="501243" y="1331601"/>
                  <a:pt x="499438" y="1331601"/>
                </a:cubicBezTo>
                <a:lnTo>
                  <a:pt x="338852" y="1331601"/>
                </a:lnTo>
                <a:cubicBezTo>
                  <a:pt x="340206" y="1383927"/>
                  <a:pt x="361858" y="1411894"/>
                  <a:pt x="404260" y="1411894"/>
                </a:cubicBezTo>
                <a:cubicBezTo>
                  <a:pt x="436286" y="1411894"/>
                  <a:pt x="455683" y="1395204"/>
                  <a:pt x="461998" y="1363177"/>
                </a:cubicBezTo>
                <a:cubicBezTo>
                  <a:pt x="462449" y="1360922"/>
                  <a:pt x="464705" y="1359569"/>
                  <a:pt x="466509" y="1359569"/>
                </a:cubicBezTo>
                <a:lnTo>
                  <a:pt x="495830" y="1359569"/>
                </a:lnTo>
                <a:lnTo>
                  <a:pt x="495830" y="1360020"/>
                </a:lnTo>
                <a:cubicBezTo>
                  <a:pt x="498085" y="1360020"/>
                  <a:pt x="498987" y="1361824"/>
                  <a:pt x="498987" y="1363628"/>
                </a:cubicBezTo>
                <a:cubicBezTo>
                  <a:pt x="492221" y="1407834"/>
                  <a:pt x="459292" y="1440313"/>
                  <a:pt x="403357" y="1440313"/>
                </a:cubicBezTo>
                <a:cubicBezTo>
                  <a:pt x="335695" y="1440313"/>
                  <a:pt x="299608" y="1393400"/>
                  <a:pt x="299608" y="1327090"/>
                </a:cubicBezTo>
                <a:cubicBezTo>
                  <a:pt x="299608" y="1258977"/>
                  <a:pt x="338401" y="1212515"/>
                  <a:pt x="401553" y="1212515"/>
                </a:cubicBezTo>
                <a:close/>
                <a:moveTo>
                  <a:pt x="112860" y="1151167"/>
                </a:moveTo>
                <a:lnTo>
                  <a:pt x="144436" y="1151167"/>
                </a:lnTo>
                <a:cubicBezTo>
                  <a:pt x="146691" y="1151167"/>
                  <a:pt x="148044" y="1152971"/>
                  <a:pt x="148044" y="1154776"/>
                </a:cubicBezTo>
                <a:lnTo>
                  <a:pt x="148044" y="1189509"/>
                </a:lnTo>
                <a:cubicBezTo>
                  <a:pt x="148044" y="1191765"/>
                  <a:pt x="146240" y="1193118"/>
                  <a:pt x="144436" y="1193118"/>
                </a:cubicBezTo>
                <a:lnTo>
                  <a:pt x="112860" y="1193118"/>
                </a:lnTo>
                <a:cubicBezTo>
                  <a:pt x="110604" y="1193118"/>
                  <a:pt x="109251" y="1191313"/>
                  <a:pt x="109251" y="1189509"/>
                </a:cubicBezTo>
                <a:lnTo>
                  <a:pt x="109251" y="1154776"/>
                </a:lnTo>
                <a:cubicBezTo>
                  <a:pt x="109251" y="1152520"/>
                  <a:pt x="111055" y="1151167"/>
                  <a:pt x="112860" y="1151167"/>
                </a:cubicBezTo>
                <a:close/>
                <a:moveTo>
                  <a:pt x="29860" y="1140793"/>
                </a:moveTo>
                <a:lnTo>
                  <a:pt x="60984" y="1140793"/>
                </a:lnTo>
                <a:cubicBezTo>
                  <a:pt x="63240" y="1140793"/>
                  <a:pt x="64593" y="1142597"/>
                  <a:pt x="64593" y="1144402"/>
                </a:cubicBezTo>
                <a:lnTo>
                  <a:pt x="62789" y="1286493"/>
                </a:lnTo>
                <a:lnTo>
                  <a:pt x="64593" y="1432644"/>
                </a:lnTo>
                <a:cubicBezTo>
                  <a:pt x="64593" y="1434900"/>
                  <a:pt x="62789" y="1436253"/>
                  <a:pt x="60984" y="1436253"/>
                </a:cubicBezTo>
                <a:lnTo>
                  <a:pt x="29860" y="1436253"/>
                </a:lnTo>
                <a:lnTo>
                  <a:pt x="29860" y="1435802"/>
                </a:lnTo>
                <a:cubicBezTo>
                  <a:pt x="27604" y="1435802"/>
                  <a:pt x="26251" y="1433998"/>
                  <a:pt x="26251" y="1432193"/>
                </a:cubicBezTo>
                <a:lnTo>
                  <a:pt x="28055" y="1286493"/>
                </a:lnTo>
                <a:lnTo>
                  <a:pt x="26251" y="1144402"/>
                </a:lnTo>
                <a:cubicBezTo>
                  <a:pt x="26251" y="1142146"/>
                  <a:pt x="28055" y="1140793"/>
                  <a:pt x="29860" y="1140793"/>
                </a:cubicBezTo>
                <a:close/>
                <a:moveTo>
                  <a:pt x="268483" y="1134928"/>
                </a:moveTo>
                <a:cubicBezTo>
                  <a:pt x="278407" y="1134928"/>
                  <a:pt x="289233" y="1136281"/>
                  <a:pt x="296901" y="1138086"/>
                </a:cubicBezTo>
                <a:cubicBezTo>
                  <a:pt x="299157" y="1138537"/>
                  <a:pt x="300510" y="1140792"/>
                  <a:pt x="300510" y="1142596"/>
                </a:cubicBezTo>
                <a:lnTo>
                  <a:pt x="300510" y="1164248"/>
                </a:lnTo>
                <a:cubicBezTo>
                  <a:pt x="300510" y="1166053"/>
                  <a:pt x="298706" y="1167406"/>
                  <a:pt x="296901" y="1167406"/>
                </a:cubicBezTo>
                <a:cubicBezTo>
                  <a:pt x="291037" y="1165602"/>
                  <a:pt x="284271" y="1164700"/>
                  <a:pt x="277054" y="1164700"/>
                </a:cubicBezTo>
                <a:cubicBezTo>
                  <a:pt x="259912" y="1164700"/>
                  <a:pt x="249086" y="1175074"/>
                  <a:pt x="249086" y="1202591"/>
                </a:cubicBezTo>
                <a:lnTo>
                  <a:pt x="249086" y="1218830"/>
                </a:lnTo>
                <a:lnTo>
                  <a:pt x="296450" y="1218830"/>
                </a:lnTo>
                <a:cubicBezTo>
                  <a:pt x="298706" y="1218830"/>
                  <a:pt x="300059" y="1220634"/>
                  <a:pt x="300059" y="1222438"/>
                </a:cubicBezTo>
                <a:lnTo>
                  <a:pt x="300059" y="1244542"/>
                </a:lnTo>
                <a:cubicBezTo>
                  <a:pt x="300059" y="1246797"/>
                  <a:pt x="298254" y="1248150"/>
                  <a:pt x="296450" y="1248150"/>
                </a:cubicBezTo>
                <a:lnTo>
                  <a:pt x="248635" y="1248150"/>
                </a:lnTo>
                <a:lnTo>
                  <a:pt x="248635" y="1337465"/>
                </a:lnTo>
                <a:lnTo>
                  <a:pt x="249988" y="1431742"/>
                </a:lnTo>
                <a:cubicBezTo>
                  <a:pt x="249988" y="1433997"/>
                  <a:pt x="248184" y="1435350"/>
                  <a:pt x="246380" y="1435350"/>
                </a:cubicBezTo>
                <a:lnTo>
                  <a:pt x="213902" y="1435350"/>
                </a:lnTo>
                <a:cubicBezTo>
                  <a:pt x="211646" y="1435350"/>
                  <a:pt x="210293" y="1433546"/>
                  <a:pt x="210293" y="1431742"/>
                </a:cubicBezTo>
                <a:lnTo>
                  <a:pt x="211646" y="1337465"/>
                </a:lnTo>
                <a:lnTo>
                  <a:pt x="211646" y="1247699"/>
                </a:lnTo>
                <a:lnTo>
                  <a:pt x="181424" y="1247699"/>
                </a:lnTo>
                <a:cubicBezTo>
                  <a:pt x="179168" y="1247699"/>
                  <a:pt x="177815" y="1245895"/>
                  <a:pt x="177815" y="1244090"/>
                </a:cubicBezTo>
                <a:lnTo>
                  <a:pt x="177815" y="1221987"/>
                </a:lnTo>
                <a:cubicBezTo>
                  <a:pt x="177815" y="1219732"/>
                  <a:pt x="179619" y="1218379"/>
                  <a:pt x="181424" y="1218379"/>
                </a:cubicBezTo>
                <a:lnTo>
                  <a:pt x="211646" y="1218379"/>
                </a:lnTo>
                <a:lnTo>
                  <a:pt x="211646" y="1199433"/>
                </a:lnTo>
                <a:cubicBezTo>
                  <a:pt x="211646" y="1151618"/>
                  <a:pt x="240967" y="1134928"/>
                  <a:pt x="268483" y="1134928"/>
                </a:cubicBezTo>
                <a:close/>
                <a:moveTo>
                  <a:pt x="121430" y="828191"/>
                </a:moveTo>
                <a:cubicBezTo>
                  <a:pt x="84892" y="828191"/>
                  <a:pt x="60985" y="855707"/>
                  <a:pt x="60534" y="910288"/>
                </a:cubicBezTo>
                <a:cubicBezTo>
                  <a:pt x="60083" y="965321"/>
                  <a:pt x="82186" y="996897"/>
                  <a:pt x="120528" y="996897"/>
                </a:cubicBezTo>
                <a:cubicBezTo>
                  <a:pt x="162479" y="997348"/>
                  <a:pt x="182327" y="963065"/>
                  <a:pt x="182327" y="914348"/>
                </a:cubicBezTo>
                <a:cubicBezTo>
                  <a:pt x="182327" y="862925"/>
                  <a:pt x="162930" y="827740"/>
                  <a:pt x="121430" y="828191"/>
                </a:cubicBezTo>
                <a:close/>
                <a:moveTo>
                  <a:pt x="345619" y="826838"/>
                </a:moveTo>
                <a:cubicBezTo>
                  <a:pt x="309532" y="826838"/>
                  <a:pt x="289234" y="849844"/>
                  <a:pt x="283369" y="890892"/>
                </a:cubicBezTo>
                <a:lnTo>
                  <a:pt x="405162" y="890892"/>
                </a:lnTo>
                <a:cubicBezTo>
                  <a:pt x="403809" y="856159"/>
                  <a:pt x="383961" y="826838"/>
                  <a:pt x="345619" y="826838"/>
                </a:cubicBezTo>
                <a:close/>
                <a:moveTo>
                  <a:pt x="556726" y="800224"/>
                </a:moveTo>
                <a:cubicBezTo>
                  <a:pt x="607247" y="800224"/>
                  <a:pt x="644236" y="821425"/>
                  <a:pt x="647394" y="866533"/>
                </a:cubicBezTo>
                <a:cubicBezTo>
                  <a:pt x="647394" y="868789"/>
                  <a:pt x="645590" y="870142"/>
                  <a:pt x="643785" y="870142"/>
                </a:cubicBezTo>
                <a:lnTo>
                  <a:pt x="615367" y="870142"/>
                </a:lnTo>
                <a:cubicBezTo>
                  <a:pt x="613111" y="870142"/>
                  <a:pt x="611758" y="868338"/>
                  <a:pt x="611307" y="866533"/>
                </a:cubicBezTo>
                <a:cubicBezTo>
                  <a:pt x="608601" y="839017"/>
                  <a:pt x="587851" y="826387"/>
                  <a:pt x="556275" y="826387"/>
                </a:cubicBezTo>
                <a:cubicBezTo>
                  <a:pt x="526503" y="826387"/>
                  <a:pt x="507558" y="837213"/>
                  <a:pt x="507558" y="861571"/>
                </a:cubicBezTo>
                <a:cubicBezTo>
                  <a:pt x="507558" y="915702"/>
                  <a:pt x="654160" y="868789"/>
                  <a:pt x="654160" y="959908"/>
                </a:cubicBezTo>
                <a:cubicBezTo>
                  <a:pt x="654160" y="1001408"/>
                  <a:pt x="614916" y="1026217"/>
                  <a:pt x="563041" y="1026217"/>
                </a:cubicBezTo>
                <a:cubicBezTo>
                  <a:pt x="505302" y="1026217"/>
                  <a:pt x="467411" y="1000957"/>
                  <a:pt x="466058" y="950435"/>
                </a:cubicBezTo>
                <a:cubicBezTo>
                  <a:pt x="466058" y="948180"/>
                  <a:pt x="467862" y="946826"/>
                  <a:pt x="469667" y="946826"/>
                </a:cubicBezTo>
                <a:lnTo>
                  <a:pt x="499438" y="946826"/>
                </a:lnTo>
                <a:cubicBezTo>
                  <a:pt x="501694" y="946826"/>
                  <a:pt x="503047" y="948631"/>
                  <a:pt x="503047" y="950435"/>
                </a:cubicBezTo>
                <a:cubicBezTo>
                  <a:pt x="504851" y="984718"/>
                  <a:pt x="525601" y="1000054"/>
                  <a:pt x="564394" y="1000054"/>
                </a:cubicBezTo>
                <a:cubicBezTo>
                  <a:pt x="596421" y="1000054"/>
                  <a:pt x="617622" y="986522"/>
                  <a:pt x="617622" y="962614"/>
                </a:cubicBezTo>
                <a:cubicBezTo>
                  <a:pt x="617622" y="905778"/>
                  <a:pt x="471020" y="951788"/>
                  <a:pt x="471020" y="863827"/>
                </a:cubicBezTo>
                <a:cubicBezTo>
                  <a:pt x="471020" y="821876"/>
                  <a:pt x="505302" y="800224"/>
                  <a:pt x="556726" y="800224"/>
                </a:cubicBezTo>
                <a:close/>
                <a:moveTo>
                  <a:pt x="345168" y="798420"/>
                </a:moveTo>
                <a:cubicBezTo>
                  <a:pt x="407869" y="798420"/>
                  <a:pt x="445309" y="841273"/>
                  <a:pt x="446662" y="913898"/>
                </a:cubicBezTo>
                <a:cubicBezTo>
                  <a:pt x="446662" y="916153"/>
                  <a:pt x="444858" y="917506"/>
                  <a:pt x="443053" y="917506"/>
                </a:cubicBezTo>
                <a:lnTo>
                  <a:pt x="282467" y="917506"/>
                </a:lnTo>
                <a:cubicBezTo>
                  <a:pt x="283821" y="969832"/>
                  <a:pt x="305473" y="997799"/>
                  <a:pt x="347875" y="997799"/>
                </a:cubicBezTo>
                <a:cubicBezTo>
                  <a:pt x="379901" y="997799"/>
                  <a:pt x="399298" y="981109"/>
                  <a:pt x="405613" y="949082"/>
                </a:cubicBezTo>
                <a:cubicBezTo>
                  <a:pt x="406064" y="946827"/>
                  <a:pt x="408320" y="945473"/>
                  <a:pt x="410124" y="945473"/>
                </a:cubicBezTo>
                <a:lnTo>
                  <a:pt x="439445" y="945473"/>
                </a:lnTo>
                <a:lnTo>
                  <a:pt x="439445" y="945925"/>
                </a:lnTo>
                <a:cubicBezTo>
                  <a:pt x="441700" y="945925"/>
                  <a:pt x="442602" y="947729"/>
                  <a:pt x="442602" y="949533"/>
                </a:cubicBezTo>
                <a:cubicBezTo>
                  <a:pt x="435836" y="993740"/>
                  <a:pt x="402907" y="1026218"/>
                  <a:pt x="346972" y="1026218"/>
                </a:cubicBezTo>
                <a:cubicBezTo>
                  <a:pt x="279310" y="1026218"/>
                  <a:pt x="243223" y="979305"/>
                  <a:pt x="243223" y="912995"/>
                </a:cubicBezTo>
                <a:cubicBezTo>
                  <a:pt x="243223" y="844882"/>
                  <a:pt x="282016" y="798420"/>
                  <a:pt x="345168" y="798420"/>
                </a:cubicBezTo>
                <a:close/>
                <a:moveTo>
                  <a:pt x="691149" y="749702"/>
                </a:moveTo>
                <a:lnTo>
                  <a:pt x="722274" y="749702"/>
                </a:lnTo>
                <a:cubicBezTo>
                  <a:pt x="724529" y="749702"/>
                  <a:pt x="725882" y="751506"/>
                  <a:pt x="725882" y="753311"/>
                </a:cubicBezTo>
                <a:lnTo>
                  <a:pt x="725431" y="803832"/>
                </a:lnTo>
                <a:lnTo>
                  <a:pt x="775050" y="803832"/>
                </a:lnTo>
                <a:cubicBezTo>
                  <a:pt x="777306" y="803832"/>
                  <a:pt x="778659" y="805636"/>
                  <a:pt x="778659" y="807441"/>
                </a:cubicBezTo>
                <a:lnTo>
                  <a:pt x="778659" y="829995"/>
                </a:lnTo>
                <a:cubicBezTo>
                  <a:pt x="778659" y="832250"/>
                  <a:pt x="776855" y="833604"/>
                  <a:pt x="775050" y="833604"/>
                </a:cubicBezTo>
                <a:lnTo>
                  <a:pt x="725431" y="833604"/>
                </a:lnTo>
                <a:lnTo>
                  <a:pt x="725431" y="960358"/>
                </a:lnTo>
                <a:cubicBezTo>
                  <a:pt x="725431" y="986521"/>
                  <a:pt x="734453" y="994641"/>
                  <a:pt x="752947" y="994641"/>
                </a:cubicBezTo>
                <a:cubicBezTo>
                  <a:pt x="761518" y="994641"/>
                  <a:pt x="769637" y="993288"/>
                  <a:pt x="775501" y="991934"/>
                </a:cubicBezTo>
                <a:cubicBezTo>
                  <a:pt x="777757" y="991032"/>
                  <a:pt x="779110" y="992836"/>
                  <a:pt x="779110" y="994641"/>
                </a:cubicBezTo>
                <a:lnTo>
                  <a:pt x="779110" y="1014940"/>
                </a:lnTo>
                <a:lnTo>
                  <a:pt x="779561" y="1014940"/>
                </a:lnTo>
                <a:cubicBezTo>
                  <a:pt x="779561" y="1017195"/>
                  <a:pt x="777757" y="1018999"/>
                  <a:pt x="775953" y="1019902"/>
                </a:cubicBezTo>
                <a:cubicBezTo>
                  <a:pt x="767382" y="1022608"/>
                  <a:pt x="756556" y="1024863"/>
                  <a:pt x="746181" y="1024863"/>
                </a:cubicBezTo>
                <a:cubicBezTo>
                  <a:pt x="714605" y="1024863"/>
                  <a:pt x="687991" y="1008624"/>
                  <a:pt x="687991" y="961261"/>
                </a:cubicBezTo>
                <a:lnTo>
                  <a:pt x="687991" y="833604"/>
                </a:lnTo>
                <a:lnTo>
                  <a:pt x="664084" y="833604"/>
                </a:lnTo>
                <a:cubicBezTo>
                  <a:pt x="661828" y="833604"/>
                  <a:pt x="660475" y="831799"/>
                  <a:pt x="660475" y="829995"/>
                </a:cubicBezTo>
                <a:lnTo>
                  <a:pt x="660475" y="807441"/>
                </a:lnTo>
                <a:cubicBezTo>
                  <a:pt x="660475" y="805185"/>
                  <a:pt x="662279" y="803832"/>
                  <a:pt x="664084" y="803832"/>
                </a:cubicBezTo>
                <a:lnTo>
                  <a:pt x="687991" y="803832"/>
                </a:lnTo>
                <a:lnTo>
                  <a:pt x="687540" y="753311"/>
                </a:lnTo>
                <a:cubicBezTo>
                  <a:pt x="687540" y="751055"/>
                  <a:pt x="689344" y="749702"/>
                  <a:pt x="691149" y="749702"/>
                </a:cubicBezTo>
                <a:close/>
                <a:moveTo>
                  <a:pt x="27605" y="737072"/>
                </a:moveTo>
                <a:lnTo>
                  <a:pt x="59181" y="737072"/>
                </a:lnTo>
                <a:cubicBezTo>
                  <a:pt x="61436" y="737072"/>
                  <a:pt x="62789" y="738876"/>
                  <a:pt x="62789" y="740681"/>
                </a:cubicBezTo>
                <a:lnTo>
                  <a:pt x="62338" y="837664"/>
                </a:lnTo>
                <a:cubicBezTo>
                  <a:pt x="77224" y="814207"/>
                  <a:pt x="100229" y="799773"/>
                  <a:pt x="131354" y="799773"/>
                </a:cubicBezTo>
                <a:cubicBezTo>
                  <a:pt x="189995" y="799773"/>
                  <a:pt x="221120" y="848941"/>
                  <a:pt x="221120" y="912093"/>
                </a:cubicBezTo>
                <a:cubicBezTo>
                  <a:pt x="221120" y="974793"/>
                  <a:pt x="188191" y="1025766"/>
                  <a:pt x="130452" y="1025766"/>
                </a:cubicBezTo>
                <a:cubicBezTo>
                  <a:pt x="99327" y="1025766"/>
                  <a:pt x="75871" y="1012685"/>
                  <a:pt x="61436" y="987875"/>
                </a:cubicBezTo>
                <a:lnTo>
                  <a:pt x="62338" y="1017646"/>
                </a:lnTo>
                <a:cubicBezTo>
                  <a:pt x="62338" y="1019902"/>
                  <a:pt x="60534" y="1021255"/>
                  <a:pt x="58729" y="1021255"/>
                </a:cubicBezTo>
                <a:lnTo>
                  <a:pt x="27605" y="1021255"/>
                </a:lnTo>
                <a:cubicBezTo>
                  <a:pt x="25349" y="1021255"/>
                  <a:pt x="23996" y="1019451"/>
                  <a:pt x="23996" y="1017646"/>
                </a:cubicBezTo>
                <a:lnTo>
                  <a:pt x="25349" y="859316"/>
                </a:lnTo>
                <a:lnTo>
                  <a:pt x="23996" y="740681"/>
                </a:lnTo>
                <a:cubicBezTo>
                  <a:pt x="23996" y="738425"/>
                  <a:pt x="25800" y="737072"/>
                  <a:pt x="27605" y="737072"/>
                </a:cubicBezTo>
                <a:close/>
                <a:moveTo>
                  <a:pt x="302766" y="438003"/>
                </a:moveTo>
                <a:cubicBezTo>
                  <a:pt x="259913" y="438454"/>
                  <a:pt x="239163" y="469579"/>
                  <a:pt x="239163" y="524160"/>
                </a:cubicBezTo>
                <a:cubicBezTo>
                  <a:pt x="238712" y="578291"/>
                  <a:pt x="259913" y="608964"/>
                  <a:pt x="302766" y="608964"/>
                </a:cubicBezTo>
                <a:cubicBezTo>
                  <a:pt x="345619" y="608964"/>
                  <a:pt x="365918" y="578742"/>
                  <a:pt x="365918" y="524160"/>
                </a:cubicBezTo>
                <a:cubicBezTo>
                  <a:pt x="365918" y="469579"/>
                  <a:pt x="344717" y="438003"/>
                  <a:pt x="302766" y="438003"/>
                </a:cubicBezTo>
                <a:close/>
                <a:moveTo>
                  <a:pt x="433129" y="415449"/>
                </a:moveTo>
                <a:lnTo>
                  <a:pt x="464705" y="415449"/>
                </a:lnTo>
                <a:cubicBezTo>
                  <a:pt x="466960" y="415449"/>
                  <a:pt x="468313" y="417253"/>
                  <a:pt x="468313" y="419058"/>
                </a:cubicBezTo>
                <a:lnTo>
                  <a:pt x="467411" y="507921"/>
                </a:lnTo>
                <a:lnTo>
                  <a:pt x="467411" y="549872"/>
                </a:lnTo>
                <a:cubicBezTo>
                  <a:pt x="467411" y="589116"/>
                  <a:pt x="485906" y="606709"/>
                  <a:pt x="513422" y="606709"/>
                </a:cubicBezTo>
                <a:cubicBezTo>
                  <a:pt x="541840" y="606709"/>
                  <a:pt x="564845" y="583703"/>
                  <a:pt x="573416" y="540850"/>
                </a:cubicBezTo>
                <a:lnTo>
                  <a:pt x="573416" y="507921"/>
                </a:lnTo>
                <a:lnTo>
                  <a:pt x="572514" y="419058"/>
                </a:lnTo>
                <a:cubicBezTo>
                  <a:pt x="572514" y="416802"/>
                  <a:pt x="574318" y="415449"/>
                  <a:pt x="576122" y="415449"/>
                </a:cubicBezTo>
                <a:lnTo>
                  <a:pt x="608149" y="415449"/>
                </a:lnTo>
                <a:cubicBezTo>
                  <a:pt x="610405" y="415449"/>
                  <a:pt x="611758" y="417253"/>
                  <a:pt x="611758" y="419058"/>
                </a:cubicBezTo>
                <a:lnTo>
                  <a:pt x="610405" y="514688"/>
                </a:lnTo>
                <a:lnTo>
                  <a:pt x="611307" y="629263"/>
                </a:lnTo>
                <a:cubicBezTo>
                  <a:pt x="611307" y="631518"/>
                  <a:pt x="609503" y="632872"/>
                  <a:pt x="607698" y="632872"/>
                </a:cubicBezTo>
                <a:lnTo>
                  <a:pt x="577927" y="632872"/>
                </a:lnTo>
                <a:cubicBezTo>
                  <a:pt x="575671" y="632872"/>
                  <a:pt x="574318" y="631067"/>
                  <a:pt x="574318" y="629263"/>
                </a:cubicBezTo>
                <a:lnTo>
                  <a:pt x="575220" y="595883"/>
                </a:lnTo>
                <a:cubicBezTo>
                  <a:pt x="562590" y="617535"/>
                  <a:pt x="538231" y="637383"/>
                  <a:pt x="503498" y="637383"/>
                </a:cubicBezTo>
                <a:cubicBezTo>
                  <a:pt x="458840" y="637383"/>
                  <a:pt x="430422" y="607611"/>
                  <a:pt x="430422" y="550774"/>
                </a:cubicBezTo>
                <a:lnTo>
                  <a:pt x="430422" y="507921"/>
                </a:lnTo>
                <a:lnTo>
                  <a:pt x="429520" y="419058"/>
                </a:lnTo>
                <a:cubicBezTo>
                  <a:pt x="429520" y="416802"/>
                  <a:pt x="431324" y="415449"/>
                  <a:pt x="433129" y="415449"/>
                </a:cubicBezTo>
                <a:close/>
                <a:moveTo>
                  <a:pt x="2795" y="414998"/>
                </a:moveTo>
                <a:lnTo>
                  <a:pt x="38882" y="414998"/>
                </a:lnTo>
                <a:cubicBezTo>
                  <a:pt x="41137" y="414998"/>
                  <a:pt x="42941" y="416802"/>
                  <a:pt x="43844" y="418156"/>
                </a:cubicBezTo>
                <a:lnTo>
                  <a:pt x="105642" y="582350"/>
                </a:lnTo>
                <a:lnTo>
                  <a:pt x="157517" y="418607"/>
                </a:lnTo>
                <a:cubicBezTo>
                  <a:pt x="158419" y="416351"/>
                  <a:pt x="160674" y="414998"/>
                  <a:pt x="162479" y="414998"/>
                </a:cubicBezTo>
                <a:lnTo>
                  <a:pt x="194506" y="414998"/>
                </a:lnTo>
                <a:cubicBezTo>
                  <a:pt x="196761" y="414998"/>
                  <a:pt x="197663" y="416802"/>
                  <a:pt x="197212" y="418607"/>
                </a:cubicBezTo>
                <a:lnTo>
                  <a:pt x="98876" y="696475"/>
                </a:lnTo>
                <a:cubicBezTo>
                  <a:pt x="97974" y="698730"/>
                  <a:pt x="95718" y="700083"/>
                  <a:pt x="93914" y="700083"/>
                </a:cubicBezTo>
                <a:lnTo>
                  <a:pt x="64593" y="700083"/>
                </a:lnTo>
                <a:cubicBezTo>
                  <a:pt x="62789" y="700083"/>
                  <a:pt x="61436" y="698279"/>
                  <a:pt x="61887" y="696475"/>
                </a:cubicBezTo>
                <a:lnTo>
                  <a:pt x="84892" y="632421"/>
                </a:lnTo>
                <a:lnTo>
                  <a:pt x="88" y="418156"/>
                </a:lnTo>
                <a:cubicBezTo>
                  <a:pt x="-363" y="416351"/>
                  <a:pt x="991" y="414998"/>
                  <a:pt x="2795" y="414998"/>
                </a:cubicBezTo>
                <a:close/>
                <a:moveTo>
                  <a:pt x="302766" y="409585"/>
                </a:moveTo>
                <a:cubicBezTo>
                  <a:pt x="369076" y="409585"/>
                  <a:pt x="405613" y="454693"/>
                  <a:pt x="405613" y="523258"/>
                </a:cubicBezTo>
                <a:cubicBezTo>
                  <a:pt x="405613" y="591823"/>
                  <a:pt x="369076" y="637383"/>
                  <a:pt x="302766" y="637383"/>
                </a:cubicBezTo>
                <a:cubicBezTo>
                  <a:pt x="236908" y="637383"/>
                  <a:pt x="199919" y="592725"/>
                  <a:pt x="199919" y="524160"/>
                </a:cubicBezTo>
                <a:cubicBezTo>
                  <a:pt x="199919" y="455144"/>
                  <a:pt x="236908" y="409585"/>
                  <a:pt x="302766" y="409585"/>
                </a:cubicBezTo>
                <a:close/>
                <a:moveTo>
                  <a:pt x="767383" y="408683"/>
                </a:moveTo>
                <a:cubicBezTo>
                  <a:pt x="771893" y="408683"/>
                  <a:pt x="776404" y="409134"/>
                  <a:pt x="780013" y="410036"/>
                </a:cubicBezTo>
                <a:cubicBezTo>
                  <a:pt x="782268" y="410487"/>
                  <a:pt x="783622" y="412743"/>
                  <a:pt x="783622" y="414547"/>
                </a:cubicBezTo>
                <a:lnTo>
                  <a:pt x="783622" y="438003"/>
                </a:lnTo>
                <a:cubicBezTo>
                  <a:pt x="783622" y="439808"/>
                  <a:pt x="781817" y="441161"/>
                  <a:pt x="780013" y="441161"/>
                </a:cubicBezTo>
                <a:cubicBezTo>
                  <a:pt x="776404" y="440710"/>
                  <a:pt x="772345" y="440259"/>
                  <a:pt x="767834" y="440259"/>
                </a:cubicBezTo>
                <a:cubicBezTo>
                  <a:pt x="731296" y="440259"/>
                  <a:pt x="699269" y="462813"/>
                  <a:pt x="694758" y="510177"/>
                </a:cubicBezTo>
                <a:lnTo>
                  <a:pt x="695209" y="624301"/>
                </a:lnTo>
                <a:cubicBezTo>
                  <a:pt x="695209" y="626557"/>
                  <a:pt x="693405" y="627910"/>
                  <a:pt x="691600" y="627910"/>
                </a:cubicBezTo>
                <a:lnTo>
                  <a:pt x="660476" y="627910"/>
                </a:lnTo>
                <a:lnTo>
                  <a:pt x="660476" y="628361"/>
                </a:lnTo>
                <a:cubicBezTo>
                  <a:pt x="658220" y="628361"/>
                  <a:pt x="656867" y="626557"/>
                  <a:pt x="656867" y="624752"/>
                </a:cubicBezTo>
                <a:lnTo>
                  <a:pt x="658220" y="517394"/>
                </a:lnTo>
                <a:lnTo>
                  <a:pt x="656867" y="414998"/>
                </a:lnTo>
                <a:cubicBezTo>
                  <a:pt x="656867" y="412743"/>
                  <a:pt x="658671" y="411390"/>
                  <a:pt x="660476" y="411390"/>
                </a:cubicBezTo>
                <a:lnTo>
                  <a:pt x="691600" y="411390"/>
                </a:lnTo>
                <a:cubicBezTo>
                  <a:pt x="693856" y="411390"/>
                  <a:pt x="695209" y="413194"/>
                  <a:pt x="695209" y="414998"/>
                </a:cubicBezTo>
                <a:lnTo>
                  <a:pt x="693405" y="451536"/>
                </a:lnTo>
                <a:cubicBezTo>
                  <a:pt x="709193" y="423569"/>
                  <a:pt x="736709" y="408683"/>
                  <a:pt x="767383" y="408683"/>
                </a:cubicBezTo>
                <a:close/>
                <a:moveTo>
                  <a:pt x="485455" y="100592"/>
                </a:moveTo>
                <a:cubicBezTo>
                  <a:pt x="449368" y="100592"/>
                  <a:pt x="429070" y="123598"/>
                  <a:pt x="423205" y="164646"/>
                </a:cubicBezTo>
                <a:lnTo>
                  <a:pt x="544998" y="164646"/>
                </a:lnTo>
                <a:cubicBezTo>
                  <a:pt x="543645" y="129913"/>
                  <a:pt x="523797" y="100592"/>
                  <a:pt x="485455" y="100592"/>
                </a:cubicBezTo>
                <a:close/>
                <a:moveTo>
                  <a:pt x="180522" y="78038"/>
                </a:moveTo>
                <a:lnTo>
                  <a:pt x="214353" y="78038"/>
                </a:lnTo>
                <a:cubicBezTo>
                  <a:pt x="216609" y="78038"/>
                  <a:pt x="218413" y="79842"/>
                  <a:pt x="219315" y="81647"/>
                </a:cubicBezTo>
                <a:lnTo>
                  <a:pt x="280663" y="262983"/>
                </a:lnTo>
                <a:lnTo>
                  <a:pt x="343363" y="81647"/>
                </a:lnTo>
                <a:cubicBezTo>
                  <a:pt x="344265" y="79391"/>
                  <a:pt x="346521" y="78038"/>
                  <a:pt x="348325" y="78038"/>
                </a:cubicBezTo>
                <a:lnTo>
                  <a:pt x="378097" y="78038"/>
                </a:lnTo>
                <a:cubicBezTo>
                  <a:pt x="380352" y="78038"/>
                  <a:pt x="381254" y="79842"/>
                  <a:pt x="380803" y="81196"/>
                </a:cubicBezTo>
                <a:lnTo>
                  <a:pt x="304570" y="292303"/>
                </a:lnTo>
                <a:cubicBezTo>
                  <a:pt x="303668" y="294107"/>
                  <a:pt x="301412" y="295461"/>
                  <a:pt x="299608" y="295461"/>
                </a:cubicBezTo>
                <a:lnTo>
                  <a:pt x="260815" y="295461"/>
                </a:lnTo>
                <a:cubicBezTo>
                  <a:pt x="258559" y="295461"/>
                  <a:pt x="256755" y="293656"/>
                  <a:pt x="255853" y="292303"/>
                </a:cubicBezTo>
                <a:lnTo>
                  <a:pt x="177815" y="81196"/>
                </a:lnTo>
                <a:cubicBezTo>
                  <a:pt x="177364" y="79391"/>
                  <a:pt x="178718" y="78038"/>
                  <a:pt x="180522" y="78038"/>
                </a:cubicBezTo>
                <a:close/>
                <a:moveTo>
                  <a:pt x="116468" y="77586"/>
                </a:moveTo>
                <a:lnTo>
                  <a:pt x="148044" y="77586"/>
                </a:lnTo>
                <a:cubicBezTo>
                  <a:pt x="150299" y="77586"/>
                  <a:pt x="151652" y="79391"/>
                  <a:pt x="151652" y="81195"/>
                </a:cubicBezTo>
                <a:lnTo>
                  <a:pt x="151201" y="182689"/>
                </a:lnTo>
                <a:lnTo>
                  <a:pt x="152103" y="291400"/>
                </a:lnTo>
                <a:cubicBezTo>
                  <a:pt x="152103" y="293656"/>
                  <a:pt x="150299" y="295009"/>
                  <a:pt x="148495" y="295009"/>
                </a:cubicBezTo>
                <a:lnTo>
                  <a:pt x="116468" y="295009"/>
                </a:lnTo>
                <a:cubicBezTo>
                  <a:pt x="114212" y="295009"/>
                  <a:pt x="112859" y="293205"/>
                  <a:pt x="112859" y="291400"/>
                </a:cubicBezTo>
                <a:lnTo>
                  <a:pt x="113761" y="183140"/>
                </a:lnTo>
                <a:lnTo>
                  <a:pt x="112859" y="81195"/>
                </a:lnTo>
                <a:cubicBezTo>
                  <a:pt x="112859" y="78940"/>
                  <a:pt x="114663" y="77586"/>
                  <a:pt x="116468" y="77586"/>
                </a:cubicBezTo>
                <a:close/>
                <a:moveTo>
                  <a:pt x="485004" y="72174"/>
                </a:moveTo>
                <a:cubicBezTo>
                  <a:pt x="547705" y="72174"/>
                  <a:pt x="585145" y="115027"/>
                  <a:pt x="586498" y="187652"/>
                </a:cubicBezTo>
                <a:cubicBezTo>
                  <a:pt x="586498" y="189907"/>
                  <a:pt x="584694" y="191260"/>
                  <a:pt x="582889" y="191260"/>
                </a:cubicBezTo>
                <a:lnTo>
                  <a:pt x="421852" y="191260"/>
                </a:lnTo>
                <a:cubicBezTo>
                  <a:pt x="423205" y="243586"/>
                  <a:pt x="444858" y="271553"/>
                  <a:pt x="487259" y="271553"/>
                </a:cubicBezTo>
                <a:cubicBezTo>
                  <a:pt x="519286" y="271553"/>
                  <a:pt x="538683" y="254863"/>
                  <a:pt x="544998" y="222836"/>
                </a:cubicBezTo>
                <a:cubicBezTo>
                  <a:pt x="545449" y="220581"/>
                  <a:pt x="547705" y="219227"/>
                  <a:pt x="549509" y="219227"/>
                </a:cubicBezTo>
                <a:lnTo>
                  <a:pt x="579281" y="219227"/>
                </a:lnTo>
                <a:lnTo>
                  <a:pt x="579281" y="219679"/>
                </a:lnTo>
                <a:cubicBezTo>
                  <a:pt x="581536" y="219679"/>
                  <a:pt x="582438" y="221483"/>
                  <a:pt x="582438" y="223287"/>
                </a:cubicBezTo>
                <a:cubicBezTo>
                  <a:pt x="575672" y="267494"/>
                  <a:pt x="542743" y="299972"/>
                  <a:pt x="486808" y="299972"/>
                </a:cubicBezTo>
                <a:cubicBezTo>
                  <a:pt x="419146" y="299972"/>
                  <a:pt x="383059" y="253059"/>
                  <a:pt x="383059" y="186749"/>
                </a:cubicBezTo>
                <a:cubicBezTo>
                  <a:pt x="383059" y="118636"/>
                  <a:pt x="421852" y="72174"/>
                  <a:pt x="485004" y="72174"/>
                </a:cubicBezTo>
                <a:close/>
                <a:moveTo>
                  <a:pt x="116468" y="10826"/>
                </a:moveTo>
                <a:lnTo>
                  <a:pt x="148044" y="10826"/>
                </a:lnTo>
                <a:cubicBezTo>
                  <a:pt x="150299" y="10826"/>
                  <a:pt x="151652" y="12630"/>
                  <a:pt x="151652" y="14435"/>
                </a:cubicBezTo>
                <a:lnTo>
                  <a:pt x="151652" y="49168"/>
                </a:lnTo>
                <a:cubicBezTo>
                  <a:pt x="151652" y="51424"/>
                  <a:pt x="149848" y="52777"/>
                  <a:pt x="148044" y="52777"/>
                </a:cubicBezTo>
                <a:lnTo>
                  <a:pt x="116468" y="52777"/>
                </a:lnTo>
                <a:cubicBezTo>
                  <a:pt x="114212" y="52777"/>
                  <a:pt x="112859" y="50972"/>
                  <a:pt x="112859" y="49168"/>
                </a:cubicBezTo>
                <a:lnTo>
                  <a:pt x="112859" y="14435"/>
                </a:lnTo>
                <a:cubicBezTo>
                  <a:pt x="112859" y="12179"/>
                  <a:pt x="114663" y="10826"/>
                  <a:pt x="116468" y="10826"/>
                </a:cubicBezTo>
                <a:close/>
                <a:moveTo>
                  <a:pt x="29860" y="0"/>
                </a:moveTo>
                <a:lnTo>
                  <a:pt x="60984" y="0"/>
                </a:lnTo>
                <a:cubicBezTo>
                  <a:pt x="63240" y="0"/>
                  <a:pt x="64593" y="1804"/>
                  <a:pt x="64593" y="3609"/>
                </a:cubicBezTo>
                <a:lnTo>
                  <a:pt x="62789" y="145700"/>
                </a:lnTo>
                <a:lnTo>
                  <a:pt x="64593" y="291852"/>
                </a:lnTo>
                <a:cubicBezTo>
                  <a:pt x="64593" y="294107"/>
                  <a:pt x="62789" y="295460"/>
                  <a:pt x="60984" y="295460"/>
                </a:cubicBezTo>
                <a:lnTo>
                  <a:pt x="29860" y="295460"/>
                </a:lnTo>
                <a:lnTo>
                  <a:pt x="29860" y="295009"/>
                </a:lnTo>
                <a:cubicBezTo>
                  <a:pt x="27604" y="295009"/>
                  <a:pt x="26251" y="293205"/>
                  <a:pt x="26251" y="291401"/>
                </a:cubicBezTo>
                <a:lnTo>
                  <a:pt x="28055" y="145700"/>
                </a:lnTo>
                <a:lnTo>
                  <a:pt x="26251" y="3609"/>
                </a:lnTo>
                <a:cubicBezTo>
                  <a:pt x="26251" y="1353"/>
                  <a:pt x="28055" y="0"/>
                  <a:pt x="29860" y="0"/>
                </a:cubicBezTo>
                <a:close/>
              </a:path>
            </a:pathLst>
          </a:custGeom>
          <a:solidFill>
            <a:schemeClr val="tx1"/>
          </a:solidFill>
        </p:spPr>
        <p:txBody>
          <a:bodyPr wrap="square">
            <a:noAutofit/>
          </a:bodyPr>
          <a:lstStyle/>
          <a:p>
            <a:pPr lvl="0"/>
            <a:r>
              <a:rPr lang="en-US"/>
              <a:t> </a:t>
            </a:r>
          </a:p>
        </p:txBody>
      </p:sp>
      <p:sp>
        <p:nvSpPr>
          <p:cNvPr id="12" name="Text Placeholder 7">
            <a:extLst>
              <a:ext uri="{FF2B5EF4-FFF2-40B4-BE49-F238E27FC236}">
                <a16:creationId xmlns:a16="http://schemas.microsoft.com/office/drawing/2014/main" id="{52559B72-5448-8C4D-BA39-F77E5A509B23}"/>
              </a:ext>
            </a:extLst>
          </p:cNvPr>
          <p:cNvSpPr>
            <a:spLocks noGrp="1"/>
          </p:cNvSpPr>
          <p:nvPr>
            <p:ph type="body" sz="quarter" idx="18" hasCustomPrompt="1"/>
          </p:nvPr>
        </p:nvSpPr>
        <p:spPr>
          <a:xfrm>
            <a:off x="521207" y="5687840"/>
            <a:ext cx="1014772" cy="298870"/>
          </a:xfrm>
          <a:prstGeom prst="rect">
            <a:avLst/>
          </a:prstGeom>
          <a:solidFill>
            <a:srgbClr val="1D2550"/>
          </a:solidFill>
        </p:spPr>
        <p:txBody>
          <a:bodyPr wrap="none" lIns="75600" tIns="75600" rIns="75600" bIns="75600" anchor="t" anchorCtr="0">
            <a:spAutoFit/>
          </a:bodyPr>
          <a:lstStyle>
            <a:lvl1pP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56206053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nstructions A">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37845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78E32CC6-04C6-A1DF-EF98-BE4B1B7C525B}"/>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17" name="TextBox 16">
            <a:extLst>
              <a:ext uri="{FF2B5EF4-FFF2-40B4-BE49-F238E27FC236}">
                <a16:creationId xmlns:a16="http://schemas.microsoft.com/office/drawing/2014/main" id="{BA21CB5C-461C-1ED7-7BB8-F25630C3C198}"/>
              </a:ext>
            </a:extLst>
          </p:cNvPr>
          <p:cNvSpPr txBox="1"/>
          <p:nvPr userDrawn="1"/>
        </p:nvSpPr>
        <p:spPr>
          <a:xfrm>
            <a:off x="8111999" y="1785814"/>
            <a:ext cx="3558788" cy="4275149"/>
          </a:xfrm>
          <a:prstGeom prst="rect">
            <a:avLst/>
          </a:prstGeom>
          <a:noFill/>
        </p:spPr>
        <p:txBody>
          <a:bodyPr wrap="square" lIns="0" tIns="0" rIns="0" bIns="0" rtlCol="0">
            <a:noAutofit/>
          </a:bodyPr>
          <a:lstStyle/>
          <a:p>
            <a:pPr lvl="0"/>
            <a:r>
              <a:rPr lang="en-US" sz="1200">
                <a:latin typeface="Forever Forma Body Text"/>
              </a:rPr>
              <a:t>A variety of slides are available for you to choose from when building a PPT presentation. The layouts are presented on the following slides. As you build slides you can choose which layout best fits your content. </a:t>
            </a:r>
          </a:p>
          <a:p>
            <a:pPr lvl="5"/>
            <a:r>
              <a:rPr lang="en-US" sz="1200">
                <a:latin typeface="Forever Forma Body Text"/>
              </a:rPr>
              <a:t>Under the Home tab, click the “New Slide” button to open the options.</a:t>
            </a:r>
          </a:p>
          <a:p>
            <a:pPr lvl="5"/>
            <a:r>
              <a:rPr lang="en-US" sz="1200">
                <a:latin typeface="Forever Forma Body Text"/>
              </a:rPr>
              <a:t>Clicking your choice will bring up the </a:t>
            </a:r>
            <a:br>
              <a:rPr lang="en-US" sz="1200">
                <a:latin typeface="Forever Forma Body Text"/>
              </a:rPr>
            </a:br>
            <a:r>
              <a:rPr lang="en-US" sz="1200">
                <a:latin typeface="Forever Forma Body Text"/>
              </a:rPr>
              <a:t>page layout. </a:t>
            </a:r>
          </a:p>
          <a:p>
            <a:pPr lvl="5"/>
            <a:r>
              <a:rPr lang="en-US" sz="1200">
                <a:latin typeface="Forever Forma Body Text"/>
              </a:rPr>
              <a:t>A variety of covers, dividers, and content slides are available to build your presentation, with variations of each.</a:t>
            </a:r>
          </a:p>
          <a:p>
            <a:pPr lvl="5"/>
            <a:r>
              <a:rPr lang="en-US" sz="1200">
                <a:latin typeface="Forever Forma Body Text"/>
              </a:rPr>
              <a:t>Delete any slides in the following examples</a:t>
            </a:r>
            <a:br>
              <a:rPr lang="en-US" sz="1200">
                <a:latin typeface="Forever Forma Body Text"/>
              </a:rPr>
            </a:br>
            <a:r>
              <a:rPr lang="en-US" sz="1200">
                <a:latin typeface="Forever Forma Body Text"/>
              </a:rPr>
              <a:t>that you do not need to use. They are only presented so you can see all of the </a:t>
            </a:r>
            <a:br>
              <a:rPr lang="en-US" sz="1200">
                <a:latin typeface="Forever Forma Body Text"/>
              </a:rPr>
            </a:br>
            <a:r>
              <a:rPr lang="en-US" sz="1200">
                <a:latin typeface="Forever Forma Body Text"/>
              </a:rPr>
              <a:t>available layouts.</a:t>
            </a:r>
          </a:p>
          <a:p>
            <a:pPr algn="l"/>
            <a:endParaRPr lang="en-US" sz="1200">
              <a:latin typeface="Forever Forma Body Text"/>
            </a:endParaRPr>
          </a:p>
        </p:txBody>
      </p:sp>
      <p:sp>
        <p:nvSpPr>
          <p:cNvPr id="16" name="TextBox 15">
            <a:extLst>
              <a:ext uri="{FF2B5EF4-FFF2-40B4-BE49-F238E27FC236}">
                <a16:creationId xmlns:a16="http://schemas.microsoft.com/office/drawing/2014/main" id="{5C6BD1A1-FB78-DCEA-2DE1-B40A3413793A}"/>
              </a:ext>
            </a:extLst>
          </p:cNvPr>
          <p:cNvSpPr txBox="1"/>
          <p:nvPr userDrawn="1"/>
        </p:nvSpPr>
        <p:spPr>
          <a:xfrm>
            <a:off x="8111999" y="1414801"/>
            <a:ext cx="3558788" cy="324000"/>
          </a:xfrm>
          <a:prstGeom prst="rect">
            <a:avLst/>
          </a:prstGeom>
          <a:noFill/>
        </p:spPr>
        <p:txBody>
          <a:bodyPr wrap="square" lIns="0" tIns="0" rIns="0" bIns="0" rtlCol="0">
            <a:noAutofit/>
          </a:bodyPr>
          <a:lstStyle/>
          <a:p>
            <a:pPr algn="l"/>
            <a:r>
              <a:rPr lang="en-US">
                <a:latin typeface="Forever Forma Body Text"/>
              </a:rPr>
              <a:t>Slide layouts</a:t>
            </a:r>
          </a:p>
        </p:txBody>
      </p:sp>
      <p:sp>
        <p:nvSpPr>
          <p:cNvPr id="7" name="TextBox 6">
            <a:extLst>
              <a:ext uri="{FF2B5EF4-FFF2-40B4-BE49-F238E27FC236}">
                <a16:creationId xmlns:a16="http://schemas.microsoft.com/office/drawing/2014/main" id="{DCC41A1F-0F4F-3173-FDD3-B4AEE0928075}"/>
              </a:ext>
            </a:extLst>
          </p:cNvPr>
          <p:cNvSpPr txBox="1"/>
          <p:nvPr userDrawn="1"/>
        </p:nvSpPr>
        <p:spPr>
          <a:xfrm>
            <a:off x="521209" y="324362"/>
            <a:ext cx="11149580" cy="944637"/>
          </a:xfrm>
          <a:prstGeom prst="rect">
            <a:avLst/>
          </a:prstGeom>
          <a:noFill/>
        </p:spPr>
        <p:txBody>
          <a:bodyPr wrap="square" lIns="0" tIns="0" rIns="0" bIns="0" rtlCol="0">
            <a:noAutofit/>
          </a:bodyPr>
          <a:lstStyle/>
          <a:p>
            <a:pPr algn="l">
              <a:lnSpc>
                <a:spcPct val="85000"/>
              </a:lnSpc>
            </a:pPr>
            <a:r>
              <a:rPr lang="en-US" sz="3600">
                <a:latin typeface="Forever Forma Body Text"/>
              </a:rPr>
              <a:t>Instructions: layouts</a:t>
            </a:r>
          </a:p>
        </p:txBody>
      </p:sp>
      <p:pic>
        <p:nvPicPr>
          <p:cNvPr id="15" name="Picture 14">
            <a:extLst>
              <a:ext uri="{FF2B5EF4-FFF2-40B4-BE49-F238E27FC236}">
                <a16:creationId xmlns:a16="http://schemas.microsoft.com/office/drawing/2014/main" id="{F9A25398-DB7E-1134-4F8E-D6CFFC890C2A}"/>
              </a:ext>
            </a:extLst>
          </p:cNvPr>
          <p:cNvPicPr>
            <a:picLocks noChangeAspect="1"/>
          </p:cNvPicPr>
          <p:nvPr userDrawn="1"/>
        </p:nvPicPr>
        <p:blipFill rotWithShape="1">
          <a:blip r:embed="rId5"/>
          <a:srcRect l="-1" t="-2" r="-24943" b="-400022"/>
          <a:stretch/>
        </p:blipFill>
        <p:spPr>
          <a:xfrm>
            <a:off x="521209" y="1414800"/>
            <a:ext cx="7266792" cy="4635150"/>
          </a:xfrm>
          <a:prstGeom prst="rect">
            <a:avLst/>
          </a:prstGeom>
          <a:solidFill>
            <a:schemeClr val="accent6"/>
          </a:solidFill>
          <a:ln>
            <a:solidFill>
              <a:schemeClr val="tx1"/>
            </a:solidFill>
          </a:ln>
        </p:spPr>
      </p:pic>
      <p:pic>
        <p:nvPicPr>
          <p:cNvPr id="19" name="Picture 18">
            <a:extLst>
              <a:ext uri="{FF2B5EF4-FFF2-40B4-BE49-F238E27FC236}">
                <a16:creationId xmlns:a16="http://schemas.microsoft.com/office/drawing/2014/main" id="{4A1D1CD1-EB80-C73D-5825-121ECF0B4A4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894326" y="1785814"/>
            <a:ext cx="528690" cy="528690"/>
          </a:xfrm>
          <a:prstGeom prst="rect">
            <a:avLst/>
          </a:prstGeom>
        </p:spPr>
      </p:pic>
      <p:pic>
        <p:nvPicPr>
          <p:cNvPr id="9" name="Picture 8">
            <a:extLst>
              <a:ext uri="{FF2B5EF4-FFF2-40B4-BE49-F238E27FC236}">
                <a16:creationId xmlns:a16="http://schemas.microsoft.com/office/drawing/2014/main" id="{3DFFA299-6C39-BECB-CA3D-1CF8F8095ABD}"/>
              </a:ext>
            </a:extLst>
          </p:cNvPr>
          <p:cNvPicPr>
            <a:picLocks noChangeAspect="1"/>
          </p:cNvPicPr>
          <p:nvPr userDrawn="1"/>
        </p:nvPicPr>
        <p:blipFill rotWithShape="1">
          <a:blip r:embed="rId7"/>
          <a:srcRect r="535" b="23032"/>
          <a:stretch/>
        </p:blipFill>
        <p:spPr>
          <a:xfrm>
            <a:off x="1894418" y="2353446"/>
            <a:ext cx="4827058" cy="3696504"/>
          </a:xfrm>
          <a:prstGeom prst="rect">
            <a:avLst/>
          </a:prstGeom>
          <a:ln w="9525">
            <a:solidFill>
              <a:schemeClr val="tx1"/>
            </a:solidFill>
          </a:ln>
        </p:spPr>
      </p:pic>
      <p:sp>
        <p:nvSpPr>
          <p:cNvPr id="4" name="footnotes">
            <a:extLst>
              <a:ext uri="{FF2B5EF4-FFF2-40B4-BE49-F238E27FC236}">
                <a16:creationId xmlns:a16="http://schemas.microsoft.com/office/drawing/2014/main" id="{F7D8335A-24FB-2576-74CB-22D0E20F7188}"/>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1114452166"/>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nstructions B">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37845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78E32CC6-04C6-A1DF-EF98-BE4B1B7C525B}"/>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17" name="TextBox 16">
            <a:extLst>
              <a:ext uri="{FF2B5EF4-FFF2-40B4-BE49-F238E27FC236}">
                <a16:creationId xmlns:a16="http://schemas.microsoft.com/office/drawing/2014/main" id="{BA21CB5C-461C-1ED7-7BB8-F25630C3C198}"/>
              </a:ext>
            </a:extLst>
          </p:cNvPr>
          <p:cNvSpPr txBox="1"/>
          <p:nvPr userDrawn="1"/>
        </p:nvSpPr>
        <p:spPr>
          <a:xfrm>
            <a:off x="8111999" y="1785814"/>
            <a:ext cx="3558788" cy="4275149"/>
          </a:xfrm>
          <a:prstGeom prst="rect">
            <a:avLst/>
          </a:prstGeom>
          <a:noFill/>
        </p:spPr>
        <p:txBody>
          <a:bodyPr wrap="square" lIns="0" tIns="0" rIns="0" bIns="0" rtlCol="0">
            <a:noAutofit/>
          </a:bodyPr>
          <a:lstStyle/>
          <a:p>
            <a:pPr lvl="0"/>
            <a:r>
              <a:rPr lang="en-US" sz="1200">
                <a:latin typeface="Forever Forma Body Text"/>
              </a:rPr>
              <a:t>All approved fonts, sizes, text colors and bullets are preloaded into the ”list level” arrows. Standard body copy is the default “first level”, and you can switch to other pre-approved styles by clicking through the arrows. </a:t>
            </a:r>
            <a:br>
              <a:rPr lang="en-US" sz="1200">
                <a:latin typeface="Forever Forma Body Text"/>
              </a:rPr>
            </a:br>
            <a:br>
              <a:rPr lang="en-US" sz="1200">
                <a:latin typeface="Forever Forma Body Text"/>
              </a:rPr>
            </a:br>
            <a:r>
              <a:rPr lang="en-US" sz="1200">
                <a:latin typeface="Forever Forma Body Text"/>
              </a:rPr>
              <a:t>Using the “Bullet” icon is discouraged, as </a:t>
            </a:r>
            <a:br>
              <a:rPr lang="en-US" sz="1200">
                <a:latin typeface="Forever Forma Body Text"/>
              </a:rPr>
            </a:br>
            <a:r>
              <a:rPr lang="en-US" sz="1200">
                <a:latin typeface="Forever Forma Body Text"/>
              </a:rPr>
              <a:t>it will default to the built-in PowerPoint indent/bullet styles and will not make use of the custom indent/bullet styles. </a:t>
            </a:r>
            <a:br>
              <a:rPr lang="en-US" sz="1200">
                <a:latin typeface="Forever Forma Body Text"/>
              </a:rPr>
            </a:br>
            <a:br>
              <a:rPr lang="en-US" sz="1200">
                <a:latin typeface="Forever Forma Body Text"/>
              </a:rPr>
            </a:br>
            <a:r>
              <a:rPr lang="en-US" sz="1200">
                <a:latin typeface="Forever Forma Body Text"/>
              </a:rPr>
              <a:t>Instead, use the “Decrease/Increase List Level” buttons in the Home tab for all text adjustments to ensure all fonts, colors, sizes remain on brand. </a:t>
            </a:r>
            <a:br>
              <a:rPr lang="en-US" sz="1200">
                <a:latin typeface="Forever Forma Body Text"/>
              </a:rPr>
            </a:br>
            <a:br>
              <a:rPr lang="en-US" sz="1200">
                <a:latin typeface="Forever Forma Body Text"/>
              </a:rPr>
            </a:br>
            <a:r>
              <a:rPr lang="en-US" sz="1200">
                <a:latin typeface="Forever Forma Body Text"/>
              </a:rPr>
              <a:t>The standard text options are shown to the </a:t>
            </a:r>
            <a:br>
              <a:rPr lang="en-US" sz="1200">
                <a:latin typeface="Forever Forma Body Text"/>
              </a:rPr>
            </a:br>
            <a:r>
              <a:rPr lang="en-US" sz="1200">
                <a:latin typeface="Forever Forma Body Text"/>
              </a:rPr>
              <a:t>left, but different text boxes have different preloaded options depending on the specific layout.</a:t>
            </a:r>
          </a:p>
        </p:txBody>
      </p:sp>
      <p:sp>
        <p:nvSpPr>
          <p:cNvPr id="16" name="TextBox 15">
            <a:extLst>
              <a:ext uri="{FF2B5EF4-FFF2-40B4-BE49-F238E27FC236}">
                <a16:creationId xmlns:a16="http://schemas.microsoft.com/office/drawing/2014/main" id="{5C6BD1A1-FB78-DCEA-2DE1-B40A3413793A}"/>
              </a:ext>
            </a:extLst>
          </p:cNvPr>
          <p:cNvSpPr txBox="1"/>
          <p:nvPr userDrawn="1"/>
        </p:nvSpPr>
        <p:spPr>
          <a:xfrm>
            <a:off x="8111999" y="1414801"/>
            <a:ext cx="3558788" cy="324000"/>
          </a:xfrm>
          <a:prstGeom prst="rect">
            <a:avLst/>
          </a:prstGeom>
          <a:noFill/>
        </p:spPr>
        <p:txBody>
          <a:bodyPr wrap="square" lIns="0" tIns="0" rIns="0" bIns="0" rtlCol="0">
            <a:noAutofit/>
          </a:bodyPr>
          <a:lstStyle/>
          <a:p>
            <a:pPr algn="l"/>
            <a:r>
              <a:rPr lang="en-US">
                <a:latin typeface="Forever Forma Body Text"/>
              </a:rPr>
              <a:t>Preloaded text styles</a:t>
            </a:r>
          </a:p>
        </p:txBody>
      </p:sp>
      <p:sp>
        <p:nvSpPr>
          <p:cNvPr id="7" name="TextBox 6">
            <a:extLst>
              <a:ext uri="{FF2B5EF4-FFF2-40B4-BE49-F238E27FC236}">
                <a16:creationId xmlns:a16="http://schemas.microsoft.com/office/drawing/2014/main" id="{DCC41A1F-0F4F-3173-FDD3-B4AEE0928075}"/>
              </a:ext>
            </a:extLst>
          </p:cNvPr>
          <p:cNvSpPr txBox="1"/>
          <p:nvPr userDrawn="1"/>
        </p:nvSpPr>
        <p:spPr>
          <a:xfrm>
            <a:off x="521209" y="324362"/>
            <a:ext cx="11149580" cy="944637"/>
          </a:xfrm>
          <a:prstGeom prst="rect">
            <a:avLst/>
          </a:prstGeom>
          <a:noFill/>
        </p:spPr>
        <p:txBody>
          <a:bodyPr wrap="square" lIns="0" tIns="0" rIns="0" bIns="0" rtlCol="0">
            <a:noAutofit/>
          </a:bodyPr>
          <a:lstStyle/>
          <a:p>
            <a:pPr algn="l">
              <a:lnSpc>
                <a:spcPct val="85000"/>
              </a:lnSpc>
            </a:pPr>
            <a:r>
              <a:rPr lang="en-US" sz="3600">
                <a:latin typeface="Forever Forma Body Text"/>
              </a:rPr>
              <a:t>Instructions: preloaded text styles</a:t>
            </a:r>
          </a:p>
        </p:txBody>
      </p:sp>
      <p:grpSp>
        <p:nvGrpSpPr>
          <p:cNvPr id="10" name="Group 9">
            <a:extLst>
              <a:ext uri="{FF2B5EF4-FFF2-40B4-BE49-F238E27FC236}">
                <a16:creationId xmlns:a16="http://schemas.microsoft.com/office/drawing/2014/main" id="{89D1F766-0D8F-FD02-BA48-D8DFF1798AAD}"/>
              </a:ext>
            </a:extLst>
          </p:cNvPr>
          <p:cNvGrpSpPr/>
          <p:nvPr userDrawn="1"/>
        </p:nvGrpSpPr>
        <p:grpSpPr>
          <a:xfrm>
            <a:off x="521209" y="1414800"/>
            <a:ext cx="7266792" cy="1207448"/>
            <a:chOff x="1398798" y="1584325"/>
            <a:chExt cx="6484726" cy="1077501"/>
          </a:xfrm>
        </p:grpSpPr>
        <p:pic>
          <p:nvPicPr>
            <p:cNvPr id="11" name="Picture 10">
              <a:extLst>
                <a:ext uri="{FF2B5EF4-FFF2-40B4-BE49-F238E27FC236}">
                  <a16:creationId xmlns:a16="http://schemas.microsoft.com/office/drawing/2014/main" id="{DB7D75CE-988E-EF76-B9D1-D540E8BF00F2}"/>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398798" y="1584325"/>
              <a:ext cx="6484726" cy="1077501"/>
            </a:xfrm>
            <a:prstGeom prst="rect">
              <a:avLst/>
            </a:prstGeom>
            <a:ln>
              <a:noFill/>
            </a:ln>
          </p:spPr>
        </p:pic>
        <p:sp>
          <p:nvSpPr>
            <p:cNvPr id="12" name="TextBox 11">
              <a:extLst>
                <a:ext uri="{FF2B5EF4-FFF2-40B4-BE49-F238E27FC236}">
                  <a16:creationId xmlns:a16="http://schemas.microsoft.com/office/drawing/2014/main" id="{0448CB45-5DE8-3995-A387-3E7B202E948A}"/>
                </a:ext>
              </a:extLst>
            </p:cNvPr>
            <p:cNvSpPr txBox="1"/>
            <p:nvPr/>
          </p:nvSpPr>
          <p:spPr>
            <a:xfrm>
              <a:off x="5741497" y="1964627"/>
              <a:ext cx="557460" cy="499869"/>
            </a:xfrm>
            <a:prstGeom prst="rect">
              <a:avLst/>
            </a:prstGeom>
            <a:noFill/>
          </p:spPr>
          <p:txBody>
            <a:bodyPr wrap="square" rtlCol="0">
              <a:spAutoFit/>
            </a:bodyPr>
            <a:lstStyle/>
            <a:p>
              <a:r>
                <a:rPr lang="en-US" sz="3200">
                  <a:solidFill>
                    <a:srgbClr val="C00000"/>
                  </a:solidFill>
                </a:rPr>
                <a:t>X</a:t>
              </a:r>
            </a:p>
          </p:txBody>
        </p:sp>
        <p:sp>
          <p:nvSpPr>
            <p:cNvPr id="13" name="Oval 12">
              <a:extLst>
                <a:ext uri="{FF2B5EF4-FFF2-40B4-BE49-F238E27FC236}">
                  <a16:creationId xmlns:a16="http://schemas.microsoft.com/office/drawing/2014/main" id="{7CFC317B-DDA7-43F5-19D1-51607A22F991}"/>
                </a:ext>
              </a:extLst>
            </p:cNvPr>
            <p:cNvSpPr/>
            <p:nvPr/>
          </p:nvSpPr>
          <p:spPr bwMode="auto">
            <a:xfrm>
              <a:off x="6500812" y="2021681"/>
              <a:ext cx="678657" cy="385763"/>
            </a:xfrm>
            <a:prstGeom prst="ellipse">
              <a:avLst/>
            </a:prstGeom>
            <a:noFill/>
            <a:ln w="38100" cap="flat">
              <a:solidFill>
                <a:srgbClr val="C00000"/>
              </a:solidFill>
              <a:bevel/>
              <a:headEnd/>
              <a:tailEnd/>
            </a:ln>
            <a:effectLst/>
          </p:spPr>
          <p:txBody>
            <a:bodyPr wrap="none" rtlCol="0" anchor="ctr"/>
            <a:lstStyle/>
            <a:p>
              <a:pPr algn="ctr"/>
              <a:endParaRPr lang="en-US"/>
            </a:p>
          </p:txBody>
        </p:sp>
        <p:sp>
          <p:nvSpPr>
            <p:cNvPr id="14" name="TextBox 13">
              <a:extLst>
                <a:ext uri="{FF2B5EF4-FFF2-40B4-BE49-F238E27FC236}">
                  <a16:creationId xmlns:a16="http://schemas.microsoft.com/office/drawing/2014/main" id="{D2CCF1AD-69D3-FCC8-BF45-CE83F099EFC3}"/>
                </a:ext>
              </a:extLst>
            </p:cNvPr>
            <p:cNvSpPr txBox="1"/>
            <p:nvPr userDrawn="1"/>
          </p:nvSpPr>
          <p:spPr>
            <a:xfrm>
              <a:off x="6141050" y="1964627"/>
              <a:ext cx="557460" cy="499869"/>
            </a:xfrm>
            <a:prstGeom prst="rect">
              <a:avLst/>
            </a:prstGeom>
            <a:noFill/>
          </p:spPr>
          <p:txBody>
            <a:bodyPr wrap="square" rtlCol="0">
              <a:spAutoFit/>
            </a:bodyPr>
            <a:lstStyle/>
            <a:p>
              <a:r>
                <a:rPr lang="en-US" sz="3200">
                  <a:solidFill>
                    <a:srgbClr val="C00000"/>
                  </a:solidFill>
                </a:rPr>
                <a:t>X</a:t>
              </a:r>
            </a:p>
          </p:txBody>
        </p:sp>
      </p:grpSp>
      <p:sp>
        <p:nvSpPr>
          <p:cNvPr id="25" name="TextBox 24">
            <a:extLst>
              <a:ext uri="{FF2B5EF4-FFF2-40B4-BE49-F238E27FC236}">
                <a16:creationId xmlns:a16="http://schemas.microsoft.com/office/drawing/2014/main" id="{07F63A86-921D-1366-8995-0E53019F7AD1}"/>
              </a:ext>
            </a:extLst>
          </p:cNvPr>
          <p:cNvSpPr txBox="1"/>
          <p:nvPr userDrawn="1"/>
        </p:nvSpPr>
        <p:spPr>
          <a:xfrm>
            <a:off x="12847320" y="922020"/>
            <a:ext cx="0" cy="0"/>
          </a:xfrm>
          <a:prstGeom prst="rect">
            <a:avLst/>
          </a:prstGeom>
          <a:noFill/>
        </p:spPr>
        <p:txBody>
          <a:bodyPr wrap="none" lIns="0" tIns="0" rIns="0" bIns="0" rtlCol="0">
            <a:noAutofit/>
          </a:bodyPr>
          <a:lstStyle/>
          <a:p>
            <a:pPr algn="l"/>
            <a:endParaRPr lang="en-US">
              <a:latin typeface="Forever Forma Body Text"/>
            </a:endParaRPr>
          </a:p>
        </p:txBody>
      </p:sp>
      <p:pic>
        <p:nvPicPr>
          <p:cNvPr id="6" name="Picture 5" descr="A list of text level&#10;&#10;Description automatically generated">
            <a:extLst>
              <a:ext uri="{FF2B5EF4-FFF2-40B4-BE49-F238E27FC236}">
                <a16:creationId xmlns:a16="http://schemas.microsoft.com/office/drawing/2014/main" id="{C0989CF8-B9D6-3999-066A-D96895D389A5}"/>
              </a:ext>
            </a:extLst>
          </p:cNvPr>
          <p:cNvPicPr>
            <a:picLocks noChangeAspect="1"/>
          </p:cNvPicPr>
          <p:nvPr userDrawn="1"/>
        </p:nvPicPr>
        <p:blipFill>
          <a:blip r:embed="rId6"/>
          <a:stretch>
            <a:fillRect/>
          </a:stretch>
        </p:blipFill>
        <p:spPr>
          <a:xfrm>
            <a:off x="524194" y="2836333"/>
            <a:ext cx="3469487" cy="2744519"/>
          </a:xfrm>
          <a:prstGeom prst="rect">
            <a:avLst/>
          </a:prstGeom>
        </p:spPr>
      </p:pic>
      <p:sp>
        <p:nvSpPr>
          <p:cNvPr id="4" name="footnotes">
            <a:extLst>
              <a:ext uri="{FF2B5EF4-FFF2-40B4-BE49-F238E27FC236}">
                <a16:creationId xmlns:a16="http://schemas.microsoft.com/office/drawing/2014/main" id="{90CEE308-BEBD-16E9-FA6B-F0E4A90F8A33}"/>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3940821234"/>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nstructions C">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37845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78E32CC6-04C6-A1DF-EF98-BE4B1B7C525B}"/>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17" name="TextBox 16">
            <a:extLst>
              <a:ext uri="{FF2B5EF4-FFF2-40B4-BE49-F238E27FC236}">
                <a16:creationId xmlns:a16="http://schemas.microsoft.com/office/drawing/2014/main" id="{BA21CB5C-461C-1ED7-7BB8-F25630C3C198}"/>
              </a:ext>
            </a:extLst>
          </p:cNvPr>
          <p:cNvSpPr txBox="1"/>
          <p:nvPr userDrawn="1"/>
        </p:nvSpPr>
        <p:spPr>
          <a:xfrm>
            <a:off x="521209" y="4569830"/>
            <a:ext cx="4767890" cy="683083"/>
          </a:xfrm>
          <a:prstGeom prst="rect">
            <a:avLst/>
          </a:prstGeom>
          <a:noFill/>
        </p:spPr>
        <p:txBody>
          <a:bodyPr wrap="square" lIns="0" tIns="0" rIns="0" bIns="0" rtlCol="0">
            <a:noAutofit/>
          </a:bodyPr>
          <a:lstStyle/>
          <a:p>
            <a:pPr lvl="0"/>
            <a:r>
              <a:rPr lang="en-US" sz="1200">
                <a:latin typeface="Forever Forma Body Text"/>
              </a:rPr>
              <a:t>To convert slides, select, copy, and paste the elements from one PPT presentation to the other. Select your text in the presentation.</a:t>
            </a:r>
          </a:p>
        </p:txBody>
      </p:sp>
      <p:sp>
        <p:nvSpPr>
          <p:cNvPr id="7" name="TextBox 6">
            <a:extLst>
              <a:ext uri="{FF2B5EF4-FFF2-40B4-BE49-F238E27FC236}">
                <a16:creationId xmlns:a16="http://schemas.microsoft.com/office/drawing/2014/main" id="{DCC41A1F-0F4F-3173-FDD3-B4AEE0928075}"/>
              </a:ext>
            </a:extLst>
          </p:cNvPr>
          <p:cNvSpPr txBox="1"/>
          <p:nvPr userDrawn="1"/>
        </p:nvSpPr>
        <p:spPr>
          <a:xfrm>
            <a:off x="521209" y="324362"/>
            <a:ext cx="11149580" cy="944637"/>
          </a:xfrm>
          <a:prstGeom prst="rect">
            <a:avLst/>
          </a:prstGeom>
          <a:noFill/>
        </p:spPr>
        <p:txBody>
          <a:bodyPr wrap="square" lIns="0" tIns="0" rIns="0" bIns="0" rtlCol="0">
            <a:noAutofit/>
          </a:bodyPr>
          <a:lstStyle/>
          <a:p>
            <a:pPr algn="l">
              <a:lnSpc>
                <a:spcPct val="85000"/>
              </a:lnSpc>
            </a:pPr>
            <a:r>
              <a:rPr lang="en-US" sz="3600">
                <a:latin typeface="Forever Forma Body Text"/>
              </a:rPr>
              <a:t>Instructions: conversions to new template</a:t>
            </a:r>
          </a:p>
          <a:p>
            <a:pPr algn="l">
              <a:lnSpc>
                <a:spcPct val="85000"/>
              </a:lnSpc>
              <a:buNone/>
            </a:pPr>
            <a:endParaRPr lang="en-US" sz="3600">
              <a:latin typeface="Forever Forma Body Text"/>
            </a:endParaRPr>
          </a:p>
        </p:txBody>
      </p:sp>
      <p:sp>
        <p:nvSpPr>
          <p:cNvPr id="25" name="TextBox 24">
            <a:extLst>
              <a:ext uri="{FF2B5EF4-FFF2-40B4-BE49-F238E27FC236}">
                <a16:creationId xmlns:a16="http://schemas.microsoft.com/office/drawing/2014/main" id="{07F63A86-921D-1366-8995-0E53019F7AD1}"/>
              </a:ext>
            </a:extLst>
          </p:cNvPr>
          <p:cNvSpPr txBox="1"/>
          <p:nvPr userDrawn="1"/>
        </p:nvSpPr>
        <p:spPr>
          <a:xfrm>
            <a:off x="12847320" y="922020"/>
            <a:ext cx="0" cy="0"/>
          </a:xfrm>
          <a:prstGeom prst="rect">
            <a:avLst/>
          </a:prstGeom>
          <a:noFill/>
        </p:spPr>
        <p:txBody>
          <a:bodyPr wrap="none" lIns="0" tIns="0" rIns="0" bIns="0" rtlCol="0">
            <a:noAutofit/>
          </a:bodyPr>
          <a:lstStyle/>
          <a:p>
            <a:pPr algn="l"/>
            <a:endParaRPr lang="en-US">
              <a:latin typeface="Forever Forma Body Text"/>
            </a:endParaRPr>
          </a:p>
        </p:txBody>
      </p:sp>
      <p:pic>
        <p:nvPicPr>
          <p:cNvPr id="26" name="Picture 25">
            <a:extLst>
              <a:ext uri="{FF2B5EF4-FFF2-40B4-BE49-F238E27FC236}">
                <a16:creationId xmlns:a16="http://schemas.microsoft.com/office/drawing/2014/main" id="{E9E754BA-BBF4-C1BB-B74A-34DE10AE5D64}"/>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5954383" y="1416923"/>
            <a:ext cx="2599825" cy="2927919"/>
          </a:xfrm>
          <a:prstGeom prst="rect">
            <a:avLst/>
          </a:prstGeom>
          <a:solidFill>
            <a:schemeClr val="bg2"/>
          </a:solidFill>
          <a:ln>
            <a:solidFill>
              <a:schemeClr val="tx2"/>
            </a:solidFill>
          </a:ln>
        </p:spPr>
      </p:pic>
      <p:sp>
        <p:nvSpPr>
          <p:cNvPr id="27" name="Oval 26">
            <a:extLst>
              <a:ext uri="{FF2B5EF4-FFF2-40B4-BE49-F238E27FC236}">
                <a16:creationId xmlns:a16="http://schemas.microsoft.com/office/drawing/2014/main" id="{10D549E8-3928-3F2E-1866-DDC633D895E7}"/>
              </a:ext>
            </a:extLst>
          </p:cNvPr>
          <p:cNvSpPr/>
          <p:nvPr userDrawn="1"/>
        </p:nvSpPr>
        <p:spPr bwMode="auto">
          <a:xfrm>
            <a:off x="5988448" y="3048029"/>
            <a:ext cx="489754" cy="479892"/>
          </a:xfrm>
          <a:prstGeom prst="ellipse">
            <a:avLst/>
          </a:prstGeom>
          <a:noFill/>
          <a:ln w="38100" cap="flat">
            <a:solidFill>
              <a:srgbClr val="C00000"/>
            </a:solidFill>
            <a:bevel/>
            <a:headEnd/>
            <a:tailEnd/>
          </a:ln>
          <a:effectLst/>
        </p:spPr>
        <p:txBody>
          <a:bodyPr wrap="none" rtlCol="0" anchor="ctr"/>
          <a:lstStyle/>
          <a:p>
            <a:pPr algn="ctr"/>
            <a:endParaRPr lang="en-US"/>
          </a:p>
        </p:txBody>
      </p:sp>
      <p:pic>
        <p:nvPicPr>
          <p:cNvPr id="30" name="Picture 29">
            <a:extLst>
              <a:ext uri="{FF2B5EF4-FFF2-40B4-BE49-F238E27FC236}">
                <a16:creationId xmlns:a16="http://schemas.microsoft.com/office/drawing/2014/main" id="{493DC2FC-0C23-23FB-6C8D-FB84F8AB309A}"/>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b="-467"/>
          <a:stretch/>
        </p:blipFill>
        <p:spPr>
          <a:xfrm>
            <a:off x="536841" y="1416923"/>
            <a:ext cx="4752258" cy="2927901"/>
          </a:xfrm>
          <a:prstGeom prst="rect">
            <a:avLst/>
          </a:prstGeom>
          <a:solidFill>
            <a:schemeClr val="accent6"/>
          </a:solidFill>
          <a:ln>
            <a:solidFill>
              <a:schemeClr val="tx2"/>
            </a:solidFill>
          </a:ln>
        </p:spPr>
      </p:pic>
      <p:pic>
        <p:nvPicPr>
          <p:cNvPr id="31" name="Picture 30">
            <a:extLst>
              <a:ext uri="{FF2B5EF4-FFF2-40B4-BE49-F238E27FC236}">
                <a16:creationId xmlns:a16="http://schemas.microsoft.com/office/drawing/2014/main" id="{FC997AD6-B04C-9255-226A-EC419228D827}"/>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998514" y="3662831"/>
            <a:ext cx="523632" cy="523632"/>
          </a:xfrm>
          <a:prstGeom prst="rect">
            <a:avLst/>
          </a:prstGeom>
        </p:spPr>
      </p:pic>
      <p:pic>
        <p:nvPicPr>
          <p:cNvPr id="33" name="Picture 32">
            <a:extLst>
              <a:ext uri="{FF2B5EF4-FFF2-40B4-BE49-F238E27FC236}">
                <a16:creationId xmlns:a16="http://schemas.microsoft.com/office/drawing/2014/main" id="{A713A8C0-2A3E-D40B-0C36-B5B932E80A08}"/>
              </a:ext>
            </a:extLst>
          </p:cNvPr>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9055333" y="1416923"/>
            <a:ext cx="2599825" cy="2927919"/>
          </a:xfrm>
          <a:prstGeom prst="rect">
            <a:avLst/>
          </a:prstGeom>
          <a:solidFill>
            <a:schemeClr val="bg2"/>
          </a:solidFill>
          <a:ln>
            <a:solidFill>
              <a:schemeClr val="tx2"/>
            </a:solidFill>
          </a:ln>
        </p:spPr>
      </p:pic>
      <p:pic>
        <p:nvPicPr>
          <p:cNvPr id="34" name="Picture 33">
            <a:extLst>
              <a:ext uri="{FF2B5EF4-FFF2-40B4-BE49-F238E27FC236}">
                <a16:creationId xmlns:a16="http://schemas.microsoft.com/office/drawing/2014/main" id="{9B784512-CCB4-C720-F206-A3DC57139EB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903497" y="3983750"/>
            <a:ext cx="473586" cy="473586"/>
          </a:xfrm>
          <a:prstGeom prst="rect">
            <a:avLst/>
          </a:prstGeom>
        </p:spPr>
      </p:pic>
      <p:sp>
        <p:nvSpPr>
          <p:cNvPr id="36" name="TextBox 35">
            <a:extLst>
              <a:ext uri="{FF2B5EF4-FFF2-40B4-BE49-F238E27FC236}">
                <a16:creationId xmlns:a16="http://schemas.microsoft.com/office/drawing/2014/main" id="{174C98BF-A272-6B96-6135-75B2136243A0}"/>
              </a:ext>
            </a:extLst>
          </p:cNvPr>
          <p:cNvSpPr txBox="1"/>
          <p:nvPr userDrawn="1"/>
        </p:nvSpPr>
        <p:spPr>
          <a:xfrm>
            <a:off x="5954383" y="4569830"/>
            <a:ext cx="2599825" cy="683083"/>
          </a:xfrm>
          <a:prstGeom prst="rect">
            <a:avLst/>
          </a:prstGeom>
          <a:noFill/>
        </p:spPr>
        <p:txBody>
          <a:bodyPr wrap="square" lIns="0" tIns="0" rIns="0" bIns="0" rtlCol="0">
            <a:noAutofit/>
          </a:bodyPr>
          <a:lstStyle/>
          <a:p>
            <a:pPr lvl="0"/>
            <a:r>
              <a:rPr lang="en-US" sz="1200">
                <a:latin typeface="Forever Forma Body Text"/>
              </a:rPr>
              <a:t>In the new template, paste the content into the desired text box, and click on the format tab.</a:t>
            </a:r>
          </a:p>
        </p:txBody>
      </p:sp>
      <p:sp>
        <p:nvSpPr>
          <p:cNvPr id="37" name="TextBox 36">
            <a:extLst>
              <a:ext uri="{FF2B5EF4-FFF2-40B4-BE49-F238E27FC236}">
                <a16:creationId xmlns:a16="http://schemas.microsoft.com/office/drawing/2014/main" id="{17D34793-5AE5-963E-409F-3EE26E1DCBEA}"/>
              </a:ext>
            </a:extLst>
          </p:cNvPr>
          <p:cNvSpPr txBox="1"/>
          <p:nvPr userDrawn="1"/>
        </p:nvSpPr>
        <p:spPr>
          <a:xfrm>
            <a:off x="9055333" y="4569830"/>
            <a:ext cx="2599825" cy="683083"/>
          </a:xfrm>
          <a:prstGeom prst="rect">
            <a:avLst/>
          </a:prstGeom>
          <a:noFill/>
        </p:spPr>
        <p:txBody>
          <a:bodyPr wrap="square" lIns="0" tIns="0" rIns="0" bIns="0" rtlCol="0">
            <a:noAutofit/>
          </a:bodyPr>
          <a:lstStyle/>
          <a:p>
            <a:pPr lvl="0"/>
            <a:r>
              <a:rPr lang="en-US" sz="1200">
                <a:latin typeface="Forever Forma Body Text"/>
              </a:rPr>
              <a:t>Select “Keep Text Only” to apply the preloaded fonts, colors and sizes of the new template.</a:t>
            </a:r>
          </a:p>
          <a:p>
            <a:pPr lvl="0">
              <a:buNone/>
            </a:pPr>
            <a:endParaRPr lang="en-US" sz="1200">
              <a:latin typeface="Forever Forma Body Text"/>
            </a:endParaRPr>
          </a:p>
        </p:txBody>
      </p:sp>
      <p:grpSp>
        <p:nvGrpSpPr>
          <p:cNvPr id="40" name="Group 39">
            <a:extLst>
              <a:ext uri="{FF2B5EF4-FFF2-40B4-BE49-F238E27FC236}">
                <a16:creationId xmlns:a16="http://schemas.microsoft.com/office/drawing/2014/main" id="{00D4DD50-F19C-140F-D22F-1789C4230851}"/>
              </a:ext>
            </a:extLst>
          </p:cNvPr>
          <p:cNvGrpSpPr/>
          <p:nvPr userDrawn="1"/>
        </p:nvGrpSpPr>
        <p:grpSpPr>
          <a:xfrm>
            <a:off x="6174136" y="3180126"/>
            <a:ext cx="4019350" cy="592667"/>
            <a:chOff x="5954383" y="1109133"/>
            <a:chExt cx="4019350" cy="592667"/>
          </a:xfrm>
        </p:grpSpPr>
        <p:pic>
          <p:nvPicPr>
            <p:cNvPr id="38" name="Picture 37">
              <a:extLst>
                <a:ext uri="{FF2B5EF4-FFF2-40B4-BE49-F238E27FC236}">
                  <a16:creationId xmlns:a16="http://schemas.microsoft.com/office/drawing/2014/main" id="{C7E6F853-6840-AC77-53B5-6E4686B05AD8}"/>
                </a:ext>
              </a:extLst>
            </p:cNvPr>
            <p:cNvPicPr>
              <a:picLocks noChangeAspect="1"/>
            </p:cNvPicPr>
            <p:nvPr userDrawn="1"/>
          </p:nvPicPr>
          <p:blipFill rotWithShape="1">
            <a:blip r:embed="rId9" cstate="print">
              <a:extLst>
                <a:ext uri="{28A0092B-C50C-407E-A947-70E740481C1C}">
                  <a14:useLocalDpi xmlns:a14="http://schemas.microsoft.com/office/drawing/2010/main"/>
                </a:ext>
              </a:extLst>
            </a:blip>
            <a:srcRect/>
            <a:stretch/>
          </p:blipFill>
          <p:spPr>
            <a:xfrm>
              <a:off x="5954383" y="1109133"/>
              <a:ext cx="141618" cy="237067"/>
            </a:xfrm>
            <a:prstGeom prst="rect">
              <a:avLst/>
            </a:prstGeom>
            <a:solidFill>
              <a:schemeClr val="bg2"/>
            </a:solidFill>
            <a:ln>
              <a:noFill/>
            </a:ln>
          </p:spPr>
        </p:pic>
        <p:pic>
          <p:nvPicPr>
            <p:cNvPr id="39" name="Picture 38">
              <a:extLst>
                <a:ext uri="{FF2B5EF4-FFF2-40B4-BE49-F238E27FC236}">
                  <a16:creationId xmlns:a16="http://schemas.microsoft.com/office/drawing/2014/main" id="{969A0EEE-1259-741B-4EE9-E02F9E52BE17}"/>
                </a:ext>
              </a:extLst>
            </p:cNvPr>
            <p:cNvPicPr>
              <a:picLocks noChangeAspect="1"/>
            </p:cNvPicPr>
            <p:nvPr userDrawn="1"/>
          </p:nvPicPr>
          <p:blipFill rotWithShape="1">
            <a:blip r:embed="rId10" cstate="print">
              <a:extLst>
                <a:ext uri="{28A0092B-C50C-407E-A947-70E740481C1C}">
                  <a14:useLocalDpi xmlns:a14="http://schemas.microsoft.com/office/drawing/2010/main"/>
                </a:ext>
              </a:extLst>
            </a:blip>
            <a:srcRect/>
            <a:stretch/>
          </p:blipFill>
          <p:spPr>
            <a:xfrm>
              <a:off x="9055333" y="1109133"/>
              <a:ext cx="918400" cy="592667"/>
            </a:xfrm>
            <a:prstGeom prst="rect">
              <a:avLst/>
            </a:prstGeom>
            <a:solidFill>
              <a:schemeClr val="bg2"/>
            </a:solidFill>
            <a:ln>
              <a:noFill/>
            </a:ln>
          </p:spPr>
        </p:pic>
      </p:grpSp>
      <p:pic>
        <p:nvPicPr>
          <p:cNvPr id="10" name="Picture 9">
            <a:extLst>
              <a:ext uri="{FF2B5EF4-FFF2-40B4-BE49-F238E27FC236}">
                <a16:creationId xmlns:a16="http://schemas.microsoft.com/office/drawing/2014/main" id="{59716E0D-0C87-ADEE-CD0D-16CA80A0F779}"/>
              </a:ext>
            </a:extLst>
          </p:cNvPr>
          <p:cNvPicPr>
            <a:picLocks noChangeAspect="1"/>
          </p:cNvPicPr>
          <p:nvPr userDrawn="1"/>
        </p:nvPicPr>
        <p:blipFill rotWithShape="1">
          <a:blip r:embed="rId11" cstate="hqprint">
            <a:extLst>
              <a:ext uri="{28A0092B-C50C-407E-A947-70E740481C1C}">
                <a14:useLocalDpi xmlns:a14="http://schemas.microsoft.com/office/drawing/2010/main"/>
              </a:ext>
            </a:extLst>
          </a:blip>
          <a:srcRect/>
          <a:stretch/>
        </p:blipFill>
        <p:spPr>
          <a:xfrm>
            <a:off x="806400" y="1514303"/>
            <a:ext cx="4253280" cy="551733"/>
          </a:xfrm>
          <a:prstGeom prst="rect">
            <a:avLst/>
          </a:prstGeom>
          <a:solidFill>
            <a:schemeClr val="bg2"/>
          </a:solidFill>
          <a:ln>
            <a:noFill/>
          </a:ln>
        </p:spPr>
      </p:pic>
      <p:pic>
        <p:nvPicPr>
          <p:cNvPr id="11" name="Picture 10">
            <a:extLst>
              <a:ext uri="{FF2B5EF4-FFF2-40B4-BE49-F238E27FC236}">
                <a16:creationId xmlns:a16="http://schemas.microsoft.com/office/drawing/2014/main" id="{D6B86265-348B-1158-BF67-29F56E5BE80F}"/>
              </a:ext>
            </a:extLst>
          </p:cNvPr>
          <p:cNvPicPr>
            <a:picLocks noChangeAspect="1"/>
          </p:cNvPicPr>
          <p:nvPr userDrawn="1"/>
        </p:nvPicPr>
        <p:blipFill rotWithShape="1">
          <a:blip r:embed="rId12" cstate="hqprint">
            <a:extLst>
              <a:ext uri="{28A0092B-C50C-407E-A947-70E740481C1C}">
                <a14:useLocalDpi xmlns:a14="http://schemas.microsoft.com/office/drawing/2010/main"/>
              </a:ext>
            </a:extLst>
          </a:blip>
          <a:srcRect/>
          <a:stretch/>
        </p:blipFill>
        <p:spPr>
          <a:xfrm>
            <a:off x="3187430" y="2163415"/>
            <a:ext cx="1872250" cy="1941225"/>
          </a:xfrm>
          <a:prstGeom prst="rect">
            <a:avLst/>
          </a:prstGeom>
          <a:solidFill>
            <a:schemeClr val="bg2"/>
          </a:solidFill>
          <a:ln>
            <a:noFill/>
          </a:ln>
        </p:spPr>
      </p:pic>
      <p:sp>
        <p:nvSpPr>
          <p:cNvPr id="4" name="footnotes">
            <a:extLst>
              <a:ext uri="{FF2B5EF4-FFF2-40B4-BE49-F238E27FC236}">
                <a16:creationId xmlns:a16="http://schemas.microsoft.com/office/drawing/2014/main" id="{DA1DFEB3-DAD5-2094-904B-1A5F3B756FEC}"/>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1917729244"/>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nstructions D">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37845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78E32CC6-04C6-A1DF-EF98-BE4B1B7C525B}"/>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17" name="TextBox 16">
            <a:extLst>
              <a:ext uri="{FF2B5EF4-FFF2-40B4-BE49-F238E27FC236}">
                <a16:creationId xmlns:a16="http://schemas.microsoft.com/office/drawing/2014/main" id="{BA21CB5C-461C-1ED7-7BB8-F25630C3C198}"/>
              </a:ext>
            </a:extLst>
          </p:cNvPr>
          <p:cNvSpPr txBox="1"/>
          <p:nvPr userDrawn="1"/>
        </p:nvSpPr>
        <p:spPr>
          <a:xfrm>
            <a:off x="521209" y="4959686"/>
            <a:ext cx="5389928" cy="1023299"/>
          </a:xfrm>
          <a:prstGeom prst="rect">
            <a:avLst/>
          </a:prstGeom>
          <a:noFill/>
        </p:spPr>
        <p:txBody>
          <a:bodyPr wrap="square" lIns="0" tIns="0" rIns="0" bIns="0" rtlCol="0">
            <a:noAutofit/>
          </a:bodyPr>
          <a:lstStyle/>
          <a:p>
            <a:pPr lvl="0"/>
            <a:r>
              <a:rPr lang="en-US" sz="1200">
                <a:latin typeface="Forever Forma Body Text"/>
              </a:rPr>
              <a:t>When converting old presentations, </a:t>
            </a:r>
            <a:r>
              <a:rPr lang="en-US" sz="1200" b="1">
                <a:latin typeface="Forever Forma Body Text"/>
              </a:rPr>
              <a:t>DO NOT </a:t>
            </a:r>
            <a:r>
              <a:rPr lang="en-US" sz="1200">
                <a:latin typeface="Forever Forma Body Text"/>
              </a:rPr>
              <a:t>copy entire slides from </a:t>
            </a:r>
            <a:br>
              <a:rPr lang="en-US" sz="1200">
                <a:latin typeface="Forever Forma Body Text"/>
              </a:rPr>
            </a:br>
            <a:r>
              <a:rPr lang="en-US" sz="1200">
                <a:latin typeface="Forever Forma Body Text"/>
              </a:rPr>
              <a:t>a previous PPT and paste them into this template.</a:t>
            </a:r>
          </a:p>
          <a:p>
            <a:pPr lvl="0"/>
            <a:endParaRPr lang="en-US" sz="1200">
              <a:latin typeface="Forever Forma Body Text"/>
            </a:endParaRPr>
          </a:p>
        </p:txBody>
      </p:sp>
      <p:sp>
        <p:nvSpPr>
          <p:cNvPr id="7" name="TextBox 6">
            <a:extLst>
              <a:ext uri="{FF2B5EF4-FFF2-40B4-BE49-F238E27FC236}">
                <a16:creationId xmlns:a16="http://schemas.microsoft.com/office/drawing/2014/main" id="{DCC41A1F-0F4F-3173-FDD3-B4AEE0928075}"/>
              </a:ext>
            </a:extLst>
          </p:cNvPr>
          <p:cNvSpPr txBox="1"/>
          <p:nvPr userDrawn="1"/>
        </p:nvSpPr>
        <p:spPr>
          <a:xfrm>
            <a:off x="521209" y="324362"/>
            <a:ext cx="11149580" cy="944637"/>
          </a:xfrm>
          <a:prstGeom prst="rect">
            <a:avLst/>
          </a:prstGeom>
          <a:noFill/>
        </p:spPr>
        <p:txBody>
          <a:bodyPr wrap="square" lIns="0" tIns="0" rIns="0" bIns="0" rtlCol="0">
            <a:noAutofit/>
          </a:bodyPr>
          <a:lstStyle/>
          <a:p>
            <a:pPr algn="l">
              <a:lnSpc>
                <a:spcPct val="85000"/>
              </a:lnSpc>
            </a:pPr>
            <a:r>
              <a:rPr lang="en-US" sz="3600">
                <a:latin typeface="Forever Forma Body Text"/>
              </a:rPr>
              <a:t>Instructions: conversions misuse</a:t>
            </a:r>
          </a:p>
        </p:txBody>
      </p:sp>
      <p:sp>
        <p:nvSpPr>
          <p:cNvPr id="25" name="TextBox 24">
            <a:extLst>
              <a:ext uri="{FF2B5EF4-FFF2-40B4-BE49-F238E27FC236}">
                <a16:creationId xmlns:a16="http://schemas.microsoft.com/office/drawing/2014/main" id="{07F63A86-921D-1366-8995-0E53019F7AD1}"/>
              </a:ext>
            </a:extLst>
          </p:cNvPr>
          <p:cNvSpPr txBox="1"/>
          <p:nvPr userDrawn="1"/>
        </p:nvSpPr>
        <p:spPr>
          <a:xfrm>
            <a:off x="12847320" y="922020"/>
            <a:ext cx="0" cy="0"/>
          </a:xfrm>
          <a:prstGeom prst="rect">
            <a:avLst/>
          </a:prstGeom>
          <a:noFill/>
        </p:spPr>
        <p:txBody>
          <a:bodyPr wrap="none" lIns="0" tIns="0" rIns="0" bIns="0" rtlCol="0">
            <a:noAutofit/>
          </a:bodyPr>
          <a:lstStyle/>
          <a:p>
            <a:pPr algn="l"/>
            <a:endParaRPr lang="en-US">
              <a:latin typeface="Forever Forma Body Text"/>
            </a:endParaRPr>
          </a:p>
        </p:txBody>
      </p:sp>
      <p:sp>
        <p:nvSpPr>
          <p:cNvPr id="37" name="TextBox 36">
            <a:extLst>
              <a:ext uri="{FF2B5EF4-FFF2-40B4-BE49-F238E27FC236}">
                <a16:creationId xmlns:a16="http://schemas.microsoft.com/office/drawing/2014/main" id="{17D34793-5AE5-963E-409F-3EE26E1DCBEA}"/>
              </a:ext>
            </a:extLst>
          </p:cNvPr>
          <p:cNvSpPr txBox="1"/>
          <p:nvPr userDrawn="1"/>
        </p:nvSpPr>
        <p:spPr>
          <a:xfrm>
            <a:off x="6237965" y="4959686"/>
            <a:ext cx="5417194" cy="944637"/>
          </a:xfrm>
          <a:prstGeom prst="rect">
            <a:avLst/>
          </a:prstGeom>
          <a:noFill/>
        </p:spPr>
        <p:txBody>
          <a:bodyPr wrap="square" lIns="0" tIns="0" rIns="0" bIns="0" rtlCol="0">
            <a:noAutofit/>
          </a:bodyPr>
          <a:lstStyle/>
          <a:p>
            <a:pPr lvl="0"/>
            <a:r>
              <a:rPr lang="en-US" sz="1200">
                <a:latin typeface="Forever Forma Body Text"/>
              </a:rPr>
              <a:t>PowerPoint can not translate the data correctly and will assign incorrect colors and random fonts to your content. It will also import incorrect master slides from the previous presentation (shown above). </a:t>
            </a:r>
          </a:p>
          <a:p>
            <a:pPr lvl="0"/>
            <a:endParaRPr lang="en-US" sz="1200">
              <a:latin typeface="Forever Forma Body Text"/>
            </a:endParaRPr>
          </a:p>
        </p:txBody>
      </p:sp>
      <p:pic>
        <p:nvPicPr>
          <p:cNvPr id="53" name="Picture 52">
            <a:extLst>
              <a:ext uri="{FF2B5EF4-FFF2-40B4-BE49-F238E27FC236}">
                <a16:creationId xmlns:a16="http://schemas.microsoft.com/office/drawing/2014/main" id="{F5E6BC44-0F10-E495-4129-308AA452FBE5}"/>
              </a:ext>
            </a:extLst>
          </p:cNvPr>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6237964" y="1416923"/>
            <a:ext cx="5413244" cy="3383280"/>
          </a:xfrm>
          <a:prstGeom prst="rect">
            <a:avLst/>
          </a:prstGeom>
          <a:solidFill>
            <a:schemeClr val="bg2"/>
          </a:solidFill>
          <a:ln>
            <a:solidFill>
              <a:schemeClr val="tx2"/>
            </a:solidFill>
          </a:ln>
        </p:spPr>
      </p:pic>
      <p:grpSp>
        <p:nvGrpSpPr>
          <p:cNvPr id="55" name="Group 54">
            <a:extLst>
              <a:ext uri="{FF2B5EF4-FFF2-40B4-BE49-F238E27FC236}">
                <a16:creationId xmlns:a16="http://schemas.microsoft.com/office/drawing/2014/main" id="{DF64DDD9-A749-3F4A-2A62-EF519B6990B6}"/>
              </a:ext>
            </a:extLst>
          </p:cNvPr>
          <p:cNvGrpSpPr/>
          <p:nvPr userDrawn="1"/>
        </p:nvGrpSpPr>
        <p:grpSpPr>
          <a:xfrm>
            <a:off x="510950" y="1421897"/>
            <a:ext cx="5400187" cy="3358530"/>
            <a:chOff x="466726" y="1585491"/>
            <a:chExt cx="5030110" cy="3128368"/>
          </a:xfrm>
        </p:grpSpPr>
        <p:pic>
          <p:nvPicPr>
            <p:cNvPr id="56" name="Picture 55">
              <a:extLst>
                <a:ext uri="{FF2B5EF4-FFF2-40B4-BE49-F238E27FC236}">
                  <a16:creationId xmlns:a16="http://schemas.microsoft.com/office/drawing/2014/main" id="{918DB6FC-3FBF-EB69-B704-592DE7CBA5AC}"/>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491448" y="1585491"/>
              <a:ext cx="5005388" cy="3128368"/>
            </a:xfrm>
            <a:prstGeom prst="rect">
              <a:avLst/>
            </a:prstGeom>
            <a:solidFill>
              <a:schemeClr val="bg2"/>
            </a:solidFill>
            <a:ln>
              <a:solidFill>
                <a:schemeClr val="tx2"/>
              </a:solidFill>
            </a:ln>
          </p:spPr>
        </p:pic>
        <p:sp>
          <p:nvSpPr>
            <p:cNvPr id="57" name="Oval 56">
              <a:extLst>
                <a:ext uri="{FF2B5EF4-FFF2-40B4-BE49-F238E27FC236}">
                  <a16:creationId xmlns:a16="http://schemas.microsoft.com/office/drawing/2014/main" id="{2F9FC89D-46D5-6DDC-A241-31D9ABD56677}"/>
                </a:ext>
              </a:extLst>
            </p:cNvPr>
            <p:cNvSpPr/>
            <p:nvPr userDrawn="1"/>
          </p:nvSpPr>
          <p:spPr bwMode="auto">
            <a:xfrm>
              <a:off x="466726" y="2113645"/>
              <a:ext cx="836285" cy="705678"/>
            </a:xfrm>
            <a:prstGeom prst="ellipse">
              <a:avLst/>
            </a:prstGeom>
            <a:noFill/>
            <a:ln w="38100" cap="flat">
              <a:solidFill>
                <a:srgbClr val="C00000"/>
              </a:solidFill>
              <a:bevel/>
              <a:headEnd/>
              <a:tailEnd/>
            </a:ln>
            <a:effectLst/>
          </p:spPr>
          <p:txBody>
            <a:bodyPr wrap="none" rtlCol="0" anchor="ctr"/>
            <a:lstStyle/>
            <a:p>
              <a:pPr algn="ctr"/>
              <a:endParaRPr lang="en-US"/>
            </a:p>
          </p:txBody>
        </p:sp>
        <p:pic>
          <p:nvPicPr>
            <p:cNvPr id="58" name="Picture 57">
              <a:extLst>
                <a:ext uri="{FF2B5EF4-FFF2-40B4-BE49-F238E27FC236}">
                  <a16:creationId xmlns:a16="http://schemas.microsoft.com/office/drawing/2014/main" id="{94FEF46A-1898-1B47-1B9A-6CB25652199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58896" y="2597609"/>
              <a:ext cx="544115" cy="544115"/>
            </a:xfrm>
            <a:prstGeom prst="rect">
              <a:avLst/>
            </a:prstGeom>
          </p:spPr>
        </p:pic>
      </p:grpSp>
      <p:sp>
        <p:nvSpPr>
          <p:cNvPr id="59" name="Rectangle 58">
            <a:extLst>
              <a:ext uri="{FF2B5EF4-FFF2-40B4-BE49-F238E27FC236}">
                <a16:creationId xmlns:a16="http://schemas.microsoft.com/office/drawing/2014/main" id="{FD2D1054-BC07-611C-9AEB-1950DC7B068F}"/>
              </a:ext>
            </a:extLst>
          </p:cNvPr>
          <p:cNvSpPr/>
          <p:nvPr userDrawn="1"/>
        </p:nvSpPr>
        <p:spPr bwMode="auto">
          <a:xfrm>
            <a:off x="6339860" y="1420260"/>
            <a:ext cx="2743200" cy="104930"/>
          </a:xfrm>
          <a:prstGeom prst="rect">
            <a:avLst/>
          </a:prstGeom>
          <a:solidFill>
            <a:srgbClr val="ECECEC"/>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spcAft>
                <a:spcPts val="600"/>
              </a:spcAft>
            </a:pPr>
            <a:endParaRPr lang="en-US" sz="1800">
              <a:solidFill>
                <a:schemeClr val="tx1"/>
              </a:solidFill>
            </a:endParaRPr>
          </a:p>
        </p:txBody>
      </p:sp>
      <p:grpSp>
        <p:nvGrpSpPr>
          <p:cNvPr id="65" name="Group 64">
            <a:extLst>
              <a:ext uri="{FF2B5EF4-FFF2-40B4-BE49-F238E27FC236}">
                <a16:creationId xmlns:a16="http://schemas.microsoft.com/office/drawing/2014/main" id="{967E1916-8F30-ACC2-1809-828324AE6B76}"/>
              </a:ext>
            </a:extLst>
          </p:cNvPr>
          <p:cNvGrpSpPr/>
          <p:nvPr userDrawn="1"/>
        </p:nvGrpSpPr>
        <p:grpSpPr>
          <a:xfrm>
            <a:off x="6983570" y="3280013"/>
            <a:ext cx="968433" cy="733187"/>
            <a:chOff x="7002621" y="3306039"/>
            <a:chExt cx="897199" cy="679257"/>
          </a:xfrm>
        </p:grpSpPr>
        <p:sp>
          <p:nvSpPr>
            <p:cNvPr id="54" name="Oval 53">
              <a:extLst>
                <a:ext uri="{FF2B5EF4-FFF2-40B4-BE49-F238E27FC236}">
                  <a16:creationId xmlns:a16="http://schemas.microsoft.com/office/drawing/2014/main" id="{1F10EAA5-FF75-57AF-B3A5-C6FEDD3BB57C}"/>
                </a:ext>
              </a:extLst>
            </p:cNvPr>
            <p:cNvSpPr/>
            <p:nvPr userDrawn="1"/>
          </p:nvSpPr>
          <p:spPr bwMode="auto">
            <a:xfrm>
              <a:off x="7002621" y="3306039"/>
              <a:ext cx="897199" cy="679257"/>
            </a:xfrm>
            <a:prstGeom prst="ellipse">
              <a:avLst/>
            </a:prstGeom>
            <a:noFill/>
            <a:ln w="38100" cap="flat">
              <a:solidFill>
                <a:srgbClr val="C00000"/>
              </a:solidFill>
              <a:bevel/>
              <a:headEnd/>
              <a:tailEnd/>
            </a:ln>
            <a:effectLst/>
          </p:spPr>
          <p:txBody>
            <a:bodyPr wrap="none" rtlCol="0" anchor="ctr"/>
            <a:lstStyle/>
            <a:p>
              <a:pPr algn="ctr"/>
              <a:endParaRPr lang="en-US"/>
            </a:p>
          </p:txBody>
        </p:sp>
        <p:pic>
          <p:nvPicPr>
            <p:cNvPr id="61" name="Picture 60">
              <a:extLst>
                <a:ext uri="{FF2B5EF4-FFF2-40B4-BE49-F238E27FC236}">
                  <a16:creationId xmlns:a16="http://schemas.microsoft.com/office/drawing/2014/main" id="{267AD29B-6F46-A71E-5FF1-CEB6567D66B1}"/>
                </a:ext>
              </a:extLst>
            </p:cNvPr>
            <p:cNvPicPr>
              <a:picLocks noChangeAspect="1"/>
            </p:cNvPicPr>
            <p:nvPr userDrawn="1"/>
          </p:nvPicPr>
          <p:blipFill rotWithShape="1">
            <a:blip r:embed="rId8" cstate="hqprint">
              <a:extLst>
                <a:ext uri="{28A0092B-C50C-407E-A947-70E740481C1C}">
                  <a14:useLocalDpi xmlns:a14="http://schemas.microsoft.com/office/drawing/2010/main"/>
                </a:ext>
              </a:extLst>
            </a:blip>
            <a:srcRect/>
            <a:stretch/>
          </p:blipFill>
          <p:spPr>
            <a:xfrm>
              <a:off x="7222620" y="3482000"/>
              <a:ext cx="457200" cy="377945"/>
            </a:xfrm>
            <a:prstGeom prst="rect">
              <a:avLst/>
            </a:prstGeom>
            <a:solidFill>
              <a:schemeClr val="bg2"/>
            </a:solidFill>
            <a:ln>
              <a:solidFill>
                <a:schemeClr val="tx2"/>
              </a:solidFill>
            </a:ln>
          </p:spPr>
        </p:pic>
      </p:grpSp>
      <p:pic>
        <p:nvPicPr>
          <p:cNvPr id="66" name="Picture 65">
            <a:extLst>
              <a:ext uri="{FF2B5EF4-FFF2-40B4-BE49-F238E27FC236}">
                <a16:creationId xmlns:a16="http://schemas.microsoft.com/office/drawing/2014/main" id="{AD21681C-92AB-9525-535B-C8168A19CF9E}"/>
              </a:ext>
            </a:extLst>
          </p:cNvPr>
          <p:cNvPicPr>
            <a:picLocks noChangeAspect="1"/>
          </p:cNvPicPr>
          <p:nvPr userDrawn="1"/>
        </p:nvPicPr>
        <p:blipFill rotWithShape="1">
          <a:blip r:embed="rId9" cstate="hqprint">
            <a:extLst>
              <a:ext uri="{28A0092B-C50C-407E-A947-70E740481C1C}">
                <a14:useLocalDpi xmlns:a14="http://schemas.microsoft.com/office/drawing/2010/main"/>
              </a:ext>
            </a:extLst>
          </a:blip>
          <a:srcRect/>
          <a:stretch/>
        </p:blipFill>
        <p:spPr>
          <a:xfrm>
            <a:off x="7251700" y="3501236"/>
            <a:ext cx="409576" cy="240197"/>
          </a:xfrm>
          <a:prstGeom prst="rect">
            <a:avLst/>
          </a:prstGeom>
          <a:solidFill>
            <a:schemeClr val="bg2"/>
          </a:solidFill>
          <a:ln>
            <a:noFill/>
          </a:ln>
        </p:spPr>
      </p:pic>
      <p:sp>
        <p:nvSpPr>
          <p:cNvPr id="4" name="footnotes">
            <a:extLst>
              <a:ext uri="{FF2B5EF4-FFF2-40B4-BE49-F238E27FC236}">
                <a16:creationId xmlns:a16="http://schemas.microsoft.com/office/drawing/2014/main" id="{AD5BA2C8-4672-739F-7C27-827F4B046C81}"/>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3977431506"/>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Instructions E">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37845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78E32CC6-04C6-A1DF-EF98-BE4B1B7C525B}"/>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7" name="TextBox 6">
            <a:extLst>
              <a:ext uri="{FF2B5EF4-FFF2-40B4-BE49-F238E27FC236}">
                <a16:creationId xmlns:a16="http://schemas.microsoft.com/office/drawing/2014/main" id="{DCC41A1F-0F4F-3173-FDD3-B4AEE0928075}"/>
              </a:ext>
            </a:extLst>
          </p:cNvPr>
          <p:cNvSpPr txBox="1"/>
          <p:nvPr userDrawn="1"/>
        </p:nvSpPr>
        <p:spPr>
          <a:xfrm>
            <a:off x="521209" y="324362"/>
            <a:ext cx="11149580" cy="944637"/>
          </a:xfrm>
          <a:prstGeom prst="rect">
            <a:avLst/>
          </a:prstGeom>
          <a:noFill/>
        </p:spPr>
        <p:txBody>
          <a:bodyPr wrap="square" lIns="0" tIns="0" rIns="0" bIns="0" rtlCol="0">
            <a:noAutofit/>
          </a:bodyPr>
          <a:lstStyle/>
          <a:p>
            <a:pPr algn="l">
              <a:lnSpc>
                <a:spcPct val="85000"/>
              </a:lnSpc>
            </a:pPr>
            <a:r>
              <a:rPr lang="en-US" sz="3600">
                <a:latin typeface="Forever Forma Body Text"/>
              </a:rPr>
              <a:t>Instructions: brand colors</a:t>
            </a:r>
          </a:p>
        </p:txBody>
      </p:sp>
      <p:sp>
        <p:nvSpPr>
          <p:cNvPr id="25" name="TextBox 24">
            <a:extLst>
              <a:ext uri="{FF2B5EF4-FFF2-40B4-BE49-F238E27FC236}">
                <a16:creationId xmlns:a16="http://schemas.microsoft.com/office/drawing/2014/main" id="{07F63A86-921D-1366-8995-0E53019F7AD1}"/>
              </a:ext>
            </a:extLst>
          </p:cNvPr>
          <p:cNvSpPr txBox="1"/>
          <p:nvPr userDrawn="1"/>
        </p:nvSpPr>
        <p:spPr>
          <a:xfrm>
            <a:off x="12847320" y="922020"/>
            <a:ext cx="0" cy="0"/>
          </a:xfrm>
          <a:prstGeom prst="rect">
            <a:avLst/>
          </a:prstGeom>
          <a:noFill/>
        </p:spPr>
        <p:txBody>
          <a:bodyPr wrap="none" lIns="0" tIns="0" rIns="0" bIns="0" rtlCol="0">
            <a:noAutofit/>
          </a:bodyPr>
          <a:lstStyle/>
          <a:p>
            <a:pPr algn="l"/>
            <a:endParaRPr lang="en-US">
              <a:latin typeface="Forever Forma Body Text"/>
            </a:endParaRPr>
          </a:p>
        </p:txBody>
      </p:sp>
      <p:pic>
        <p:nvPicPr>
          <p:cNvPr id="4" name="Picture 3">
            <a:extLst>
              <a:ext uri="{FF2B5EF4-FFF2-40B4-BE49-F238E27FC236}">
                <a16:creationId xmlns:a16="http://schemas.microsoft.com/office/drawing/2014/main" id="{96E00B75-F6AF-8709-7052-3DCC9BD3B9D9}"/>
              </a:ext>
            </a:extLst>
          </p:cNvPr>
          <p:cNvPicPr>
            <a:picLocks noChangeAspect="1"/>
          </p:cNvPicPr>
          <p:nvPr userDrawn="1"/>
        </p:nvPicPr>
        <p:blipFill>
          <a:blip r:embed="rId5"/>
          <a:stretch>
            <a:fillRect/>
          </a:stretch>
        </p:blipFill>
        <p:spPr>
          <a:xfrm>
            <a:off x="408000" y="2891212"/>
            <a:ext cx="6072640" cy="3503198"/>
          </a:xfrm>
          <a:prstGeom prst="rect">
            <a:avLst/>
          </a:prstGeom>
        </p:spPr>
      </p:pic>
      <p:pic>
        <p:nvPicPr>
          <p:cNvPr id="6" name="Picture 5">
            <a:extLst>
              <a:ext uri="{FF2B5EF4-FFF2-40B4-BE49-F238E27FC236}">
                <a16:creationId xmlns:a16="http://schemas.microsoft.com/office/drawing/2014/main" id="{FAA8432D-BC34-72A2-AD7D-784D82DB0132}"/>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l="2907" r="-2907"/>
          <a:stretch/>
        </p:blipFill>
        <p:spPr>
          <a:xfrm>
            <a:off x="6190318" y="2897757"/>
            <a:ext cx="6192000" cy="2886727"/>
          </a:xfrm>
          <a:prstGeom prst="rect">
            <a:avLst/>
          </a:prstGeom>
        </p:spPr>
      </p:pic>
      <p:grpSp>
        <p:nvGrpSpPr>
          <p:cNvPr id="8" name="Group 7">
            <a:extLst>
              <a:ext uri="{FF2B5EF4-FFF2-40B4-BE49-F238E27FC236}">
                <a16:creationId xmlns:a16="http://schemas.microsoft.com/office/drawing/2014/main" id="{EB56BF95-A3F9-5BEA-BF07-3C285DD4EEDA}"/>
              </a:ext>
              <a:ext uri="{C183D7F6-B498-43B3-948B-1728B52AA6E4}">
                <adec:decorative xmlns:adec="http://schemas.microsoft.com/office/drawing/2017/decorative" val="1"/>
              </a:ext>
            </a:extLst>
          </p:cNvPr>
          <p:cNvGrpSpPr/>
          <p:nvPr userDrawn="1"/>
        </p:nvGrpSpPr>
        <p:grpSpPr>
          <a:xfrm>
            <a:off x="480000" y="1277703"/>
            <a:ext cx="5606331" cy="978477"/>
            <a:chOff x="489669" y="1752977"/>
            <a:chExt cx="6806827" cy="1188000"/>
          </a:xfrm>
        </p:grpSpPr>
        <p:sp>
          <p:nvSpPr>
            <p:cNvPr id="9" name="Rectangle 8">
              <a:extLst>
                <a:ext uri="{FF2B5EF4-FFF2-40B4-BE49-F238E27FC236}">
                  <a16:creationId xmlns:a16="http://schemas.microsoft.com/office/drawing/2014/main" id="{F6F1D693-D21B-26AB-5F60-FD620014D072}"/>
                </a:ext>
              </a:extLst>
            </p:cNvPr>
            <p:cNvSpPr/>
            <p:nvPr/>
          </p:nvSpPr>
          <p:spPr>
            <a:xfrm>
              <a:off x="1891786" y="1752977"/>
              <a:ext cx="1188000" cy="1188000"/>
            </a:xfrm>
            <a:prstGeom prst="rect">
              <a:avLst/>
            </a:prstGeom>
            <a:solidFill>
              <a:srgbClr val="4CD3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rgbClr val="281805"/>
                  </a:solidFill>
                  <a:latin typeface="Forever Forma Body Text" pitchFamily="2" charset="0"/>
                </a:rPr>
                <a:t>Grass Green</a:t>
              </a:r>
            </a:p>
          </p:txBody>
        </p:sp>
        <p:sp>
          <p:nvSpPr>
            <p:cNvPr id="10" name="Rectangle 9">
              <a:extLst>
                <a:ext uri="{FF2B5EF4-FFF2-40B4-BE49-F238E27FC236}">
                  <a16:creationId xmlns:a16="http://schemas.microsoft.com/office/drawing/2014/main" id="{3D699505-6DB0-3D20-8DAB-0EC42C198B01}"/>
                </a:ext>
              </a:extLst>
            </p:cNvPr>
            <p:cNvSpPr/>
            <p:nvPr/>
          </p:nvSpPr>
          <p:spPr>
            <a:xfrm>
              <a:off x="3297356" y="1752977"/>
              <a:ext cx="1188000" cy="1188000"/>
            </a:xfrm>
            <a:prstGeom prst="rect">
              <a:avLst/>
            </a:prstGeom>
            <a:solidFill>
              <a:srgbClr val="FA69F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rgbClr val="281805"/>
                  </a:solidFill>
                  <a:latin typeface="Forever Forma Body Text" pitchFamily="2" charset="0"/>
                </a:rPr>
                <a:t>Hot Pink</a:t>
              </a:r>
            </a:p>
          </p:txBody>
        </p:sp>
        <p:sp>
          <p:nvSpPr>
            <p:cNvPr id="11" name="Rectangle 10">
              <a:extLst>
                <a:ext uri="{FF2B5EF4-FFF2-40B4-BE49-F238E27FC236}">
                  <a16:creationId xmlns:a16="http://schemas.microsoft.com/office/drawing/2014/main" id="{BAE020BB-2641-39B1-DF8F-33335CBF8623}"/>
                </a:ext>
              </a:extLst>
            </p:cNvPr>
            <p:cNvSpPr/>
            <p:nvPr/>
          </p:nvSpPr>
          <p:spPr>
            <a:xfrm>
              <a:off x="4702926" y="1752977"/>
              <a:ext cx="1188000" cy="1188000"/>
            </a:xfrm>
            <a:prstGeom prst="rect">
              <a:avLst/>
            </a:prstGeom>
            <a:solidFill>
              <a:srgbClr val="63B6F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rgbClr val="281805"/>
                  </a:solidFill>
                  <a:latin typeface="Forever Forma Body Text" pitchFamily="2" charset="0"/>
                </a:rPr>
                <a:t>Sky Blue</a:t>
              </a:r>
            </a:p>
          </p:txBody>
        </p:sp>
        <p:sp>
          <p:nvSpPr>
            <p:cNvPr id="12" name="Rectangle 11">
              <a:extLst>
                <a:ext uri="{FF2B5EF4-FFF2-40B4-BE49-F238E27FC236}">
                  <a16:creationId xmlns:a16="http://schemas.microsoft.com/office/drawing/2014/main" id="{6B665040-2C24-8439-A078-69BFE6282ED7}"/>
                </a:ext>
              </a:extLst>
            </p:cNvPr>
            <p:cNvSpPr/>
            <p:nvPr/>
          </p:nvSpPr>
          <p:spPr>
            <a:xfrm>
              <a:off x="6108496" y="1752977"/>
              <a:ext cx="1188000" cy="1188000"/>
            </a:xfrm>
            <a:prstGeom prst="rect">
              <a:avLst/>
            </a:prstGeom>
            <a:solidFill>
              <a:srgbClr val="641EE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rgbClr val="FFFFFF"/>
                  </a:solidFill>
                  <a:latin typeface="Forever Forma Body Text" pitchFamily="2" charset="0"/>
                </a:rPr>
                <a:t>Lavender Purple</a:t>
              </a:r>
            </a:p>
          </p:txBody>
        </p:sp>
        <p:sp>
          <p:nvSpPr>
            <p:cNvPr id="13" name="Rectangle 12">
              <a:extLst>
                <a:ext uri="{FF2B5EF4-FFF2-40B4-BE49-F238E27FC236}">
                  <a16:creationId xmlns:a16="http://schemas.microsoft.com/office/drawing/2014/main" id="{127E5610-D717-F403-3C54-5EE564B5D75C}"/>
                </a:ext>
              </a:extLst>
            </p:cNvPr>
            <p:cNvSpPr/>
            <p:nvPr/>
          </p:nvSpPr>
          <p:spPr>
            <a:xfrm>
              <a:off x="489669" y="1752977"/>
              <a:ext cx="1188000" cy="1188000"/>
            </a:xfrm>
            <a:prstGeom prst="rect">
              <a:avLst/>
            </a:prstGeom>
            <a:solidFill>
              <a:srgbClr val="E7FF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rgbClr val="281805"/>
                  </a:solidFill>
                  <a:latin typeface="Forever Forma Body Text" pitchFamily="2" charset="0"/>
                </a:rPr>
                <a:t>Fresh Lime</a:t>
              </a:r>
            </a:p>
          </p:txBody>
        </p:sp>
      </p:grpSp>
      <p:grpSp>
        <p:nvGrpSpPr>
          <p:cNvPr id="14" name="Group 13">
            <a:extLst>
              <a:ext uri="{FF2B5EF4-FFF2-40B4-BE49-F238E27FC236}">
                <a16:creationId xmlns:a16="http://schemas.microsoft.com/office/drawing/2014/main" id="{6F7BE1D8-F95F-2F40-78C0-04DDC0B72922}"/>
              </a:ext>
              <a:ext uri="{C183D7F6-B498-43B3-948B-1728B52AA6E4}">
                <adec:decorative xmlns:adec="http://schemas.microsoft.com/office/drawing/2017/decorative" val="1"/>
              </a:ext>
            </a:extLst>
          </p:cNvPr>
          <p:cNvGrpSpPr/>
          <p:nvPr userDrawn="1"/>
        </p:nvGrpSpPr>
        <p:grpSpPr>
          <a:xfrm>
            <a:off x="6168000" y="1277703"/>
            <a:ext cx="4448586" cy="978477"/>
            <a:chOff x="489755" y="3780615"/>
            <a:chExt cx="5401171" cy="1188000"/>
          </a:xfrm>
        </p:grpSpPr>
        <p:sp>
          <p:nvSpPr>
            <p:cNvPr id="15" name="Rectangle 14">
              <a:extLst>
                <a:ext uri="{FF2B5EF4-FFF2-40B4-BE49-F238E27FC236}">
                  <a16:creationId xmlns:a16="http://schemas.microsoft.com/office/drawing/2014/main" id="{984FA78D-E004-8973-E9E7-823276222AFB}"/>
                </a:ext>
              </a:extLst>
            </p:cNvPr>
            <p:cNvSpPr/>
            <p:nvPr/>
          </p:nvSpPr>
          <p:spPr>
            <a:xfrm>
              <a:off x="489755" y="3780615"/>
              <a:ext cx="1188000" cy="1188000"/>
            </a:xfrm>
            <a:prstGeom prst="rect">
              <a:avLst/>
            </a:prstGeom>
            <a:solidFill>
              <a:srgbClr val="C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rgbClr val="FFFFFF"/>
                  </a:solidFill>
                  <a:latin typeface="Forever Forma Body Text" pitchFamily="2" charset="0"/>
                </a:rPr>
                <a:t>Crimson Red</a:t>
              </a:r>
            </a:p>
          </p:txBody>
        </p:sp>
        <p:sp>
          <p:nvSpPr>
            <p:cNvPr id="16" name="Rectangle 15">
              <a:extLst>
                <a:ext uri="{FF2B5EF4-FFF2-40B4-BE49-F238E27FC236}">
                  <a16:creationId xmlns:a16="http://schemas.microsoft.com/office/drawing/2014/main" id="{616AD8AC-EF98-E60F-3A2D-0224212D9008}"/>
                </a:ext>
              </a:extLst>
            </p:cNvPr>
            <p:cNvSpPr/>
            <p:nvPr/>
          </p:nvSpPr>
          <p:spPr>
            <a:xfrm>
              <a:off x="4702926" y="3780615"/>
              <a:ext cx="1188000" cy="1188000"/>
            </a:xfrm>
            <a:prstGeom prst="rect">
              <a:avLst/>
            </a:prstGeom>
            <a:solidFill>
              <a:srgbClr val="1D255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rgbClr val="FFFFFF"/>
                  </a:solidFill>
                  <a:latin typeface="Forever Forma Body Text" pitchFamily="2" charset="0"/>
                </a:rPr>
                <a:t>Night Blue</a:t>
              </a:r>
            </a:p>
          </p:txBody>
        </p:sp>
        <p:sp>
          <p:nvSpPr>
            <p:cNvPr id="18" name="Rectangle 17">
              <a:extLst>
                <a:ext uri="{FF2B5EF4-FFF2-40B4-BE49-F238E27FC236}">
                  <a16:creationId xmlns:a16="http://schemas.microsoft.com/office/drawing/2014/main" id="{CA5C60B2-FA23-DAE5-C2F9-8A8E22699ACA}"/>
                </a:ext>
              </a:extLst>
            </p:cNvPr>
            <p:cNvSpPr/>
            <p:nvPr/>
          </p:nvSpPr>
          <p:spPr>
            <a:xfrm>
              <a:off x="1894145" y="3780615"/>
              <a:ext cx="1188000" cy="1188000"/>
            </a:xfrm>
            <a:prstGeom prst="rect">
              <a:avLst/>
            </a:prstGeom>
            <a:solidFill>
              <a:srgbClr val="5E393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bg1"/>
                  </a:solidFill>
                  <a:latin typeface="Forever Forma Body Text" pitchFamily="2" charset="0"/>
                </a:rPr>
                <a:t>Chocolate Brown</a:t>
              </a:r>
            </a:p>
          </p:txBody>
        </p:sp>
        <p:sp>
          <p:nvSpPr>
            <p:cNvPr id="19" name="Rectangle 18">
              <a:extLst>
                <a:ext uri="{FF2B5EF4-FFF2-40B4-BE49-F238E27FC236}">
                  <a16:creationId xmlns:a16="http://schemas.microsoft.com/office/drawing/2014/main" id="{68DE8806-97FD-BEAC-3506-B5CA6E1720F0}"/>
                </a:ext>
              </a:extLst>
            </p:cNvPr>
            <p:cNvSpPr/>
            <p:nvPr/>
          </p:nvSpPr>
          <p:spPr>
            <a:xfrm>
              <a:off x="3298535" y="3780615"/>
              <a:ext cx="1188000" cy="1188000"/>
            </a:xfrm>
            <a:prstGeom prst="rect">
              <a:avLst/>
            </a:prstGeom>
            <a:solidFill>
              <a:srgbClr val="0B3F2D"/>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bg1"/>
                  </a:solidFill>
                  <a:latin typeface="Forever Forma Body Text" pitchFamily="2" charset="0"/>
                </a:rPr>
                <a:t>Forest Green</a:t>
              </a:r>
            </a:p>
          </p:txBody>
        </p:sp>
      </p:grpSp>
      <p:sp>
        <p:nvSpPr>
          <p:cNvPr id="17" name="footnotes">
            <a:extLst>
              <a:ext uri="{FF2B5EF4-FFF2-40B4-BE49-F238E27FC236}">
                <a16:creationId xmlns:a16="http://schemas.microsoft.com/office/drawing/2014/main" id="{4411785A-A69A-81BD-12C5-A0ABBFB9157C}"/>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2256184969"/>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nstructions F">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37845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78E32CC6-04C6-A1DF-EF98-BE4B1B7C525B}"/>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7" name="TextBox 6">
            <a:extLst>
              <a:ext uri="{FF2B5EF4-FFF2-40B4-BE49-F238E27FC236}">
                <a16:creationId xmlns:a16="http://schemas.microsoft.com/office/drawing/2014/main" id="{DCC41A1F-0F4F-3173-FDD3-B4AEE0928075}"/>
              </a:ext>
            </a:extLst>
          </p:cNvPr>
          <p:cNvSpPr txBox="1"/>
          <p:nvPr userDrawn="1"/>
        </p:nvSpPr>
        <p:spPr>
          <a:xfrm>
            <a:off x="521209" y="324362"/>
            <a:ext cx="11149580" cy="944637"/>
          </a:xfrm>
          <a:prstGeom prst="rect">
            <a:avLst/>
          </a:prstGeom>
          <a:noFill/>
        </p:spPr>
        <p:txBody>
          <a:bodyPr wrap="square" lIns="0" tIns="0" rIns="0" bIns="0" rtlCol="0">
            <a:noAutofit/>
          </a:bodyPr>
          <a:lstStyle/>
          <a:p>
            <a:pPr algn="l">
              <a:lnSpc>
                <a:spcPct val="85000"/>
              </a:lnSpc>
            </a:pPr>
            <a:r>
              <a:rPr lang="en-US" sz="3600">
                <a:latin typeface="Forever Forma Body Text"/>
              </a:rPr>
              <a:t>Instructions: shape color matrix</a:t>
            </a:r>
          </a:p>
        </p:txBody>
      </p:sp>
      <p:sp>
        <p:nvSpPr>
          <p:cNvPr id="25" name="TextBox 24">
            <a:extLst>
              <a:ext uri="{FF2B5EF4-FFF2-40B4-BE49-F238E27FC236}">
                <a16:creationId xmlns:a16="http://schemas.microsoft.com/office/drawing/2014/main" id="{07F63A86-921D-1366-8995-0E53019F7AD1}"/>
              </a:ext>
            </a:extLst>
          </p:cNvPr>
          <p:cNvSpPr txBox="1"/>
          <p:nvPr userDrawn="1"/>
        </p:nvSpPr>
        <p:spPr>
          <a:xfrm>
            <a:off x="12847320" y="922020"/>
            <a:ext cx="0" cy="0"/>
          </a:xfrm>
          <a:prstGeom prst="rect">
            <a:avLst/>
          </a:prstGeom>
          <a:noFill/>
        </p:spPr>
        <p:txBody>
          <a:bodyPr wrap="none" lIns="0" tIns="0" rIns="0" bIns="0" rtlCol="0">
            <a:noAutofit/>
          </a:bodyPr>
          <a:lstStyle/>
          <a:p>
            <a:pPr algn="l"/>
            <a:endParaRPr lang="en-US">
              <a:latin typeface="Forever Forma Body Text"/>
            </a:endParaRPr>
          </a:p>
        </p:txBody>
      </p:sp>
      <p:pic>
        <p:nvPicPr>
          <p:cNvPr id="17" name="Picture 2">
            <a:extLst>
              <a:ext uri="{FF2B5EF4-FFF2-40B4-BE49-F238E27FC236}">
                <a16:creationId xmlns:a16="http://schemas.microsoft.com/office/drawing/2014/main" id="{701FF55B-B276-CB2E-082B-470B8901256F}"/>
              </a:ext>
            </a:extLst>
          </p:cNvPr>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2139817" y="1850231"/>
            <a:ext cx="7912367" cy="4451864"/>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2AC2AF05-B8C6-F5CC-C498-8FFC5DD826D0}"/>
              </a:ext>
            </a:extLst>
          </p:cNvPr>
          <p:cNvSpPr txBox="1"/>
          <p:nvPr userDrawn="1"/>
        </p:nvSpPr>
        <p:spPr>
          <a:xfrm>
            <a:off x="521207" y="1268413"/>
            <a:ext cx="11149580" cy="358629"/>
          </a:xfrm>
          <a:prstGeom prst="rect">
            <a:avLst/>
          </a:prstGeom>
          <a:noFill/>
        </p:spPr>
        <p:txBody>
          <a:bodyPr wrap="square" lIns="0" tIns="0" rIns="0" bIns="0" rtlCol="0">
            <a:noAutofit/>
          </a:bodyPr>
          <a:lstStyle/>
          <a:p>
            <a:pPr marL="0" marR="0" lvl="0" indent="0" algn="l" defTabSz="914400" rtl="0" eaLnBrk="1" fontAlgn="auto" latinLnBrk="0" hangingPunct="1">
              <a:lnSpc>
                <a:spcPct val="95000"/>
              </a:lnSpc>
              <a:spcBef>
                <a:spcPts val="600"/>
              </a:spcBef>
              <a:spcAft>
                <a:spcPts val="0"/>
              </a:spcAft>
              <a:buClr>
                <a:srgbClr val="281805"/>
              </a:buClr>
              <a:buSzTx/>
              <a:buFont typeface="Arial" panose="020B0604020202020204" pitchFamily="34" charset="0"/>
              <a:buNone/>
              <a:tabLst/>
              <a:defRPr/>
            </a:pPr>
            <a:r>
              <a:rPr lang="en-US" sz="1400" i="0">
                <a:effectLst/>
                <a:latin typeface="Forever Forma Body Text"/>
              </a:rPr>
              <a:t>The color matrix shows the combinations that are allowed. </a:t>
            </a:r>
            <a:r>
              <a:rPr lang="en-US" sz="1400">
                <a:latin typeface="Forever Forma Body Text"/>
              </a:rPr>
              <a:t>Use these brand colors only for shapes and backgrounds. </a:t>
            </a:r>
            <a:r>
              <a:rPr lang="en-US" sz="1400" i="0">
                <a:effectLst/>
                <a:latin typeface="Forever Forma Body Text"/>
              </a:rPr>
              <a:t>These combinations are not to be used for text or other accessibility-critical elements. </a:t>
            </a:r>
            <a:endParaRPr lang="en-US" sz="1400">
              <a:latin typeface="Forever Forma Body Text"/>
            </a:endParaRPr>
          </a:p>
          <a:p>
            <a:pPr algn="l">
              <a:buNone/>
            </a:pPr>
            <a:endParaRPr lang="en-US" sz="1400" kern="100" spc="-30">
              <a:latin typeface="Forever Forma Body Text"/>
            </a:endParaRPr>
          </a:p>
        </p:txBody>
      </p:sp>
      <p:sp>
        <p:nvSpPr>
          <p:cNvPr id="4" name="footnotes">
            <a:extLst>
              <a:ext uri="{FF2B5EF4-FFF2-40B4-BE49-F238E27FC236}">
                <a16:creationId xmlns:a16="http://schemas.microsoft.com/office/drawing/2014/main" id="{3D991CE4-77CA-F338-8274-43EC7A290220}"/>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3330817074"/>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nstructions 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9561EB3-AE77-2818-299E-91F549B78B8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8985" y="1932440"/>
            <a:ext cx="9874030" cy="4117510"/>
          </a:xfrm>
          <a:prstGeom prst="rect">
            <a:avLst/>
          </a:prstGeom>
        </p:spPr>
      </p:pic>
      <p:graphicFrame>
        <p:nvGraphicFrame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37845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78E32CC6-04C6-A1DF-EF98-BE4B1B7C525B}"/>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7" name="TextBox 6">
            <a:extLst>
              <a:ext uri="{FF2B5EF4-FFF2-40B4-BE49-F238E27FC236}">
                <a16:creationId xmlns:a16="http://schemas.microsoft.com/office/drawing/2014/main" id="{DCC41A1F-0F4F-3173-FDD3-B4AEE0928075}"/>
              </a:ext>
            </a:extLst>
          </p:cNvPr>
          <p:cNvSpPr txBox="1"/>
          <p:nvPr userDrawn="1"/>
        </p:nvSpPr>
        <p:spPr>
          <a:xfrm>
            <a:off x="521209" y="324362"/>
            <a:ext cx="11149580" cy="944637"/>
          </a:xfrm>
          <a:prstGeom prst="rect">
            <a:avLst/>
          </a:prstGeom>
          <a:noFill/>
        </p:spPr>
        <p:txBody>
          <a:bodyPr wrap="square" lIns="0" tIns="0" rIns="0" bIns="0" rtlCol="0">
            <a:noAutofit/>
          </a:bodyPr>
          <a:lstStyle/>
          <a:p>
            <a:pPr algn="l">
              <a:lnSpc>
                <a:spcPct val="85000"/>
              </a:lnSpc>
            </a:pPr>
            <a:r>
              <a:rPr lang="en-US" sz="3600">
                <a:latin typeface="Forever Forma Body Text"/>
              </a:rPr>
              <a:t>Instructions: text and color</a:t>
            </a:r>
          </a:p>
        </p:txBody>
      </p:sp>
      <p:sp>
        <p:nvSpPr>
          <p:cNvPr id="25" name="TextBox 24">
            <a:extLst>
              <a:ext uri="{FF2B5EF4-FFF2-40B4-BE49-F238E27FC236}">
                <a16:creationId xmlns:a16="http://schemas.microsoft.com/office/drawing/2014/main" id="{07F63A86-921D-1366-8995-0E53019F7AD1}"/>
              </a:ext>
            </a:extLst>
          </p:cNvPr>
          <p:cNvSpPr txBox="1"/>
          <p:nvPr userDrawn="1"/>
        </p:nvSpPr>
        <p:spPr>
          <a:xfrm>
            <a:off x="12847320" y="922020"/>
            <a:ext cx="0" cy="0"/>
          </a:xfrm>
          <a:prstGeom prst="rect">
            <a:avLst/>
          </a:prstGeom>
          <a:noFill/>
        </p:spPr>
        <p:txBody>
          <a:bodyPr wrap="none" lIns="0" tIns="0" rIns="0" bIns="0" rtlCol="0">
            <a:noAutofit/>
          </a:bodyPr>
          <a:lstStyle/>
          <a:p>
            <a:pPr algn="l"/>
            <a:endParaRPr lang="en-US">
              <a:latin typeface="Forever Forma Body Text"/>
            </a:endParaRPr>
          </a:p>
        </p:txBody>
      </p:sp>
      <p:sp>
        <p:nvSpPr>
          <p:cNvPr id="26" name="TextBox 25">
            <a:extLst>
              <a:ext uri="{FF2B5EF4-FFF2-40B4-BE49-F238E27FC236}">
                <a16:creationId xmlns:a16="http://schemas.microsoft.com/office/drawing/2014/main" id="{2AC2AF05-B8C6-F5CC-C498-8FFC5DD826D0}"/>
              </a:ext>
            </a:extLst>
          </p:cNvPr>
          <p:cNvSpPr txBox="1"/>
          <p:nvPr userDrawn="1"/>
        </p:nvSpPr>
        <p:spPr>
          <a:xfrm>
            <a:off x="521207" y="1268413"/>
            <a:ext cx="11149580" cy="358629"/>
          </a:xfrm>
          <a:prstGeom prst="rect">
            <a:avLst/>
          </a:prstGeom>
          <a:noFill/>
        </p:spPr>
        <p:txBody>
          <a:bodyPr wrap="square" lIns="0" tIns="0" rIns="0" bIns="0" rtlCol="0">
            <a:noAutofit/>
          </a:bodyPr>
          <a:lstStyle/>
          <a:p>
            <a:pPr marL="0" marR="0" lvl="0" indent="0" algn="l" defTabSz="914400" rtl="0" eaLnBrk="1" fontAlgn="auto" latinLnBrk="0" hangingPunct="1">
              <a:lnSpc>
                <a:spcPct val="95000"/>
              </a:lnSpc>
              <a:spcBef>
                <a:spcPts val="600"/>
              </a:spcBef>
              <a:spcAft>
                <a:spcPts val="0"/>
              </a:spcAft>
              <a:buClr>
                <a:srgbClr val="281805"/>
              </a:buClr>
              <a:buSzTx/>
              <a:buFont typeface="Arial" panose="020B0604020202020204" pitchFamily="34" charset="0"/>
              <a:buNone/>
              <a:tabLst/>
              <a:defRPr/>
            </a:pPr>
            <a:r>
              <a:rPr lang="en-US" sz="1400" i="0">
                <a:effectLst/>
                <a:latin typeface="Forever Forma Body Text"/>
              </a:rPr>
              <a:t>It's crucial to keep accessibility in mind when we place text on a colored background. The following combinations are tested and approved according to the international accessibility guidelines WCAG 2.1 level AA(A). </a:t>
            </a:r>
          </a:p>
          <a:p>
            <a:pPr marL="0" marR="0" lvl="0" indent="0" algn="l" defTabSz="914400" rtl="0" eaLnBrk="1" fontAlgn="auto" latinLnBrk="0" hangingPunct="1">
              <a:lnSpc>
                <a:spcPct val="95000"/>
              </a:lnSpc>
              <a:spcBef>
                <a:spcPts val="600"/>
              </a:spcBef>
              <a:spcAft>
                <a:spcPts val="0"/>
              </a:spcAft>
              <a:buClr>
                <a:srgbClr val="281805"/>
              </a:buClr>
              <a:buSzTx/>
              <a:buFont typeface="Arial" panose="020B0604020202020204" pitchFamily="34" charset="0"/>
              <a:buNone/>
              <a:tabLst/>
              <a:defRPr/>
            </a:pPr>
            <a:endParaRPr lang="en-US" sz="1400" i="0">
              <a:effectLst/>
              <a:latin typeface="Forever Forma Body Text"/>
            </a:endParaRPr>
          </a:p>
        </p:txBody>
      </p:sp>
      <p:sp>
        <p:nvSpPr>
          <p:cNvPr id="4" name="footnotes">
            <a:extLst>
              <a:ext uri="{FF2B5EF4-FFF2-40B4-BE49-F238E27FC236}">
                <a16:creationId xmlns:a16="http://schemas.microsoft.com/office/drawing/2014/main" id="{0C41F370-B58B-6399-5064-AB6CEF776E66}"/>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116255275"/>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nstructions H">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37845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78E32CC6-04C6-A1DF-EF98-BE4B1B7C525B}"/>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7" name="TextBox 6">
            <a:extLst>
              <a:ext uri="{FF2B5EF4-FFF2-40B4-BE49-F238E27FC236}">
                <a16:creationId xmlns:a16="http://schemas.microsoft.com/office/drawing/2014/main" id="{DCC41A1F-0F4F-3173-FDD3-B4AEE0928075}"/>
              </a:ext>
            </a:extLst>
          </p:cNvPr>
          <p:cNvSpPr txBox="1"/>
          <p:nvPr userDrawn="1"/>
        </p:nvSpPr>
        <p:spPr>
          <a:xfrm>
            <a:off x="521209" y="324362"/>
            <a:ext cx="11149580" cy="944637"/>
          </a:xfrm>
          <a:prstGeom prst="rect">
            <a:avLst/>
          </a:prstGeom>
          <a:noFill/>
        </p:spPr>
        <p:txBody>
          <a:bodyPr wrap="square" lIns="0" tIns="0" rIns="0" bIns="0" rtlCol="0">
            <a:noAutofit/>
          </a:bodyPr>
          <a:lstStyle/>
          <a:p>
            <a:pPr algn="l">
              <a:lnSpc>
                <a:spcPct val="85000"/>
              </a:lnSpc>
            </a:pPr>
            <a:r>
              <a:rPr lang="en-US" sz="3600">
                <a:latin typeface="Forever Forma Body Text"/>
              </a:rPr>
              <a:t>Instructions: color palette explained </a:t>
            </a:r>
          </a:p>
        </p:txBody>
      </p:sp>
      <p:sp>
        <p:nvSpPr>
          <p:cNvPr id="25" name="TextBox 24">
            <a:extLst>
              <a:ext uri="{FF2B5EF4-FFF2-40B4-BE49-F238E27FC236}">
                <a16:creationId xmlns:a16="http://schemas.microsoft.com/office/drawing/2014/main" id="{07F63A86-921D-1366-8995-0E53019F7AD1}"/>
              </a:ext>
            </a:extLst>
          </p:cNvPr>
          <p:cNvSpPr txBox="1"/>
          <p:nvPr userDrawn="1"/>
        </p:nvSpPr>
        <p:spPr>
          <a:xfrm>
            <a:off x="12847320" y="922020"/>
            <a:ext cx="0" cy="0"/>
          </a:xfrm>
          <a:prstGeom prst="rect">
            <a:avLst/>
          </a:prstGeom>
          <a:noFill/>
        </p:spPr>
        <p:txBody>
          <a:bodyPr wrap="none" lIns="0" tIns="0" rIns="0" bIns="0" rtlCol="0">
            <a:noAutofit/>
          </a:bodyPr>
          <a:lstStyle/>
          <a:p>
            <a:pPr algn="l"/>
            <a:endParaRPr lang="en-US">
              <a:latin typeface="Forever Forma Body Text"/>
            </a:endParaRPr>
          </a:p>
        </p:txBody>
      </p:sp>
      <p:grpSp>
        <p:nvGrpSpPr>
          <p:cNvPr id="24" name="Group 23">
            <a:extLst>
              <a:ext uri="{FF2B5EF4-FFF2-40B4-BE49-F238E27FC236}">
                <a16:creationId xmlns:a16="http://schemas.microsoft.com/office/drawing/2014/main" id="{942F1862-A150-58A3-5BB9-3D400D44F09C}"/>
              </a:ext>
            </a:extLst>
          </p:cNvPr>
          <p:cNvGrpSpPr/>
          <p:nvPr userDrawn="1"/>
        </p:nvGrpSpPr>
        <p:grpSpPr>
          <a:xfrm>
            <a:off x="8000269" y="1414801"/>
            <a:ext cx="3670517" cy="4635149"/>
            <a:chOff x="7926211" y="1414801"/>
            <a:chExt cx="3744576" cy="4728671"/>
          </a:xfrm>
        </p:grpSpPr>
        <p:grpSp>
          <p:nvGrpSpPr>
            <p:cNvPr id="6" name="Group 5">
              <a:extLst>
                <a:ext uri="{FF2B5EF4-FFF2-40B4-BE49-F238E27FC236}">
                  <a16:creationId xmlns:a16="http://schemas.microsoft.com/office/drawing/2014/main" id="{26E51B76-1173-F546-4982-FF0EA13719DC}"/>
                </a:ext>
                <a:ext uri="{C183D7F6-B498-43B3-948B-1728B52AA6E4}">
                  <adec:decorative xmlns:adec="http://schemas.microsoft.com/office/drawing/2017/decorative" val="1"/>
                </a:ext>
              </a:extLst>
            </p:cNvPr>
            <p:cNvGrpSpPr/>
            <p:nvPr userDrawn="1"/>
          </p:nvGrpSpPr>
          <p:grpSpPr>
            <a:xfrm>
              <a:off x="7926211" y="1414801"/>
              <a:ext cx="3744576" cy="4728671"/>
              <a:chOff x="7967999" y="1905001"/>
              <a:chExt cx="2715382" cy="3428999"/>
            </a:xfrm>
          </p:grpSpPr>
          <p:grpSp>
            <p:nvGrpSpPr>
              <p:cNvPr id="9" name="Group 8">
                <a:extLst>
                  <a:ext uri="{FF2B5EF4-FFF2-40B4-BE49-F238E27FC236}">
                    <a16:creationId xmlns:a16="http://schemas.microsoft.com/office/drawing/2014/main" id="{87E56FFE-19ED-070D-DEE0-0C8308172F37}"/>
                  </a:ext>
                </a:extLst>
              </p:cNvPr>
              <p:cNvGrpSpPr/>
              <p:nvPr/>
            </p:nvGrpSpPr>
            <p:grpSpPr>
              <a:xfrm>
                <a:off x="7967999" y="4231041"/>
                <a:ext cx="318751" cy="926444"/>
                <a:chOff x="7967999" y="4231041"/>
                <a:chExt cx="318751" cy="926444"/>
              </a:xfrm>
            </p:grpSpPr>
            <p:sp>
              <p:nvSpPr>
                <p:cNvPr id="13" name="TextBox 12">
                  <a:extLst>
                    <a:ext uri="{FF2B5EF4-FFF2-40B4-BE49-F238E27FC236}">
                      <a16:creationId xmlns:a16="http://schemas.microsoft.com/office/drawing/2014/main" id="{E2431183-7A91-2D76-B35A-130BD803068F}"/>
                    </a:ext>
                  </a:extLst>
                </p:cNvPr>
                <p:cNvSpPr txBox="1"/>
                <p:nvPr/>
              </p:nvSpPr>
              <p:spPr>
                <a:xfrm>
                  <a:off x="7967999" y="4231041"/>
                  <a:ext cx="272023" cy="160622"/>
                </a:xfrm>
                <a:prstGeom prst="rect">
                  <a:avLst/>
                </a:prstGeom>
                <a:noFill/>
              </p:spPr>
              <p:txBody>
                <a:bodyPr wrap="square" lIns="0" tIns="0" rIns="0" bIns="0" rtlCol="0" anchor="ctr" anchorCtr="0">
                  <a:noAutofit/>
                </a:bodyPr>
                <a:lstStyle/>
                <a:p>
                  <a:r>
                    <a:rPr lang="en-US" sz="1200" kern="100" spc="-30">
                      <a:latin typeface="Forever Forma Body Text" pitchFamily="2" charset="0"/>
                    </a:rPr>
                    <a:t>1.</a:t>
                  </a:r>
                </a:p>
              </p:txBody>
            </p:sp>
            <p:sp>
              <p:nvSpPr>
                <p:cNvPr id="14" name="TextBox 13">
                  <a:extLst>
                    <a:ext uri="{FF2B5EF4-FFF2-40B4-BE49-F238E27FC236}">
                      <a16:creationId xmlns:a16="http://schemas.microsoft.com/office/drawing/2014/main" id="{B30FFEAB-E2E4-B030-F332-F2360A8D60B0}"/>
                    </a:ext>
                  </a:extLst>
                </p:cNvPr>
                <p:cNvSpPr txBox="1"/>
                <p:nvPr/>
              </p:nvSpPr>
              <p:spPr>
                <a:xfrm>
                  <a:off x="7967999" y="4706074"/>
                  <a:ext cx="272023" cy="160622"/>
                </a:xfrm>
                <a:prstGeom prst="rect">
                  <a:avLst/>
                </a:prstGeom>
                <a:noFill/>
              </p:spPr>
              <p:txBody>
                <a:bodyPr wrap="square" lIns="0" tIns="0" rIns="0" bIns="0" rtlCol="0" anchor="ctr" anchorCtr="0">
                  <a:noAutofit/>
                </a:bodyPr>
                <a:lstStyle/>
                <a:p>
                  <a:r>
                    <a:rPr lang="en-US" sz="1200" kern="100" spc="-30">
                      <a:latin typeface="Forever Forma Body Text" pitchFamily="2" charset="0"/>
                    </a:rPr>
                    <a:t>2.</a:t>
                  </a:r>
                </a:p>
              </p:txBody>
            </p:sp>
            <p:sp>
              <p:nvSpPr>
                <p:cNvPr id="15" name="Left Brace 14">
                  <a:extLst>
                    <a:ext uri="{FF2B5EF4-FFF2-40B4-BE49-F238E27FC236}">
                      <a16:creationId xmlns:a16="http://schemas.microsoft.com/office/drawing/2014/main" id="{1F0AD627-7602-C986-8FA0-F41FE2ACF2CA}"/>
                    </a:ext>
                  </a:extLst>
                </p:cNvPr>
                <p:cNvSpPr/>
                <p:nvPr/>
              </p:nvSpPr>
              <p:spPr>
                <a:xfrm>
                  <a:off x="8084574" y="4239071"/>
                  <a:ext cx="202176" cy="216000"/>
                </a:xfrm>
                <a:prstGeom prst="leftBrace">
                  <a:avLst>
                    <a:gd name="adj1" fmla="val 0"/>
                    <a:gd name="adj2" fmla="val 50000"/>
                  </a:avLst>
                </a:prstGeom>
                <a:ln w="6350">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Forever Forma Body Text" pitchFamily="2" charset="0"/>
                  </a:endParaRPr>
                </a:p>
              </p:txBody>
            </p:sp>
            <p:sp>
              <p:nvSpPr>
                <p:cNvPr id="16" name="Left Brace 15">
                  <a:extLst>
                    <a:ext uri="{FF2B5EF4-FFF2-40B4-BE49-F238E27FC236}">
                      <a16:creationId xmlns:a16="http://schemas.microsoft.com/office/drawing/2014/main" id="{731F5C26-6899-FEC0-6EB6-1B89BCB323CF}"/>
                    </a:ext>
                  </a:extLst>
                </p:cNvPr>
                <p:cNvSpPr/>
                <p:nvPr/>
              </p:nvSpPr>
              <p:spPr>
                <a:xfrm>
                  <a:off x="8084574" y="4491485"/>
                  <a:ext cx="202176" cy="666000"/>
                </a:xfrm>
                <a:prstGeom prst="leftBrace">
                  <a:avLst>
                    <a:gd name="adj1" fmla="val 0"/>
                    <a:gd name="adj2" fmla="val 50000"/>
                  </a:avLst>
                </a:prstGeom>
                <a:ln w="6350">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Forever Forma Body Text" pitchFamily="2" charset="0"/>
                  </a:endParaRPr>
                </a:p>
              </p:txBody>
            </p:sp>
          </p:grpSp>
          <p:grpSp>
            <p:nvGrpSpPr>
              <p:cNvPr id="10" name="Group 9">
                <a:extLst>
                  <a:ext uri="{FF2B5EF4-FFF2-40B4-BE49-F238E27FC236}">
                    <a16:creationId xmlns:a16="http://schemas.microsoft.com/office/drawing/2014/main" id="{6ADDAF95-DAD2-5D0C-B519-3208AE084C4B}"/>
                  </a:ext>
                </a:extLst>
              </p:cNvPr>
              <p:cNvGrpSpPr/>
              <p:nvPr/>
            </p:nvGrpSpPr>
            <p:grpSpPr>
              <a:xfrm>
                <a:off x="8253619" y="1905001"/>
                <a:ext cx="2429762" cy="3428999"/>
                <a:chOff x="8253619" y="1905001"/>
                <a:chExt cx="2429762" cy="3428999"/>
              </a:xfrm>
            </p:grpSpPr>
            <p:pic>
              <p:nvPicPr>
                <p:cNvPr id="11" name="Picture 10">
                  <a:extLst>
                    <a:ext uri="{FF2B5EF4-FFF2-40B4-BE49-F238E27FC236}">
                      <a16:creationId xmlns:a16="http://schemas.microsoft.com/office/drawing/2014/main" id="{AE451DF5-90C3-3239-F3E7-BE087DF1096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8253619" y="1905001"/>
                  <a:ext cx="2429762" cy="3428999"/>
                </a:xfrm>
                <a:prstGeom prst="rect">
                  <a:avLst/>
                </a:prstGeom>
              </p:spPr>
            </p:pic>
            <p:sp>
              <p:nvSpPr>
                <p:cNvPr id="12" name="Rectangle 11">
                  <a:extLst>
                    <a:ext uri="{FF2B5EF4-FFF2-40B4-BE49-F238E27FC236}">
                      <a16:creationId xmlns:a16="http://schemas.microsoft.com/office/drawing/2014/main" id="{62F00D81-F902-9A5A-67D7-21E69EFFEDEC}"/>
                    </a:ext>
                  </a:extLst>
                </p:cNvPr>
                <p:cNvSpPr/>
                <p:nvPr/>
              </p:nvSpPr>
              <p:spPr>
                <a:xfrm>
                  <a:off x="8334580" y="2750254"/>
                  <a:ext cx="2271508" cy="856800"/>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1"/>
                      </a:solidFill>
                      <a:latin typeface="Forever Forma Body Text" pitchFamily="2" charset="0"/>
                    </a:rPr>
                    <a:t>Please do not use these tints</a:t>
                  </a:r>
                </a:p>
              </p:txBody>
            </p:sp>
            <p:sp>
              <p:nvSpPr>
                <p:cNvPr id="4" name="Rectangle 3">
                  <a:extLst>
                    <a:ext uri="{FF2B5EF4-FFF2-40B4-BE49-F238E27FC236}">
                      <a16:creationId xmlns:a16="http://schemas.microsoft.com/office/drawing/2014/main" id="{100AEDBC-8299-963E-434A-9261534E8214}"/>
                    </a:ext>
                  </a:extLst>
                </p:cNvPr>
                <p:cNvSpPr/>
                <p:nvPr userDrawn="1"/>
              </p:nvSpPr>
              <p:spPr>
                <a:xfrm>
                  <a:off x="8793109" y="2394477"/>
                  <a:ext cx="1812979" cy="127811"/>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1"/>
                      </a:solidFill>
                      <a:latin typeface="Forever Forma Body Text" pitchFamily="2" charset="0"/>
                    </a:rPr>
                    <a:t>Not in use</a:t>
                  </a:r>
                </a:p>
              </p:txBody>
            </p:sp>
          </p:grpSp>
        </p:grpSp>
        <p:sp>
          <p:nvSpPr>
            <p:cNvPr id="21" name="Right Brace 20">
              <a:extLst>
                <a:ext uri="{FF2B5EF4-FFF2-40B4-BE49-F238E27FC236}">
                  <a16:creationId xmlns:a16="http://schemas.microsoft.com/office/drawing/2014/main" id="{2A062AC8-0436-A3CB-0A21-7160353E47AE}"/>
                </a:ext>
              </a:extLst>
            </p:cNvPr>
            <p:cNvSpPr/>
            <p:nvPr/>
          </p:nvSpPr>
          <p:spPr>
            <a:xfrm rot="5400000">
              <a:off x="8631322" y="1989790"/>
              <a:ext cx="121500" cy="640212"/>
            </a:xfrm>
            <a:prstGeom prst="rightBrace">
              <a:avLst>
                <a:gd name="adj1" fmla="val 0"/>
                <a:gd name="adj2" fmla="val 50000"/>
              </a:avLst>
            </a:prstGeom>
            <a:ln>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Forever Forma Body Text" pitchFamily="2" charset="0"/>
              </a:endParaRPr>
            </a:p>
          </p:txBody>
        </p:sp>
      </p:grpSp>
      <p:sp>
        <p:nvSpPr>
          <p:cNvPr id="32" name="Rectangle 31">
            <a:extLst>
              <a:ext uri="{FF2B5EF4-FFF2-40B4-BE49-F238E27FC236}">
                <a16:creationId xmlns:a16="http://schemas.microsoft.com/office/drawing/2014/main" id="{C0AAE16A-F7B1-8BFC-44AC-DCF5873C0907}"/>
              </a:ext>
            </a:extLst>
          </p:cNvPr>
          <p:cNvSpPr/>
          <p:nvPr userDrawn="1"/>
        </p:nvSpPr>
        <p:spPr>
          <a:xfrm>
            <a:off x="8524874" y="4120308"/>
            <a:ext cx="1816084" cy="374574"/>
          </a:xfrm>
          <a:prstGeom prst="rect">
            <a:avLst/>
          </a:prstGeom>
          <a:solidFill>
            <a:schemeClr val="bg1">
              <a:alpha val="61666"/>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26">
            <a:extLst>
              <a:ext uri="{FF2B5EF4-FFF2-40B4-BE49-F238E27FC236}">
                <a16:creationId xmlns:a16="http://schemas.microsoft.com/office/drawing/2014/main" id="{170AEE72-9693-A055-F50F-86A370181F9D}"/>
              </a:ext>
            </a:extLst>
          </p:cNvPr>
          <p:cNvSpPr txBox="1"/>
          <p:nvPr userDrawn="1"/>
        </p:nvSpPr>
        <p:spPr>
          <a:xfrm>
            <a:off x="521208" y="1414801"/>
            <a:ext cx="7208329" cy="4635149"/>
          </a:xfrm>
          <a:prstGeom prst="rect">
            <a:avLst/>
          </a:prstGeom>
          <a:noFill/>
        </p:spPr>
        <p:txBody>
          <a:bodyPr wrap="square" lIns="0" tIns="0" rIns="0" bIns="0" rtlCol="0">
            <a:noAutofit/>
          </a:bodyPr>
          <a:lstStyle/>
          <a:p>
            <a:r>
              <a:rPr lang="en-US" sz="1600" b="1">
                <a:latin typeface="Forever Forma Body Text"/>
              </a:rPr>
              <a:t>Theme Colors</a:t>
            </a:r>
          </a:p>
          <a:p>
            <a:r>
              <a:rPr lang="en-US" sz="1400">
                <a:latin typeface="Forever Forma Body Text"/>
              </a:rPr>
              <a:t>Theme Colors have an automatic default set by Microsoft. The first black and white colors are the only ones that should be used for standard type: </a:t>
            </a:r>
          </a:p>
          <a:p>
            <a:r>
              <a:rPr lang="en-US" sz="1400" b="1" u="sng">
                <a:latin typeface="Forever Forma Body Text"/>
              </a:rPr>
              <a:t>Theme colors other than black and white are auto populated data colors and are not to be used anywhere else but for graphs/charts etc. Use the Custom Color section for any background/accent type color changes or data customization</a:t>
            </a:r>
          </a:p>
          <a:p>
            <a:pPr>
              <a:buNone/>
            </a:pPr>
            <a:endParaRPr lang="en-US" sz="1400" b="1">
              <a:latin typeface="Forever Forma Body Text"/>
            </a:endParaRPr>
          </a:p>
          <a:p>
            <a:pPr>
              <a:buNone/>
            </a:pPr>
            <a:r>
              <a:rPr lang="en-US" sz="1600" b="1">
                <a:latin typeface="Forever Forma Body Text"/>
              </a:rPr>
              <a:t>Custom Colors</a:t>
            </a:r>
          </a:p>
          <a:p>
            <a:r>
              <a:rPr lang="en-US" sz="1400">
                <a:latin typeface="Forever Forma Body Text"/>
              </a:rPr>
              <a:t>Under Custom Colors you will find the brand colors and the data visualization color palette. It has been split as follows:</a:t>
            </a:r>
          </a:p>
          <a:p>
            <a:pPr marL="342900" lvl="1" indent="-342900">
              <a:buFont typeface="+mj-lt"/>
              <a:buAutoNum type="arabicPeriod"/>
            </a:pPr>
            <a:r>
              <a:rPr lang="en-US" sz="1400">
                <a:latin typeface="Forever Forma Body Text"/>
              </a:rPr>
              <a:t>Brand colors: These can be used for shapes, background colors, tables and icons. The first row cannot be used for data visualization i.e. charts, graphs</a:t>
            </a:r>
          </a:p>
          <a:p>
            <a:pPr marL="702900" lvl="3" indent="-342900">
              <a:buFont typeface="+mj-lt"/>
              <a:buAutoNum type="arabicPeriod"/>
            </a:pPr>
            <a:r>
              <a:rPr lang="en-US" sz="1200" b="1">
                <a:latin typeface="Forever Forma Body Text"/>
              </a:rPr>
              <a:t>Light brand colors</a:t>
            </a:r>
            <a:r>
              <a:rPr lang="en-US" sz="1200">
                <a:latin typeface="Forever Forma Body Text"/>
              </a:rPr>
              <a:t>: Can be used with black type. Cannot be used as accent text over white backgrounds.</a:t>
            </a:r>
          </a:p>
          <a:p>
            <a:pPr marL="702900" marR="0" lvl="3" indent="-342900" algn="l" defTabSz="914400" rtl="0" eaLnBrk="1" fontAlgn="auto" latinLnBrk="0" hangingPunct="1">
              <a:lnSpc>
                <a:spcPct val="95000"/>
              </a:lnSpc>
              <a:spcBef>
                <a:spcPts val="300"/>
              </a:spcBef>
              <a:spcAft>
                <a:spcPts val="0"/>
              </a:spcAft>
              <a:buClrTx/>
              <a:buSzTx/>
              <a:buFont typeface="+mj-lt"/>
              <a:buAutoNum type="arabicPeriod"/>
              <a:tabLst/>
              <a:defRPr/>
            </a:pPr>
            <a:r>
              <a:rPr lang="en-US" sz="1200" b="1">
                <a:latin typeface="Forever Forma Body Text"/>
              </a:rPr>
              <a:t>Dark brand colors: </a:t>
            </a:r>
            <a:r>
              <a:rPr lang="en-US" sz="1200">
                <a:latin typeface="Forever Forma Body Text"/>
              </a:rPr>
              <a:t>Can be used with white type. Can be used as accent text over white backgrounds.</a:t>
            </a:r>
          </a:p>
          <a:p>
            <a:pPr marL="342900" lvl="1" indent="-342900">
              <a:buFont typeface="+mj-lt"/>
              <a:buAutoNum type="arabicPeriod"/>
            </a:pPr>
            <a:r>
              <a:rPr lang="en-US" sz="1400">
                <a:latin typeface="Forever Forma Body Text"/>
              </a:rPr>
              <a:t>Rows 2, 3 and 4 are colors </a:t>
            </a:r>
            <a:r>
              <a:rPr lang="en-US" sz="1400" b="1">
                <a:latin typeface="Forever Forma Body Text"/>
              </a:rPr>
              <a:t>only</a:t>
            </a:r>
            <a:r>
              <a:rPr lang="en-US" sz="1400">
                <a:latin typeface="Forever Forma Body Text"/>
              </a:rPr>
              <a:t> to be used for data visualization i.e. charts, graphs</a:t>
            </a:r>
          </a:p>
          <a:p>
            <a:pPr algn="l">
              <a:buNone/>
            </a:pPr>
            <a:endParaRPr lang="en-US" sz="1600" kern="100" spc="-30">
              <a:latin typeface="Forever Forma Body Text"/>
            </a:endParaRPr>
          </a:p>
        </p:txBody>
      </p:sp>
      <p:sp>
        <p:nvSpPr>
          <p:cNvPr id="23" name="Right Brace 22">
            <a:extLst>
              <a:ext uri="{FF2B5EF4-FFF2-40B4-BE49-F238E27FC236}">
                <a16:creationId xmlns:a16="http://schemas.microsoft.com/office/drawing/2014/main" id="{6BE6863A-D153-57CB-4424-AD072BFB6895}"/>
              </a:ext>
            </a:extLst>
          </p:cNvPr>
          <p:cNvSpPr/>
          <p:nvPr userDrawn="1"/>
        </p:nvSpPr>
        <p:spPr>
          <a:xfrm rot="16200000">
            <a:off x="9176247" y="3777019"/>
            <a:ext cx="96044" cy="1586255"/>
          </a:xfrm>
          <a:prstGeom prst="rightBrace">
            <a:avLst>
              <a:gd name="adj1" fmla="val 0"/>
              <a:gd name="adj2" fmla="val 50000"/>
            </a:avLst>
          </a:prstGeom>
          <a:ln>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Forever Forma Body Text" pitchFamily="2" charset="0"/>
            </a:endParaRPr>
          </a:p>
        </p:txBody>
      </p:sp>
      <p:sp>
        <p:nvSpPr>
          <p:cNvPr id="28" name="Right Brace 27">
            <a:extLst>
              <a:ext uri="{FF2B5EF4-FFF2-40B4-BE49-F238E27FC236}">
                <a16:creationId xmlns:a16="http://schemas.microsoft.com/office/drawing/2014/main" id="{12BA4382-23D7-A365-81AC-1E526542B08B}"/>
              </a:ext>
            </a:extLst>
          </p:cNvPr>
          <p:cNvSpPr/>
          <p:nvPr userDrawn="1"/>
        </p:nvSpPr>
        <p:spPr>
          <a:xfrm rot="16200000">
            <a:off x="10775422" y="3793420"/>
            <a:ext cx="96044" cy="1553451"/>
          </a:xfrm>
          <a:prstGeom prst="rightBrace">
            <a:avLst>
              <a:gd name="adj1" fmla="val 0"/>
              <a:gd name="adj2" fmla="val 50000"/>
            </a:avLst>
          </a:prstGeom>
          <a:ln>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Forever Forma Body Text" pitchFamily="2" charset="0"/>
            </a:endParaRPr>
          </a:p>
        </p:txBody>
      </p:sp>
      <p:sp>
        <p:nvSpPr>
          <p:cNvPr id="30" name="TextBox 29">
            <a:extLst>
              <a:ext uri="{FF2B5EF4-FFF2-40B4-BE49-F238E27FC236}">
                <a16:creationId xmlns:a16="http://schemas.microsoft.com/office/drawing/2014/main" id="{FEF9395F-1571-D72D-E2B7-8EB6B931D07E}"/>
              </a:ext>
            </a:extLst>
          </p:cNvPr>
          <p:cNvSpPr txBox="1"/>
          <p:nvPr userDrawn="1"/>
        </p:nvSpPr>
        <p:spPr>
          <a:xfrm>
            <a:off x="8431141" y="2330090"/>
            <a:ext cx="1398791" cy="159670"/>
          </a:xfrm>
          <a:prstGeom prst="rect">
            <a:avLst/>
          </a:prstGeom>
          <a:solidFill>
            <a:schemeClr val="bg1"/>
          </a:solidFill>
        </p:spPr>
        <p:txBody>
          <a:bodyPr wrap="square" lIns="0" tIns="0" rIns="0" bIns="0" rtlCol="0" anchor="ctr" anchorCtr="0">
            <a:noAutofit/>
          </a:bodyPr>
          <a:lstStyle/>
          <a:p>
            <a:pPr algn="l"/>
            <a:r>
              <a:rPr lang="en-US" sz="1000" kern="100" spc="-30">
                <a:latin typeface="Forever Forma Body Text" pitchFamily="2" charset="0"/>
              </a:rPr>
              <a:t>Useable text colors</a:t>
            </a:r>
          </a:p>
        </p:txBody>
      </p:sp>
      <p:sp>
        <p:nvSpPr>
          <p:cNvPr id="26" name="TextBox 25">
            <a:extLst>
              <a:ext uri="{FF2B5EF4-FFF2-40B4-BE49-F238E27FC236}">
                <a16:creationId xmlns:a16="http://schemas.microsoft.com/office/drawing/2014/main" id="{52543B2C-942B-2AB9-D6B6-7887E9F6C9DF}"/>
              </a:ext>
            </a:extLst>
          </p:cNvPr>
          <p:cNvSpPr txBox="1"/>
          <p:nvPr userDrawn="1"/>
        </p:nvSpPr>
        <p:spPr>
          <a:xfrm>
            <a:off x="8524874" y="4389014"/>
            <a:ext cx="1398791" cy="159670"/>
          </a:xfrm>
          <a:prstGeom prst="rect">
            <a:avLst/>
          </a:prstGeom>
          <a:solidFill>
            <a:schemeClr val="bg1"/>
          </a:solidFill>
        </p:spPr>
        <p:txBody>
          <a:bodyPr wrap="square" lIns="0" tIns="0" rIns="0" bIns="0" rtlCol="0" anchor="ctr" anchorCtr="0">
            <a:noAutofit/>
          </a:bodyPr>
          <a:lstStyle/>
          <a:p>
            <a:pPr algn="ctr"/>
            <a:r>
              <a:rPr lang="en-US" sz="1000" kern="100" spc="-30">
                <a:latin typeface="Forever Forma Body Text" pitchFamily="2" charset="0"/>
              </a:rPr>
              <a:t>Light brand colors</a:t>
            </a:r>
          </a:p>
        </p:txBody>
      </p:sp>
      <p:sp>
        <p:nvSpPr>
          <p:cNvPr id="29" name="TextBox 28">
            <a:extLst>
              <a:ext uri="{FF2B5EF4-FFF2-40B4-BE49-F238E27FC236}">
                <a16:creationId xmlns:a16="http://schemas.microsoft.com/office/drawing/2014/main" id="{27A31008-301A-1A70-40F6-197931DD039A}"/>
              </a:ext>
            </a:extLst>
          </p:cNvPr>
          <p:cNvSpPr txBox="1"/>
          <p:nvPr userDrawn="1"/>
        </p:nvSpPr>
        <p:spPr>
          <a:xfrm>
            <a:off x="10124049" y="4389014"/>
            <a:ext cx="1398791" cy="159670"/>
          </a:xfrm>
          <a:prstGeom prst="rect">
            <a:avLst/>
          </a:prstGeom>
          <a:solidFill>
            <a:schemeClr val="bg1"/>
          </a:solidFill>
        </p:spPr>
        <p:txBody>
          <a:bodyPr wrap="square" lIns="0" tIns="0" rIns="0" bIns="0" rtlCol="0" anchor="ctr" anchorCtr="0">
            <a:noAutofit/>
          </a:bodyPr>
          <a:lstStyle/>
          <a:p>
            <a:pPr algn="ctr"/>
            <a:r>
              <a:rPr lang="en-US" sz="1000" kern="100" spc="-30">
                <a:latin typeface="Forever Forma Body Text" pitchFamily="2" charset="0"/>
              </a:rPr>
              <a:t>Dark brand colors</a:t>
            </a:r>
          </a:p>
        </p:txBody>
      </p:sp>
      <p:sp>
        <p:nvSpPr>
          <p:cNvPr id="31" name="Rectangle 30">
            <a:extLst>
              <a:ext uri="{FF2B5EF4-FFF2-40B4-BE49-F238E27FC236}">
                <a16:creationId xmlns:a16="http://schemas.microsoft.com/office/drawing/2014/main" id="{00E87836-030D-B3FC-7122-4F635C820425}"/>
              </a:ext>
            </a:extLst>
          </p:cNvPr>
          <p:cNvSpPr/>
          <p:nvPr userDrawn="1"/>
        </p:nvSpPr>
        <p:spPr>
          <a:xfrm>
            <a:off x="8524874" y="1542361"/>
            <a:ext cx="1816084" cy="374574"/>
          </a:xfrm>
          <a:prstGeom prst="rect">
            <a:avLst/>
          </a:prstGeom>
          <a:solidFill>
            <a:schemeClr val="bg1">
              <a:alpha val="61666"/>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ootnotes">
            <a:extLst>
              <a:ext uri="{FF2B5EF4-FFF2-40B4-BE49-F238E27FC236}">
                <a16:creationId xmlns:a16="http://schemas.microsoft.com/office/drawing/2014/main" id="{68F35608-FBE2-E04D-A1EC-0886266494B9}"/>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1799229208"/>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Instructions J">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37845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78E32CC6-04C6-A1DF-EF98-BE4B1B7C525B}"/>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7" name="TextBox 6">
            <a:extLst>
              <a:ext uri="{FF2B5EF4-FFF2-40B4-BE49-F238E27FC236}">
                <a16:creationId xmlns:a16="http://schemas.microsoft.com/office/drawing/2014/main" id="{DCC41A1F-0F4F-3173-FDD3-B4AEE0928075}"/>
              </a:ext>
            </a:extLst>
          </p:cNvPr>
          <p:cNvSpPr txBox="1"/>
          <p:nvPr userDrawn="1"/>
        </p:nvSpPr>
        <p:spPr>
          <a:xfrm>
            <a:off x="521209" y="324362"/>
            <a:ext cx="11149580" cy="944637"/>
          </a:xfrm>
          <a:prstGeom prst="rect">
            <a:avLst/>
          </a:prstGeom>
          <a:noFill/>
        </p:spPr>
        <p:txBody>
          <a:bodyPr wrap="square" lIns="0" tIns="0" rIns="0" bIns="0" rtlCol="0">
            <a:noAutofit/>
          </a:bodyPr>
          <a:lstStyle/>
          <a:p>
            <a:pPr algn="l">
              <a:lnSpc>
                <a:spcPct val="85000"/>
              </a:lnSpc>
            </a:pPr>
            <a:r>
              <a:rPr lang="en-US" sz="3600">
                <a:latin typeface="Forever Forma Body Text"/>
              </a:rPr>
              <a:t>Instructions: Sequential colors</a:t>
            </a:r>
          </a:p>
        </p:txBody>
      </p:sp>
      <p:sp>
        <p:nvSpPr>
          <p:cNvPr id="25" name="TextBox 24">
            <a:extLst>
              <a:ext uri="{FF2B5EF4-FFF2-40B4-BE49-F238E27FC236}">
                <a16:creationId xmlns:a16="http://schemas.microsoft.com/office/drawing/2014/main" id="{07F63A86-921D-1366-8995-0E53019F7AD1}"/>
              </a:ext>
            </a:extLst>
          </p:cNvPr>
          <p:cNvSpPr txBox="1"/>
          <p:nvPr userDrawn="1"/>
        </p:nvSpPr>
        <p:spPr>
          <a:xfrm>
            <a:off x="12847320" y="922020"/>
            <a:ext cx="0" cy="0"/>
          </a:xfrm>
          <a:prstGeom prst="rect">
            <a:avLst/>
          </a:prstGeom>
          <a:noFill/>
        </p:spPr>
        <p:txBody>
          <a:bodyPr wrap="none" lIns="0" tIns="0" rIns="0" bIns="0" rtlCol="0">
            <a:noAutofit/>
          </a:bodyPr>
          <a:lstStyle/>
          <a:p>
            <a:pPr algn="l"/>
            <a:endParaRPr lang="en-US">
              <a:latin typeface="Forever Forma Body Text"/>
            </a:endParaRPr>
          </a:p>
        </p:txBody>
      </p:sp>
      <p:sp>
        <p:nvSpPr>
          <p:cNvPr id="26" name="TextBox 25">
            <a:extLst>
              <a:ext uri="{FF2B5EF4-FFF2-40B4-BE49-F238E27FC236}">
                <a16:creationId xmlns:a16="http://schemas.microsoft.com/office/drawing/2014/main" id="{2AC2AF05-B8C6-F5CC-C498-8FFC5DD826D0}"/>
              </a:ext>
            </a:extLst>
          </p:cNvPr>
          <p:cNvSpPr txBox="1"/>
          <p:nvPr userDrawn="1"/>
        </p:nvSpPr>
        <p:spPr>
          <a:xfrm>
            <a:off x="521207" y="1268413"/>
            <a:ext cx="11149580" cy="358629"/>
          </a:xfrm>
          <a:prstGeom prst="rect">
            <a:avLst/>
          </a:prstGeom>
          <a:noFill/>
        </p:spPr>
        <p:txBody>
          <a:bodyPr wrap="square" lIns="0" tIns="0" rIns="0" bIns="0" rtlCol="0">
            <a:noAutofit/>
          </a:bodyPr>
          <a:lstStyle/>
          <a:p>
            <a:pPr marL="0" marR="0" lvl="0" indent="0" algn="l" defTabSz="914400" rtl="0" eaLnBrk="1" fontAlgn="auto" latinLnBrk="0" hangingPunct="1">
              <a:lnSpc>
                <a:spcPct val="95000"/>
              </a:lnSpc>
              <a:spcBef>
                <a:spcPts val="600"/>
              </a:spcBef>
              <a:spcAft>
                <a:spcPts val="0"/>
              </a:spcAft>
              <a:buClr>
                <a:srgbClr val="281805"/>
              </a:buClr>
              <a:buSzTx/>
              <a:buFont typeface="Arial" panose="020B0604020202020204" pitchFamily="34" charset="0"/>
              <a:buNone/>
              <a:tabLst/>
              <a:defRPr/>
            </a:pPr>
            <a:r>
              <a:rPr lang="en-US" sz="1800" i="0">
                <a:effectLst/>
                <a:latin typeface="Forever Forma Body Text"/>
              </a:rPr>
              <a:t>For data visualization only, i.e. charts, graphs etc. </a:t>
            </a:r>
          </a:p>
        </p:txBody>
      </p:sp>
      <p:grpSp>
        <p:nvGrpSpPr>
          <p:cNvPr id="78" name="Group 77">
            <a:extLst>
              <a:ext uri="{FF2B5EF4-FFF2-40B4-BE49-F238E27FC236}">
                <a16:creationId xmlns:a16="http://schemas.microsoft.com/office/drawing/2014/main" id="{F149C2CC-6DE7-CA88-9670-46981E10338A}"/>
              </a:ext>
            </a:extLst>
          </p:cNvPr>
          <p:cNvGrpSpPr/>
          <p:nvPr userDrawn="1"/>
        </p:nvGrpSpPr>
        <p:grpSpPr>
          <a:xfrm>
            <a:off x="2274240" y="1728787"/>
            <a:ext cx="7643520" cy="4321163"/>
            <a:chOff x="1962151" y="1426900"/>
            <a:chExt cx="8267699" cy="4674035"/>
          </a:xfrm>
        </p:grpSpPr>
        <p:sp>
          <p:nvSpPr>
            <p:cNvPr id="48" name="Rectangle 47">
              <a:extLst>
                <a:ext uri="{FF2B5EF4-FFF2-40B4-BE49-F238E27FC236}">
                  <a16:creationId xmlns:a16="http://schemas.microsoft.com/office/drawing/2014/main" id="{F2DF6E5F-A954-601F-9E6F-CC70A0ADA847}"/>
                </a:ext>
                <a:ext uri="{C183D7F6-B498-43B3-948B-1728B52AA6E4}">
                  <adec:decorative xmlns:adec="http://schemas.microsoft.com/office/drawing/2017/decorative" val="1"/>
                </a:ext>
              </a:extLst>
            </p:cNvPr>
            <p:cNvSpPr/>
            <p:nvPr userDrawn="1"/>
          </p:nvSpPr>
          <p:spPr>
            <a:xfrm>
              <a:off x="1962151" y="1426900"/>
              <a:ext cx="1141784" cy="936000"/>
            </a:xfrm>
            <a:prstGeom prst="rect">
              <a:avLst/>
            </a:prstGeom>
            <a:solidFill>
              <a:srgbClr val="27890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bg1"/>
                  </a:solidFill>
                  <a:latin typeface="Forever Forma Body Text" pitchFamily="2" charset="0"/>
                </a:rPr>
                <a:t>Dark Grass Green</a:t>
              </a:r>
            </a:p>
            <a:p>
              <a:r>
                <a:rPr lang="en-US" sz="1200">
                  <a:solidFill>
                    <a:schemeClr val="bg1"/>
                  </a:solidFill>
                  <a:latin typeface="Forever Forma Body Text" pitchFamily="2" charset="0"/>
                </a:rPr>
                <a:t>100%</a:t>
              </a:r>
            </a:p>
          </p:txBody>
        </p:sp>
        <p:sp>
          <p:nvSpPr>
            <p:cNvPr id="49" name="Rectangle 48">
              <a:extLst>
                <a:ext uri="{FF2B5EF4-FFF2-40B4-BE49-F238E27FC236}">
                  <a16:creationId xmlns:a16="http://schemas.microsoft.com/office/drawing/2014/main" id="{9459DBC0-EC19-F2FB-7DEE-97B6DCE1AA55}"/>
                </a:ext>
                <a:ext uri="{C183D7F6-B498-43B3-948B-1728B52AA6E4}">
                  <adec:decorative xmlns:adec="http://schemas.microsoft.com/office/drawing/2017/decorative" val="1"/>
                </a:ext>
              </a:extLst>
            </p:cNvPr>
            <p:cNvSpPr/>
            <p:nvPr userDrawn="1"/>
          </p:nvSpPr>
          <p:spPr>
            <a:xfrm>
              <a:off x="1962151" y="2361409"/>
              <a:ext cx="1141784" cy="936000"/>
            </a:xfrm>
            <a:prstGeom prst="rect">
              <a:avLst/>
            </a:prstGeom>
            <a:solidFill>
              <a:srgbClr val="52A13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tx1"/>
                  </a:solidFill>
                  <a:latin typeface="Forever Forma Body Text" pitchFamily="2" charset="0"/>
                </a:rPr>
                <a:t>Dark Grass Green</a:t>
              </a:r>
            </a:p>
            <a:p>
              <a:r>
                <a:rPr lang="en-US" sz="1200">
                  <a:solidFill>
                    <a:schemeClr val="tx1"/>
                  </a:solidFill>
                  <a:latin typeface="Forever Forma Body Text" pitchFamily="2" charset="0"/>
                </a:rPr>
                <a:t>80%</a:t>
              </a:r>
            </a:p>
          </p:txBody>
        </p:sp>
        <p:sp>
          <p:nvSpPr>
            <p:cNvPr id="50" name="Rectangle 49">
              <a:extLst>
                <a:ext uri="{FF2B5EF4-FFF2-40B4-BE49-F238E27FC236}">
                  <a16:creationId xmlns:a16="http://schemas.microsoft.com/office/drawing/2014/main" id="{6624D7B0-72F0-25D0-9FCC-2945455043C8}"/>
                </a:ext>
                <a:ext uri="{C183D7F6-B498-43B3-948B-1728B52AA6E4}">
                  <adec:decorative xmlns:adec="http://schemas.microsoft.com/office/drawing/2017/decorative" val="1"/>
                </a:ext>
              </a:extLst>
            </p:cNvPr>
            <p:cNvSpPr/>
            <p:nvPr userDrawn="1"/>
          </p:nvSpPr>
          <p:spPr>
            <a:xfrm>
              <a:off x="1962151" y="3295918"/>
              <a:ext cx="1141784" cy="936000"/>
            </a:xfrm>
            <a:prstGeom prst="rect">
              <a:avLst/>
            </a:prstGeom>
            <a:solidFill>
              <a:srgbClr val="7DB868"/>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tx1"/>
                  </a:solidFill>
                  <a:latin typeface="Forever Forma Body Text" pitchFamily="2" charset="0"/>
                </a:rPr>
                <a:t>Dark Grass Green</a:t>
              </a:r>
            </a:p>
            <a:p>
              <a:r>
                <a:rPr lang="en-US" sz="1200">
                  <a:solidFill>
                    <a:schemeClr val="tx1"/>
                  </a:solidFill>
                  <a:latin typeface="Forever Forma Body Text" pitchFamily="2" charset="0"/>
                </a:rPr>
                <a:t>60%</a:t>
              </a:r>
            </a:p>
          </p:txBody>
        </p:sp>
        <p:sp>
          <p:nvSpPr>
            <p:cNvPr id="51" name="Rectangle 50">
              <a:extLst>
                <a:ext uri="{FF2B5EF4-FFF2-40B4-BE49-F238E27FC236}">
                  <a16:creationId xmlns:a16="http://schemas.microsoft.com/office/drawing/2014/main" id="{A256E973-D1AB-710A-EC13-748A7F6CCCCB}"/>
                </a:ext>
                <a:ext uri="{C183D7F6-B498-43B3-948B-1728B52AA6E4}">
                  <adec:decorative xmlns:adec="http://schemas.microsoft.com/office/drawing/2017/decorative" val="1"/>
                </a:ext>
              </a:extLst>
            </p:cNvPr>
            <p:cNvSpPr/>
            <p:nvPr userDrawn="1"/>
          </p:nvSpPr>
          <p:spPr>
            <a:xfrm>
              <a:off x="1962151" y="4230427"/>
              <a:ext cx="1141784" cy="936000"/>
            </a:xfrm>
            <a:prstGeom prst="rect">
              <a:avLst/>
            </a:prstGeom>
            <a:solidFill>
              <a:srgbClr val="A9D09B"/>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tx1"/>
                  </a:solidFill>
                  <a:latin typeface="Forever Forma Body Text" pitchFamily="2" charset="0"/>
                </a:rPr>
                <a:t>Dark Grass Green</a:t>
              </a:r>
            </a:p>
            <a:p>
              <a:r>
                <a:rPr lang="en-US" sz="1200">
                  <a:solidFill>
                    <a:schemeClr val="tx1"/>
                  </a:solidFill>
                  <a:latin typeface="Forever Forma Body Text" pitchFamily="2" charset="0"/>
                </a:rPr>
                <a:t>40%</a:t>
              </a:r>
            </a:p>
          </p:txBody>
        </p:sp>
        <p:sp>
          <p:nvSpPr>
            <p:cNvPr id="52" name="Rectangle 51">
              <a:extLst>
                <a:ext uri="{FF2B5EF4-FFF2-40B4-BE49-F238E27FC236}">
                  <a16:creationId xmlns:a16="http://schemas.microsoft.com/office/drawing/2014/main" id="{846E1CBF-1A92-ED25-8838-1F2AF240A09A}"/>
                </a:ext>
                <a:ext uri="{C183D7F6-B498-43B3-948B-1728B52AA6E4}">
                  <adec:decorative xmlns:adec="http://schemas.microsoft.com/office/drawing/2017/decorative" val="1"/>
                </a:ext>
              </a:extLst>
            </p:cNvPr>
            <p:cNvSpPr/>
            <p:nvPr userDrawn="1"/>
          </p:nvSpPr>
          <p:spPr>
            <a:xfrm>
              <a:off x="1962151" y="5164935"/>
              <a:ext cx="1141784" cy="936000"/>
            </a:xfrm>
            <a:prstGeom prst="rect">
              <a:avLst/>
            </a:prstGeom>
            <a:solidFill>
              <a:srgbClr val="D4E7CD"/>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tx1"/>
                  </a:solidFill>
                  <a:latin typeface="Forever Forma Body Text" pitchFamily="2" charset="0"/>
                </a:rPr>
                <a:t>Dark Grass Green</a:t>
              </a:r>
            </a:p>
            <a:p>
              <a:r>
                <a:rPr lang="en-US" sz="1200">
                  <a:solidFill>
                    <a:schemeClr val="tx1"/>
                  </a:solidFill>
                  <a:latin typeface="Forever Forma Body Text" pitchFamily="2" charset="0"/>
                </a:rPr>
                <a:t>20%</a:t>
              </a:r>
            </a:p>
          </p:txBody>
        </p:sp>
        <p:sp>
          <p:nvSpPr>
            <p:cNvPr id="53" name="Rectangle 52">
              <a:extLst>
                <a:ext uri="{FF2B5EF4-FFF2-40B4-BE49-F238E27FC236}">
                  <a16:creationId xmlns:a16="http://schemas.microsoft.com/office/drawing/2014/main" id="{863D4328-8A1E-4123-734E-C7EB89C0227F}"/>
                </a:ext>
                <a:ext uri="{C183D7F6-B498-43B3-948B-1728B52AA6E4}">
                  <adec:decorative xmlns:adec="http://schemas.microsoft.com/office/drawing/2017/decorative" val="1"/>
                </a:ext>
              </a:extLst>
            </p:cNvPr>
            <p:cNvSpPr/>
            <p:nvPr userDrawn="1"/>
          </p:nvSpPr>
          <p:spPr>
            <a:xfrm>
              <a:off x="3387334" y="1426900"/>
              <a:ext cx="1141784" cy="936000"/>
            </a:xfrm>
            <a:prstGeom prst="rect">
              <a:avLst/>
            </a:prstGeom>
            <a:solidFill>
              <a:srgbClr val="CC1AD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bg1"/>
                  </a:solidFill>
                  <a:latin typeface="Forever Forma Body Text" pitchFamily="2" charset="0"/>
                </a:rPr>
                <a:t>Dark Hot Pink</a:t>
              </a:r>
            </a:p>
            <a:p>
              <a:r>
                <a:rPr lang="en-US" sz="1200">
                  <a:solidFill>
                    <a:schemeClr val="bg1"/>
                  </a:solidFill>
                  <a:latin typeface="Forever Forma Body Text" pitchFamily="2" charset="0"/>
                </a:rPr>
                <a:t>100%</a:t>
              </a:r>
            </a:p>
          </p:txBody>
        </p:sp>
        <p:sp>
          <p:nvSpPr>
            <p:cNvPr id="54" name="Rectangle 53">
              <a:extLst>
                <a:ext uri="{FF2B5EF4-FFF2-40B4-BE49-F238E27FC236}">
                  <a16:creationId xmlns:a16="http://schemas.microsoft.com/office/drawing/2014/main" id="{8983DB39-FFA2-B380-4687-3C283046EF13}"/>
                </a:ext>
                <a:ext uri="{C183D7F6-B498-43B3-948B-1728B52AA6E4}">
                  <adec:decorative xmlns:adec="http://schemas.microsoft.com/office/drawing/2017/decorative" val="1"/>
                </a:ext>
              </a:extLst>
            </p:cNvPr>
            <p:cNvSpPr/>
            <p:nvPr userDrawn="1"/>
          </p:nvSpPr>
          <p:spPr>
            <a:xfrm>
              <a:off x="3387334" y="2361409"/>
              <a:ext cx="1141784" cy="936000"/>
            </a:xfrm>
            <a:prstGeom prst="rect">
              <a:avLst/>
            </a:prstGeom>
            <a:solidFill>
              <a:srgbClr val="D648DD"/>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tx1"/>
                  </a:solidFill>
                  <a:latin typeface="Forever Forma Body Text" pitchFamily="2" charset="0"/>
                </a:rPr>
                <a:t>Dark Hot Pink</a:t>
              </a:r>
            </a:p>
            <a:p>
              <a:r>
                <a:rPr lang="en-US" sz="1200">
                  <a:solidFill>
                    <a:schemeClr val="tx1"/>
                  </a:solidFill>
                  <a:latin typeface="Forever Forma Body Text" pitchFamily="2" charset="0"/>
                </a:rPr>
                <a:t>80%</a:t>
              </a:r>
            </a:p>
          </p:txBody>
        </p:sp>
        <p:sp>
          <p:nvSpPr>
            <p:cNvPr id="55" name="Rectangle 54">
              <a:extLst>
                <a:ext uri="{FF2B5EF4-FFF2-40B4-BE49-F238E27FC236}">
                  <a16:creationId xmlns:a16="http://schemas.microsoft.com/office/drawing/2014/main" id="{86102A5C-8C49-BAD1-19F8-429C6FD6DD63}"/>
                </a:ext>
                <a:ext uri="{C183D7F6-B498-43B3-948B-1728B52AA6E4}">
                  <adec:decorative xmlns:adec="http://schemas.microsoft.com/office/drawing/2017/decorative" val="1"/>
                </a:ext>
              </a:extLst>
            </p:cNvPr>
            <p:cNvSpPr/>
            <p:nvPr userDrawn="1"/>
          </p:nvSpPr>
          <p:spPr>
            <a:xfrm>
              <a:off x="3387334" y="3295918"/>
              <a:ext cx="1141784" cy="936000"/>
            </a:xfrm>
            <a:prstGeom prst="rect">
              <a:avLst/>
            </a:prstGeom>
            <a:solidFill>
              <a:srgbClr val="E076E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tx1"/>
                  </a:solidFill>
                  <a:latin typeface="Forever Forma Body Text" pitchFamily="2" charset="0"/>
                </a:rPr>
                <a:t>Dark Hot Pink</a:t>
              </a:r>
            </a:p>
            <a:p>
              <a:r>
                <a:rPr lang="en-US" sz="1200">
                  <a:solidFill>
                    <a:schemeClr val="tx1"/>
                  </a:solidFill>
                  <a:latin typeface="Forever Forma Body Text" pitchFamily="2" charset="0"/>
                </a:rPr>
                <a:t>60%</a:t>
              </a:r>
            </a:p>
          </p:txBody>
        </p:sp>
        <p:sp>
          <p:nvSpPr>
            <p:cNvPr id="56" name="Rectangle 55">
              <a:extLst>
                <a:ext uri="{FF2B5EF4-FFF2-40B4-BE49-F238E27FC236}">
                  <a16:creationId xmlns:a16="http://schemas.microsoft.com/office/drawing/2014/main" id="{8EB5DA65-0D2A-ECEE-1BBE-51BDEA207D4D}"/>
                </a:ext>
                <a:ext uri="{C183D7F6-B498-43B3-948B-1728B52AA6E4}">
                  <adec:decorative xmlns:adec="http://schemas.microsoft.com/office/drawing/2017/decorative" val="1"/>
                </a:ext>
              </a:extLst>
            </p:cNvPr>
            <p:cNvSpPr/>
            <p:nvPr userDrawn="1"/>
          </p:nvSpPr>
          <p:spPr>
            <a:xfrm>
              <a:off x="3387334" y="4230427"/>
              <a:ext cx="1141784" cy="936000"/>
            </a:xfrm>
            <a:prstGeom prst="rect">
              <a:avLst/>
            </a:prstGeom>
            <a:solidFill>
              <a:srgbClr val="EBA3EE"/>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tx1"/>
                  </a:solidFill>
                  <a:latin typeface="Forever Forma Body Text" pitchFamily="2" charset="0"/>
                </a:rPr>
                <a:t>Dark Hot Pink</a:t>
              </a:r>
            </a:p>
            <a:p>
              <a:r>
                <a:rPr lang="en-US" sz="1200">
                  <a:solidFill>
                    <a:schemeClr val="tx1"/>
                  </a:solidFill>
                  <a:latin typeface="Forever Forma Body Text" pitchFamily="2" charset="0"/>
                </a:rPr>
                <a:t>40%</a:t>
              </a:r>
            </a:p>
          </p:txBody>
        </p:sp>
        <p:sp>
          <p:nvSpPr>
            <p:cNvPr id="57" name="Rectangle 56">
              <a:extLst>
                <a:ext uri="{FF2B5EF4-FFF2-40B4-BE49-F238E27FC236}">
                  <a16:creationId xmlns:a16="http://schemas.microsoft.com/office/drawing/2014/main" id="{F48305CF-C269-A922-5391-601531C43A23}"/>
                </a:ext>
                <a:ext uri="{C183D7F6-B498-43B3-948B-1728B52AA6E4}">
                  <adec:decorative xmlns:adec="http://schemas.microsoft.com/office/drawing/2017/decorative" val="1"/>
                </a:ext>
              </a:extLst>
            </p:cNvPr>
            <p:cNvSpPr/>
            <p:nvPr userDrawn="1"/>
          </p:nvSpPr>
          <p:spPr>
            <a:xfrm>
              <a:off x="3387334" y="5164935"/>
              <a:ext cx="1141784" cy="936000"/>
            </a:xfrm>
            <a:prstGeom prst="rect">
              <a:avLst/>
            </a:prstGeom>
            <a:solidFill>
              <a:srgbClr val="F5D1F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tx1"/>
                  </a:solidFill>
                  <a:latin typeface="Forever Forma Body Text" pitchFamily="2" charset="0"/>
                </a:rPr>
                <a:t>Dark Hot Pink</a:t>
              </a:r>
            </a:p>
            <a:p>
              <a:r>
                <a:rPr lang="en-US" sz="1200">
                  <a:solidFill>
                    <a:schemeClr val="tx1"/>
                  </a:solidFill>
                  <a:latin typeface="Forever Forma Body Text" pitchFamily="2" charset="0"/>
                </a:rPr>
                <a:t>20%</a:t>
              </a:r>
            </a:p>
          </p:txBody>
        </p:sp>
        <p:sp>
          <p:nvSpPr>
            <p:cNvPr id="58" name="Rectangle 57">
              <a:extLst>
                <a:ext uri="{FF2B5EF4-FFF2-40B4-BE49-F238E27FC236}">
                  <a16:creationId xmlns:a16="http://schemas.microsoft.com/office/drawing/2014/main" id="{2EB991EA-05C2-1C4D-F1B7-A885D2D7E624}"/>
                </a:ext>
                <a:ext uri="{C183D7F6-B498-43B3-948B-1728B52AA6E4}">
                  <adec:decorative xmlns:adec="http://schemas.microsoft.com/office/drawing/2017/decorative" val="1"/>
                </a:ext>
              </a:extLst>
            </p:cNvPr>
            <p:cNvSpPr/>
            <p:nvPr userDrawn="1"/>
          </p:nvSpPr>
          <p:spPr>
            <a:xfrm>
              <a:off x="6237700" y="1426900"/>
              <a:ext cx="1141784" cy="936000"/>
            </a:xfrm>
            <a:prstGeom prst="rect">
              <a:avLst/>
            </a:prstGeom>
            <a:solidFill>
              <a:srgbClr val="38179E"/>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bg1"/>
                  </a:solidFill>
                  <a:latin typeface="Forever Forma Body Text" pitchFamily="2" charset="0"/>
                </a:rPr>
                <a:t>Dark Lavender Purple</a:t>
              </a:r>
            </a:p>
            <a:p>
              <a:r>
                <a:rPr lang="en-US" sz="1200">
                  <a:solidFill>
                    <a:schemeClr val="bg1"/>
                  </a:solidFill>
                  <a:latin typeface="Forever Forma Body Text" pitchFamily="2" charset="0"/>
                </a:rPr>
                <a:t>100%</a:t>
              </a:r>
            </a:p>
          </p:txBody>
        </p:sp>
        <p:sp>
          <p:nvSpPr>
            <p:cNvPr id="59" name="Rectangle 58">
              <a:extLst>
                <a:ext uri="{FF2B5EF4-FFF2-40B4-BE49-F238E27FC236}">
                  <a16:creationId xmlns:a16="http://schemas.microsoft.com/office/drawing/2014/main" id="{6A7BCBF1-1B04-9D66-69EC-0969F3C94DA5}"/>
                </a:ext>
                <a:ext uri="{C183D7F6-B498-43B3-948B-1728B52AA6E4}">
                  <adec:decorative xmlns:adec="http://schemas.microsoft.com/office/drawing/2017/decorative" val="1"/>
                </a:ext>
              </a:extLst>
            </p:cNvPr>
            <p:cNvSpPr/>
            <p:nvPr userDrawn="1"/>
          </p:nvSpPr>
          <p:spPr>
            <a:xfrm>
              <a:off x="6237700" y="2361409"/>
              <a:ext cx="1141784" cy="936000"/>
            </a:xfrm>
            <a:prstGeom prst="rect">
              <a:avLst/>
            </a:prstGeom>
            <a:solidFill>
              <a:srgbClr val="6045B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bg1"/>
                  </a:solidFill>
                  <a:latin typeface="Forever Forma Body Text" pitchFamily="2" charset="0"/>
                </a:rPr>
                <a:t>Dark Lavender Purple</a:t>
              </a:r>
            </a:p>
            <a:p>
              <a:r>
                <a:rPr lang="en-US" sz="1200">
                  <a:solidFill>
                    <a:schemeClr val="bg1"/>
                  </a:solidFill>
                  <a:latin typeface="Forever Forma Body Text" pitchFamily="2" charset="0"/>
                </a:rPr>
                <a:t>80%</a:t>
              </a:r>
            </a:p>
          </p:txBody>
        </p:sp>
        <p:sp>
          <p:nvSpPr>
            <p:cNvPr id="60" name="Rectangle 59">
              <a:extLst>
                <a:ext uri="{FF2B5EF4-FFF2-40B4-BE49-F238E27FC236}">
                  <a16:creationId xmlns:a16="http://schemas.microsoft.com/office/drawing/2014/main" id="{70D65330-F137-86D2-A1D0-2A1B066F66EB}"/>
                </a:ext>
                <a:ext uri="{C183D7F6-B498-43B3-948B-1728B52AA6E4}">
                  <adec:decorative xmlns:adec="http://schemas.microsoft.com/office/drawing/2017/decorative" val="1"/>
                </a:ext>
              </a:extLst>
            </p:cNvPr>
            <p:cNvSpPr/>
            <p:nvPr userDrawn="1"/>
          </p:nvSpPr>
          <p:spPr>
            <a:xfrm>
              <a:off x="6237700" y="3295918"/>
              <a:ext cx="1141784" cy="936000"/>
            </a:xfrm>
            <a:prstGeom prst="rect">
              <a:avLst/>
            </a:prstGeom>
            <a:solidFill>
              <a:srgbClr val="8874C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tx1"/>
                  </a:solidFill>
                  <a:latin typeface="Forever Forma Body Text" pitchFamily="2" charset="0"/>
                </a:rPr>
                <a:t>Dark Lavender Purple</a:t>
              </a:r>
            </a:p>
            <a:p>
              <a:r>
                <a:rPr lang="en-US" sz="1200">
                  <a:solidFill>
                    <a:schemeClr val="tx1"/>
                  </a:solidFill>
                  <a:latin typeface="Forever Forma Body Text" pitchFamily="2" charset="0"/>
                </a:rPr>
                <a:t>60%</a:t>
              </a:r>
            </a:p>
          </p:txBody>
        </p:sp>
        <p:sp>
          <p:nvSpPr>
            <p:cNvPr id="61" name="Rectangle 60">
              <a:extLst>
                <a:ext uri="{FF2B5EF4-FFF2-40B4-BE49-F238E27FC236}">
                  <a16:creationId xmlns:a16="http://schemas.microsoft.com/office/drawing/2014/main" id="{7C1D4CFA-D69F-722F-6418-7AA42A36A330}"/>
                </a:ext>
                <a:ext uri="{C183D7F6-B498-43B3-948B-1728B52AA6E4}">
                  <adec:decorative xmlns:adec="http://schemas.microsoft.com/office/drawing/2017/decorative" val="1"/>
                </a:ext>
              </a:extLst>
            </p:cNvPr>
            <p:cNvSpPr/>
            <p:nvPr userDrawn="1"/>
          </p:nvSpPr>
          <p:spPr>
            <a:xfrm>
              <a:off x="6237700" y="4230427"/>
              <a:ext cx="1141784" cy="936000"/>
            </a:xfrm>
            <a:prstGeom prst="rect">
              <a:avLst/>
            </a:prstGeom>
            <a:solidFill>
              <a:srgbClr val="AFA2D8"/>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tx1"/>
                  </a:solidFill>
                  <a:latin typeface="Forever Forma Body Text" pitchFamily="2" charset="0"/>
                </a:rPr>
                <a:t>Dark Lavender Purple</a:t>
              </a:r>
            </a:p>
            <a:p>
              <a:r>
                <a:rPr lang="en-US" sz="1200">
                  <a:solidFill>
                    <a:schemeClr val="tx1"/>
                  </a:solidFill>
                  <a:latin typeface="Forever Forma Body Text" pitchFamily="2" charset="0"/>
                </a:rPr>
                <a:t>40%</a:t>
              </a:r>
            </a:p>
          </p:txBody>
        </p:sp>
        <p:sp>
          <p:nvSpPr>
            <p:cNvPr id="62" name="Rectangle 61">
              <a:extLst>
                <a:ext uri="{FF2B5EF4-FFF2-40B4-BE49-F238E27FC236}">
                  <a16:creationId xmlns:a16="http://schemas.microsoft.com/office/drawing/2014/main" id="{24F35A3A-A3CE-150B-9B2A-CDFC1875DE9F}"/>
                </a:ext>
                <a:ext uri="{C183D7F6-B498-43B3-948B-1728B52AA6E4}">
                  <adec:decorative xmlns:adec="http://schemas.microsoft.com/office/drawing/2017/decorative" val="1"/>
                </a:ext>
              </a:extLst>
            </p:cNvPr>
            <p:cNvSpPr/>
            <p:nvPr userDrawn="1"/>
          </p:nvSpPr>
          <p:spPr>
            <a:xfrm>
              <a:off x="6237700" y="5164935"/>
              <a:ext cx="1141784" cy="936000"/>
            </a:xfrm>
            <a:prstGeom prst="rect">
              <a:avLst/>
            </a:prstGeom>
            <a:solidFill>
              <a:srgbClr val="D7D1EC"/>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tx1"/>
                  </a:solidFill>
                  <a:latin typeface="Forever Forma Body Text" pitchFamily="2" charset="0"/>
                </a:rPr>
                <a:t>Dark Lavender Purple</a:t>
              </a:r>
            </a:p>
            <a:p>
              <a:r>
                <a:rPr lang="en-US" sz="1200">
                  <a:solidFill>
                    <a:schemeClr val="tx1"/>
                  </a:solidFill>
                  <a:latin typeface="Forever Forma Body Text" pitchFamily="2" charset="0"/>
                </a:rPr>
                <a:t>20%</a:t>
              </a:r>
            </a:p>
          </p:txBody>
        </p:sp>
        <p:sp>
          <p:nvSpPr>
            <p:cNvPr id="63" name="Rectangle 62">
              <a:extLst>
                <a:ext uri="{FF2B5EF4-FFF2-40B4-BE49-F238E27FC236}">
                  <a16:creationId xmlns:a16="http://schemas.microsoft.com/office/drawing/2014/main" id="{C691E53E-38CE-14DC-ED9B-01CF7E6AEB9A}"/>
                </a:ext>
                <a:ext uri="{C183D7F6-B498-43B3-948B-1728B52AA6E4}">
                  <adec:decorative xmlns:adec="http://schemas.microsoft.com/office/drawing/2017/decorative" val="1"/>
                </a:ext>
              </a:extLst>
            </p:cNvPr>
            <p:cNvSpPr/>
            <p:nvPr userDrawn="1"/>
          </p:nvSpPr>
          <p:spPr>
            <a:xfrm>
              <a:off x="7662883" y="1426900"/>
              <a:ext cx="1141784" cy="936000"/>
            </a:xfrm>
            <a:prstGeom prst="rect">
              <a:avLst/>
            </a:prstGeom>
            <a:solidFill>
              <a:srgbClr val="BA1C2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bg1"/>
                  </a:solidFill>
                  <a:latin typeface="Forever Forma Body Text" pitchFamily="2" charset="0"/>
                </a:rPr>
                <a:t>Dark Crimson Red</a:t>
              </a:r>
            </a:p>
            <a:p>
              <a:r>
                <a:rPr lang="en-US" sz="1200">
                  <a:solidFill>
                    <a:schemeClr val="bg1"/>
                  </a:solidFill>
                  <a:latin typeface="Forever Forma Body Text" pitchFamily="2" charset="0"/>
                </a:rPr>
                <a:t>100%</a:t>
              </a:r>
            </a:p>
          </p:txBody>
        </p:sp>
        <p:sp>
          <p:nvSpPr>
            <p:cNvPr id="64" name="Rectangle 63">
              <a:extLst>
                <a:ext uri="{FF2B5EF4-FFF2-40B4-BE49-F238E27FC236}">
                  <a16:creationId xmlns:a16="http://schemas.microsoft.com/office/drawing/2014/main" id="{5C11F43D-5BB0-10E9-DE7B-3CA0E729FA8D}"/>
                </a:ext>
                <a:ext uri="{C183D7F6-B498-43B3-948B-1728B52AA6E4}">
                  <adec:decorative xmlns:adec="http://schemas.microsoft.com/office/drawing/2017/decorative" val="1"/>
                </a:ext>
              </a:extLst>
            </p:cNvPr>
            <p:cNvSpPr/>
            <p:nvPr userDrawn="1"/>
          </p:nvSpPr>
          <p:spPr>
            <a:xfrm>
              <a:off x="7662883" y="2361409"/>
              <a:ext cx="1141784" cy="936000"/>
            </a:xfrm>
            <a:prstGeom prst="rect">
              <a:avLst/>
            </a:prstGeom>
            <a:solidFill>
              <a:srgbClr val="C8494D"/>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bg1"/>
                  </a:solidFill>
                  <a:latin typeface="Forever Forma Body Text" pitchFamily="2" charset="0"/>
                </a:rPr>
                <a:t>Dark Crimson Red</a:t>
              </a:r>
            </a:p>
            <a:p>
              <a:r>
                <a:rPr lang="en-US" sz="1200">
                  <a:solidFill>
                    <a:schemeClr val="bg1"/>
                  </a:solidFill>
                  <a:latin typeface="Forever Forma Body Text" pitchFamily="2" charset="0"/>
                </a:rPr>
                <a:t>80%</a:t>
              </a:r>
            </a:p>
          </p:txBody>
        </p:sp>
        <p:sp>
          <p:nvSpPr>
            <p:cNvPr id="65" name="Rectangle 64">
              <a:extLst>
                <a:ext uri="{FF2B5EF4-FFF2-40B4-BE49-F238E27FC236}">
                  <a16:creationId xmlns:a16="http://schemas.microsoft.com/office/drawing/2014/main" id="{509D2FED-2C36-5AC0-38EA-A780093A3910}"/>
                </a:ext>
                <a:ext uri="{C183D7F6-B498-43B3-948B-1728B52AA6E4}">
                  <adec:decorative xmlns:adec="http://schemas.microsoft.com/office/drawing/2017/decorative" val="1"/>
                </a:ext>
              </a:extLst>
            </p:cNvPr>
            <p:cNvSpPr/>
            <p:nvPr userDrawn="1"/>
          </p:nvSpPr>
          <p:spPr>
            <a:xfrm>
              <a:off x="7662883" y="3295918"/>
              <a:ext cx="1141784" cy="936000"/>
            </a:xfrm>
            <a:prstGeom prst="rect">
              <a:avLst/>
            </a:prstGeom>
            <a:solidFill>
              <a:srgbClr val="D6777A"/>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tx1"/>
                  </a:solidFill>
                  <a:latin typeface="Forever Forma Body Text" pitchFamily="2" charset="0"/>
                </a:rPr>
                <a:t>Dark Crimson Red</a:t>
              </a:r>
            </a:p>
            <a:p>
              <a:r>
                <a:rPr lang="en-US" sz="1200">
                  <a:solidFill>
                    <a:schemeClr val="tx1"/>
                  </a:solidFill>
                  <a:latin typeface="Forever Forma Body Text" pitchFamily="2" charset="0"/>
                </a:rPr>
                <a:t>60%</a:t>
              </a:r>
            </a:p>
          </p:txBody>
        </p:sp>
        <p:sp>
          <p:nvSpPr>
            <p:cNvPr id="66" name="Rectangle 65">
              <a:extLst>
                <a:ext uri="{FF2B5EF4-FFF2-40B4-BE49-F238E27FC236}">
                  <a16:creationId xmlns:a16="http://schemas.microsoft.com/office/drawing/2014/main" id="{ED0F3FF2-3830-1363-4386-C8731E04CEA2}"/>
                </a:ext>
                <a:ext uri="{C183D7F6-B498-43B3-948B-1728B52AA6E4}">
                  <adec:decorative xmlns:adec="http://schemas.microsoft.com/office/drawing/2017/decorative" val="1"/>
                </a:ext>
              </a:extLst>
            </p:cNvPr>
            <p:cNvSpPr/>
            <p:nvPr userDrawn="1"/>
          </p:nvSpPr>
          <p:spPr>
            <a:xfrm>
              <a:off x="7662883" y="4230427"/>
              <a:ext cx="1141784" cy="936000"/>
            </a:xfrm>
            <a:prstGeom prst="rect">
              <a:avLst/>
            </a:prstGeom>
            <a:solidFill>
              <a:srgbClr val="E3A4A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tx1"/>
                  </a:solidFill>
                  <a:latin typeface="Forever Forma Body Text" pitchFamily="2" charset="0"/>
                </a:rPr>
                <a:t>Dark Crimson Red</a:t>
              </a:r>
            </a:p>
            <a:p>
              <a:r>
                <a:rPr lang="en-US" sz="1200">
                  <a:solidFill>
                    <a:schemeClr val="tx1"/>
                  </a:solidFill>
                  <a:latin typeface="Forever Forma Body Text" pitchFamily="2" charset="0"/>
                </a:rPr>
                <a:t>40%</a:t>
              </a:r>
            </a:p>
          </p:txBody>
        </p:sp>
        <p:sp>
          <p:nvSpPr>
            <p:cNvPr id="67" name="Rectangle 66">
              <a:extLst>
                <a:ext uri="{FF2B5EF4-FFF2-40B4-BE49-F238E27FC236}">
                  <a16:creationId xmlns:a16="http://schemas.microsoft.com/office/drawing/2014/main" id="{6678432F-0396-21B6-7BFE-58652070B498}"/>
                </a:ext>
                <a:ext uri="{C183D7F6-B498-43B3-948B-1728B52AA6E4}">
                  <adec:decorative xmlns:adec="http://schemas.microsoft.com/office/drawing/2017/decorative" val="1"/>
                </a:ext>
              </a:extLst>
            </p:cNvPr>
            <p:cNvSpPr/>
            <p:nvPr userDrawn="1"/>
          </p:nvSpPr>
          <p:spPr>
            <a:xfrm>
              <a:off x="7662883" y="5164935"/>
              <a:ext cx="1141784" cy="936000"/>
            </a:xfrm>
            <a:prstGeom prst="rect">
              <a:avLst/>
            </a:prstGeom>
            <a:solidFill>
              <a:srgbClr val="F1D2D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tx1"/>
                  </a:solidFill>
                  <a:latin typeface="Forever Forma Body Text" pitchFamily="2" charset="0"/>
                </a:rPr>
                <a:t>Dark Crimson Red</a:t>
              </a:r>
            </a:p>
            <a:p>
              <a:r>
                <a:rPr lang="en-US" sz="1200">
                  <a:solidFill>
                    <a:schemeClr val="tx1"/>
                  </a:solidFill>
                  <a:latin typeface="Forever Forma Body Text" pitchFamily="2" charset="0"/>
                </a:rPr>
                <a:t>20%</a:t>
              </a:r>
            </a:p>
          </p:txBody>
        </p:sp>
        <p:sp>
          <p:nvSpPr>
            <p:cNvPr id="68" name="Rectangle 67">
              <a:extLst>
                <a:ext uri="{FF2B5EF4-FFF2-40B4-BE49-F238E27FC236}">
                  <a16:creationId xmlns:a16="http://schemas.microsoft.com/office/drawing/2014/main" id="{F45918D4-1754-0399-85DD-85ADF9B9566D}"/>
                </a:ext>
                <a:ext uri="{C183D7F6-B498-43B3-948B-1728B52AA6E4}">
                  <adec:decorative xmlns:adec="http://schemas.microsoft.com/office/drawing/2017/decorative" val="1"/>
                </a:ext>
              </a:extLst>
            </p:cNvPr>
            <p:cNvSpPr/>
            <p:nvPr userDrawn="1"/>
          </p:nvSpPr>
          <p:spPr>
            <a:xfrm>
              <a:off x="4812517" y="1426900"/>
              <a:ext cx="1141784" cy="936000"/>
            </a:xfrm>
            <a:prstGeom prst="rect">
              <a:avLst/>
            </a:prstGeom>
            <a:solidFill>
              <a:srgbClr val="187AC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bg1"/>
                  </a:solidFill>
                  <a:latin typeface="Forever Forma Body Text" pitchFamily="2" charset="0"/>
                </a:rPr>
                <a:t>Dark Sky Blue</a:t>
              </a:r>
            </a:p>
            <a:p>
              <a:r>
                <a:rPr lang="en-US" sz="1200">
                  <a:solidFill>
                    <a:schemeClr val="bg1"/>
                  </a:solidFill>
                  <a:latin typeface="Forever Forma Body Text" pitchFamily="2" charset="0"/>
                </a:rPr>
                <a:t>100%</a:t>
              </a:r>
            </a:p>
          </p:txBody>
        </p:sp>
        <p:sp>
          <p:nvSpPr>
            <p:cNvPr id="69" name="Rectangle 68">
              <a:extLst>
                <a:ext uri="{FF2B5EF4-FFF2-40B4-BE49-F238E27FC236}">
                  <a16:creationId xmlns:a16="http://schemas.microsoft.com/office/drawing/2014/main" id="{07CDC200-87E0-4715-B892-70A2B002BE01}"/>
                </a:ext>
                <a:ext uri="{C183D7F6-B498-43B3-948B-1728B52AA6E4}">
                  <adec:decorative xmlns:adec="http://schemas.microsoft.com/office/drawing/2017/decorative" val="1"/>
                </a:ext>
              </a:extLst>
            </p:cNvPr>
            <p:cNvSpPr/>
            <p:nvPr userDrawn="1"/>
          </p:nvSpPr>
          <p:spPr>
            <a:xfrm>
              <a:off x="4812517" y="2361409"/>
              <a:ext cx="1141784" cy="936000"/>
            </a:xfrm>
            <a:prstGeom prst="rect">
              <a:avLst/>
            </a:prstGeom>
            <a:solidFill>
              <a:srgbClr val="4695D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tx1"/>
                  </a:solidFill>
                  <a:latin typeface="Forever Forma Body Text" pitchFamily="2" charset="0"/>
                </a:rPr>
                <a:t>Dark Sky Blue</a:t>
              </a:r>
            </a:p>
            <a:p>
              <a:r>
                <a:rPr lang="en-US" sz="1200">
                  <a:solidFill>
                    <a:schemeClr val="tx1"/>
                  </a:solidFill>
                  <a:latin typeface="Forever Forma Body Text" pitchFamily="2" charset="0"/>
                </a:rPr>
                <a:t>80%</a:t>
              </a:r>
            </a:p>
          </p:txBody>
        </p:sp>
        <p:sp>
          <p:nvSpPr>
            <p:cNvPr id="70" name="Rectangle 69">
              <a:extLst>
                <a:ext uri="{FF2B5EF4-FFF2-40B4-BE49-F238E27FC236}">
                  <a16:creationId xmlns:a16="http://schemas.microsoft.com/office/drawing/2014/main" id="{962F1E53-A7CA-21A8-3F5F-B5BBC01F7BF5}"/>
                </a:ext>
                <a:ext uri="{C183D7F6-B498-43B3-948B-1728B52AA6E4}">
                  <adec:decorative xmlns:adec="http://schemas.microsoft.com/office/drawing/2017/decorative" val="1"/>
                </a:ext>
              </a:extLst>
            </p:cNvPr>
            <p:cNvSpPr/>
            <p:nvPr userDrawn="1"/>
          </p:nvSpPr>
          <p:spPr>
            <a:xfrm>
              <a:off x="4812517" y="3295918"/>
              <a:ext cx="1141784" cy="936000"/>
            </a:xfrm>
            <a:prstGeom prst="rect">
              <a:avLst/>
            </a:prstGeom>
            <a:solidFill>
              <a:srgbClr val="74AFD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tx1"/>
                  </a:solidFill>
                  <a:latin typeface="Forever Forma Body Text" pitchFamily="2" charset="0"/>
                </a:rPr>
                <a:t>Dark Sky Blue</a:t>
              </a:r>
            </a:p>
            <a:p>
              <a:r>
                <a:rPr lang="en-US" sz="1200">
                  <a:solidFill>
                    <a:schemeClr val="tx1"/>
                  </a:solidFill>
                  <a:latin typeface="Forever Forma Body Text" pitchFamily="2" charset="0"/>
                </a:rPr>
                <a:t>60%</a:t>
              </a:r>
            </a:p>
          </p:txBody>
        </p:sp>
        <p:sp>
          <p:nvSpPr>
            <p:cNvPr id="71" name="Rectangle 70">
              <a:extLst>
                <a:ext uri="{FF2B5EF4-FFF2-40B4-BE49-F238E27FC236}">
                  <a16:creationId xmlns:a16="http://schemas.microsoft.com/office/drawing/2014/main" id="{81A94C81-9E1F-5E62-33BD-95B8D490C93A}"/>
                </a:ext>
                <a:ext uri="{C183D7F6-B498-43B3-948B-1728B52AA6E4}">
                  <adec:decorative xmlns:adec="http://schemas.microsoft.com/office/drawing/2017/decorative" val="1"/>
                </a:ext>
              </a:extLst>
            </p:cNvPr>
            <p:cNvSpPr/>
            <p:nvPr userDrawn="1"/>
          </p:nvSpPr>
          <p:spPr>
            <a:xfrm>
              <a:off x="4812517" y="4230427"/>
              <a:ext cx="1141784" cy="936000"/>
            </a:xfrm>
            <a:prstGeom prst="rect">
              <a:avLst/>
            </a:prstGeom>
            <a:solidFill>
              <a:srgbClr val="A3CAE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tx1"/>
                  </a:solidFill>
                  <a:latin typeface="Forever Forma Body Text" pitchFamily="2" charset="0"/>
                </a:rPr>
                <a:t>Dark Sky Blue</a:t>
              </a:r>
            </a:p>
            <a:p>
              <a:r>
                <a:rPr lang="en-US" sz="1200">
                  <a:solidFill>
                    <a:schemeClr val="tx1"/>
                  </a:solidFill>
                  <a:latin typeface="Forever Forma Body Text" pitchFamily="2" charset="0"/>
                </a:rPr>
                <a:t>40%</a:t>
              </a:r>
            </a:p>
          </p:txBody>
        </p:sp>
        <p:sp>
          <p:nvSpPr>
            <p:cNvPr id="72" name="Rectangle 71">
              <a:extLst>
                <a:ext uri="{FF2B5EF4-FFF2-40B4-BE49-F238E27FC236}">
                  <a16:creationId xmlns:a16="http://schemas.microsoft.com/office/drawing/2014/main" id="{4DB56DEB-93C8-F49D-20B0-93EF28412D3E}"/>
                </a:ext>
                <a:ext uri="{C183D7F6-B498-43B3-948B-1728B52AA6E4}">
                  <adec:decorative xmlns:adec="http://schemas.microsoft.com/office/drawing/2017/decorative" val="1"/>
                </a:ext>
              </a:extLst>
            </p:cNvPr>
            <p:cNvSpPr/>
            <p:nvPr userDrawn="1"/>
          </p:nvSpPr>
          <p:spPr>
            <a:xfrm>
              <a:off x="4812517" y="5164935"/>
              <a:ext cx="1141784" cy="936000"/>
            </a:xfrm>
            <a:prstGeom prst="rect">
              <a:avLst/>
            </a:prstGeom>
            <a:solidFill>
              <a:srgbClr val="D1E4F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tx1"/>
                  </a:solidFill>
                  <a:latin typeface="Forever Forma Body Text" pitchFamily="2" charset="0"/>
                </a:rPr>
                <a:t>Dark Sky Blue</a:t>
              </a:r>
            </a:p>
            <a:p>
              <a:r>
                <a:rPr lang="en-US" sz="1200">
                  <a:solidFill>
                    <a:schemeClr val="tx1"/>
                  </a:solidFill>
                  <a:latin typeface="Forever Forma Body Text" pitchFamily="2" charset="0"/>
                </a:rPr>
                <a:t>20%</a:t>
              </a:r>
            </a:p>
          </p:txBody>
        </p:sp>
        <p:sp>
          <p:nvSpPr>
            <p:cNvPr id="73" name="Rectangle 72">
              <a:extLst>
                <a:ext uri="{FF2B5EF4-FFF2-40B4-BE49-F238E27FC236}">
                  <a16:creationId xmlns:a16="http://schemas.microsoft.com/office/drawing/2014/main" id="{5BE6C720-7EF6-FC04-AEBA-F91D1553F8D9}"/>
                </a:ext>
                <a:ext uri="{C183D7F6-B498-43B3-948B-1728B52AA6E4}">
                  <adec:decorative xmlns:adec="http://schemas.microsoft.com/office/drawing/2017/decorative" val="1"/>
                </a:ext>
              </a:extLst>
            </p:cNvPr>
            <p:cNvSpPr/>
            <p:nvPr userDrawn="1"/>
          </p:nvSpPr>
          <p:spPr>
            <a:xfrm>
              <a:off x="9088066" y="1426900"/>
              <a:ext cx="1141784" cy="936000"/>
            </a:xfrm>
            <a:prstGeom prst="rect">
              <a:avLst/>
            </a:prstGeom>
            <a:solidFill>
              <a:srgbClr val="6F6B6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bg1"/>
                  </a:solidFill>
                  <a:latin typeface="Forever Forma Body Text" pitchFamily="2" charset="0"/>
                </a:rPr>
                <a:t>Warm Grey</a:t>
              </a:r>
            </a:p>
            <a:p>
              <a:r>
                <a:rPr lang="en-US" sz="1200">
                  <a:solidFill>
                    <a:schemeClr val="bg1"/>
                  </a:solidFill>
                  <a:latin typeface="Forever Forma Body Text" pitchFamily="2" charset="0"/>
                </a:rPr>
                <a:t>100%</a:t>
              </a:r>
            </a:p>
          </p:txBody>
        </p:sp>
        <p:sp>
          <p:nvSpPr>
            <p:cNvPr id="74" name="Rectangle 73">
              <a:extLst>
                <a:ext uri="{FF2B5EF4-FFF2-40B4-BE49-F238E27FC236}">
                  <a16:creationId xmlns:a16="http://schemas.microsoft.com/office/drawing/2014/main" id="{D090AE80-ED7B-69B0-C386-E4B30EC51A70}"/>
                </a:ext>
                <a:ext uri="{C183D7F6-B498-43B3-948B-1728B52AA6E4}">
                  <adec:decorative xmlns:adec="http://schemas.microsoft.com/office/drawing/2017/decorative" val="1"/>
                </a:ext>
              </a:extLst>
            </p:cNvPr>
            <p:cNvSpPr/>
            <p:nvPr userDrawn="1"/>
          </p:nvSpPr>
          <p:spPr>
            <a:xfrm>
              <a:off x="9088066" y="2361409"/>
              <a:ext cx="1141784" cy="936000"/>
            </a:xfrm>
            <a:prstGeom prst="rect">
              <a:avLst/>
            </a:prstGeom>
            <a:solidFill>
              <a:srgbClr val="95918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tx1"/>
                  </a:solidFill>
                  <a:latin typeface="Forever Forma Body Text" pitchFamily="2" charset="0"/>
                </a:rPr>
                <a:t>Warm Grey</a:t>
              </a:r>
            </a:p>
            <a:p>
              <a:r>
                <a:rPr lang="en-US" sz="1200">
                  <a:solidFill>
                    <a:schemeClr val="tx1"/>
                  </a:solidFill>
                  <a:latin typeface="Forever Forma Body Text" pitchFamily="2" charset="0"/>
                </a:rPr>
                <a:t>80%</a:t>
              </a:r>
            </a:p>
          </p:txBody>
        </p:sp>
        <p:sp>
          <p:nvSpPr>
            <p:cNvPr id="75" name="Rectangle 74">
              <a:extLst>
                <a:ext uri="{FF2B5EF4-FFF2-40B4-BE49-F238E27FC236}">
                  <a16:creationId xmlns:a16="http://schemas.microsoft.com/office/drawing/2014/main" id="{CFD7211B-EEB1-876E-5FFE-3157DE1777B5}"/>
                </a:ext>
                <a:ext uri="{C183D7F6-B498-43B3-948B-1728B52AA6E4}">
                  <adec:decorative xmlns:adec="http://schemas.microsoft.com/office/drawing/2017/decorative" val="1"/>
                </a:ext>
              </a:extLst>
            </p:cNvPr>
            <p:cNvSpPr/>
            <p:nvPr userDrawn="1"/>
          </p:nvSpPr>
          <p:spPr>
            <a:xfrm>
              <a:off x="9088066" y="3295918"/>
              <a:ext cx="1141784" cy="936000"/>
            </a:xfrm>
            <a:prstGeom prst="rect">
              <a:avLst/>
            </a:prstGeom>
            <a:solidFill>
              <a:srgbClr val="B0ADA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tx1"/>
                  </a:solidFill>
                  <a:latin typeface="Forever Forma Body Text" pitchFamily="2" charset="0"/>
                </a:rPr>
                <a:t>Warm Grey</a:t>
              </a:r>
            </a:p>
            <a:p>
              <a:r>
                <a:rPr lang="en-US" sz="1200">
                  <a:solidFill>
                    <a:schemeClr val="tx1"/>
                  </a:solidFill>
                  <a:latin typeface="Forever Forma Body Text" pitchFamily="2" charset="0"/>
                </a:rPr>
                <a:t>60%</a:t>
              </a:r>
            </a:p>
          </p:txBody>
        </p:sp>
        <p:sp>
          <p:nvSpPr>
            <p:cNvPr id="76" name="Rectangle 75">
              <a:extLst>
                <a:ext uri="{FF2B5EF4-FFF2-40B4-BE49-F238E27FC236}">
                  <a16:creationId xmlns:a16="http://schemas.microsoft.com/office/drawing/2014/main" id="{AA96A212-C649-6F01-11E3-405F77D4A11C}"/>
                </a:ext>
                <a:ext uri="{C183D7F6-B498-43B3-948B-1728B52AA6E4}">
                  <adec:decorative xmlns:adec="http://schemas.microsoft.com/office/drawing/2017/decorative" val="1"/>
                </a:ext>
              </a:extLst>
            </p:cNvPr>
            <p:cNvSpPr/>
            <p:nvPr userDrawn="1"/>
          </p:nvSpPr>
          <p:spPr>
            <a:xfrm>
              <a:off x="9088066" y="4230427"/>
              <a:ext cx="1141784" cy="936000"/>
            </a:xfrm>
            <a:prstGeom prst="rect">
              <a:avLst/>
            </a:prstGeom>
            <a:solidFill>
              <a:srgbClr val="CAC8C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tx1"/>
                  </a:solidFill>
                  <a:latin typeface="Forever Forma Body Text" pitchFamily="2" charset="0"/>
                </a:rPr>
                <a:t>Warm Grey</a:t>
              </a:r>
            </a:p>
            <a:p>
              <a:r>
                <a:rPr lang="en-US" sz="1200">
                  <a:solidFill>
                    <a:schemeClr val="tx1"/>
                  </a:solidFill>
                  <a:latin typeface="Forever Forma Body Text" pitchFamily="2" charset="0"/>
                </a:rPr>
                <a:t>40%</a:t>
              </a:r>
            </a:p>
          </p:txBody>
        </p:sp>
        <p:sp>
          <p:nvSpPr>
            <p:cNvPr id="77" name="Rectangle 76">
              <a:extLst>
                <a:ext uri="{FF2B5EF4-FFF2-40B4-BE49-F238E27FC236}">
                  <a16:creationId xmlns:a16="http://schemas.microsoft.com/office/drawing/2014/main" id="{CFD7E906-346B-B2CC-F66A-4CB1E574799E}"/>
                </a:ext>
                <a:ext uri="{C183D7F6-B498-43B3-948B-1728B52AA6E4}">
                  <adec:decorative xmlns:adec="http://schemas.microsoft.com/office/drawing/2017/decorative" val="1"/>
                </a:ext>
              </a:extLst>
            </p:cNvPr>
            <p:cNvSpPr/>
            <p:nvPr userDrawn="1"/>
          </p:nvSpPr>
          <p:spPr>
            <a:xfrm>
              <a:off x="9088066" y="5164935"/>
              <a:ext cx="1141784" cy="936000"/>
            </a:xfrm>
            <a:prstGeom prst="rect">
              <a:avLst/>
            </a:prstGeom>
            <a:solidFill>
              <a:srgbClr val="E5E4E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tx1"/>
                  </a:solidFill>
                  <a:latin typeface="Forever Forma Body Text" pitchFamily="2" charset="0"/>
                </a:rPr>
                <a:t>Warm Grey</a:t>
              </a:r>
            </a:p>
            <a:p>
              <a:r>
                <a:rPr lang="en-US" sz="1200">
                  <a:solidFill>
                    <a:schemeClr val="tx1"/>
                  </a:solidFill>
                  <a:latin typeface="Forever Forma Body Text" pitchFamily="2" charset="0"/>
                </a:rPr>
                <a:t>20%</a:t>
              </a:r>
            </a:p>
          </p:txBody>
        </p:sp>
      </p:grpSp>
      <p:sp>
        <p:nvSpPr>
          <p:cNvPr id="4" name="footnotes">
            <a:extLst>
              <a:ext uri="{FF2B5EF4-FFF2-40B4-BE49-F238E27FC236}">
                <a16:creationId xmlns:a16="http://schemas.microsoft.com/office/drawing/2014/main" id="{3956CCAB-1180-127A-712D-A216823D784B}"/>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4150619914"/>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nstructions K">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37845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78E32CC6-04C6-A1DF-EF98-BE4B1B7C525B}"/>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5" name="footnotes">
            <a:extLst>
              <a:ext uri="{FF2B5EF4-FFF2-40B4-BE49-F238E27FC236}">
                <a16:creationId xmlns:a16="http://schemas.microsoft.com/office/drawing/2014/main" id="{193A6900-C8A8-05B2-D8DF-F091DA867307}"/>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7" name="TextBox 16">
            <a:extLst>
              <a:ext uri="{FF2B5EF4-FFF2-40B4-BE49-F238E27FC236}">
                <a16:creationId xmlns:a16="http://schemas.microsoft.com/office/drawing/2014/main" id="{BA21CB5C-461C-1ED7-7BB8-F25630C3C198}"/>
              </a:ext>
            </a:extLst>
          </p:cNvPr>
          <p:cNvSpPr txBox="1"/>
          <p:nvPr userDrawn="1"/>
        </p:nvSpPr>
        <p:spPr>
          <a:xfrm>
            <a:off x="8111999" y="1785814"/>
            <a:ext cx="3558788" cy="4275149"/>
          </a:xfrm>
          <a:prstGeom prst="rect">
            <a:avLst/>
          </a:prstGeom>
          <a:noFill/>
        </p:spPr>
        <p:txBody>
          <a:bodyPr wrap="square" lIns="0" tIns="0" rIns="0" bIns="0" rtlCol="0">
            <a:noAutofit/>
          </a:bodyPr>
          <a:lstStyle/>
          <a:p>
            <a:pPr lvl="0"/>
            <a:r>
              <a:rPr lang="en-US" sz="1200">
                <a:latin typeface="Forever Forma Body Text"/>
              </a:rPr>
              <a:t>Icons are essential in design for clear communication and enhancing user experiences. </a:t>
            </a:r>
          </a:p>
          <a:p>
            <a:pPr lvl="0"/>
            <a:r>
              <a:rPr lang="en-US" sz="1200">
                <a:latin typeface="Forever Forma Body Text"/>
              </a:rPr>
              <a:t>We use </a:t>
            </a:r>
            <a:r>
              <a:rPr lang="en-US" sz="1200">
                <a:latin typeface="Forever Forma Body Text"/>
                <a:hlinkClick r:id="rId5"/>
              </a:rPr>
              <a:t>Google Material</a:t>
            </a:r>
            <a:r>
              <a:rPr lang="en-US" sz="1200">
                <a:latin typeface="Forever Forma Body Text"/>
              </a:rPr>
              <a:t>. Here you can access a full range of filled and outlined icons. </a:t>
            </a:r>
          </a:p>
          <a:p>
            <a:pPr lvl="0"/>
            <a:endParaRPr lang="en-US" sz="1200">
              <a:latin typeface="Forever Forma Body Text"/>
            </a:endParaRPr>
          </a:p>
        </p:txBody>
      </p:sp>
      <p:sp>
        <p:nvSpPr>
          <p:cNvPr id="16" name="TextBox 15">
            <a:extLst>
              <a:ext uri="{FF2B5EF4-FFF2-40B4-BE49-F238E27FC236}">
                <a16:creationId xmlns:a16="http://schemas.microsoft.com/office/drawing/2014/main" id="{5C6BD1A1-FB78-DCEA-2DE1-B40A3413793A}"/>
              </a:ext>
            </a:extLst>
          </p:cNvPr>
          <p:cNvSpPr txBox="1"/>
          <p:nvPr userDrawn="1"/>
        </p:nvSpPr>
        <p:spPr>
          <a:xfrm>
            <a:off x="8111999" y="1414801"/>
            <a:ext cx="3558788" cy="324000"/>
          </a:xfrm>
          <a:prstGeom prst="rect">
            <a:avLst/>
          </a:prstGeom>
          <a:noFill/>
        </p:spPr>
        <p:txBody>
          <a:bodyPr wrap="square" lIns="0" tIns="0" rIns="0" bIns="0" rtlCol="0">
            <a:noAutofit/>
          </a:bodyPr>
          <a:lstStyle/>
          <a:p>
            <a:pPr algn="l"/>
            <a:r>
              <a:rPr lang="en-US">
                <a:latin typeface="Forever Forma Body Text"/>
              </a:rPr>
              <a:t>Icons</a:t>
            </a:r>
          </a:p>
        </p:txBody>
      </p:sp>
      <p:sp>
        <p:nvSpPr>
          <p:cNvPr id="7" name="TextBox 6">
            <a:extLst>
              <a:ext uri="{FF2B5EF4-FFF2-40B4-BE49-F238E27FC236}">
                <a16:creationId xmlns:a16="http://schemas.microsoft.com/office/drawing/2014/main" id="{DCC41A1F-0F4F-3173-FDD3-B4AEE0928075}"/>
              </a:ext>
            </a:extLst>
          </p:cNvPr>
          <p:cNvSpPr txBox="1"/>
          <p:nvPr userDrawn="1"/>
        </p:nvSpPr>
        <p:spPr>
          <a:xfrm>
            <a:off x="521209" y="324362"/>
            <a:ext cx="11149580" cy="944637"/>
          </a:xfrm>
          <a:prstGeom prst="rect">
            <a:avLst/>
          </a:prstGeom>
          <a:noFill/>
        </p:spPr>
        <p:txBody>
          <a:bodyPr wrap="square" lIns="0" tIns="0" rIns="0" bIns="0" rtlCol="0">
            <a:noAutofit/>
          </a:bodyPr>
          <a:lstStyle/>
          <a:p>
            <a:pPr algn="l">
              <a:lnSpc>
                <a:spcPct val="85000"/>
              </a:lnSpc>
            </a:pPr>
            <a:r>
              <a:rPr lang="en-US" sz="3600">
                <a:latin typeface="Forever Forma Body Text"/>
              </a:rPr>
              <a:t>Instructions: Icons</a:t>
            </a:r>
          </a:p>
        </p:txBody>
      </p:sp>
      <p:pic>
        <p:nvPicPr>
          <p:cNvPr id="19" name="Picture 18">
            <a:extLst>
              <a:ext uri="{FF2B5EF4-FFF2-40B4-BE49-F238E27FC236}">
                <a16:creationId xmlns:a16="http://schemas.microsoft.com/office/drawing/2014/main" id="{4A1D1CD1-EB80-C73D-5825-121ECF0B4A4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894326" y="1785814"/>
            <a:ext cx="528690" cy="528690"/>
          </a:xfrm>
          <a:prstGeom prst="rect">
            <a:avLst/>
          </a:prstGeom>
        </p:spPr>
      </p:pic>
      <p:sp>
        <p:nvSpPr>
          <p:cNvPr id="9" name="Slide Number Placeholder 5">
            <a:extLst>
              <a:ext uri="{FF2B5EF4-FFF2-40B4-BE49-F238E27FC236}">
                <a16:creationId xmlns:a16="http://schemas.microsoft.com/office/drawing/2014/main" id="{F4A4F071-D92A-2773-B7BA-A88FA8560488}"/>
              </a:ext>
            </a:extLst>
          </p:cNvPr>
          <p:cNvSpPr txBox="1">
            <a:spLocks/>
          </p:cNvSpPr>
          <p:nvPr userDrawn="1"/>
        </p:nvSpPr>
        <p:spPr>
          <a:xfrm>
            <a:off x="-1912801" y="7588803"/>
            <a:ext cx="828000" cy="756000"/>
          </a:xfrm>
          <a:prstGeom prst="rect">
            <a:avLst/>
          </a:prstGeom>
        </p:spPr>
        <p:txBody>
          <a:bodyPr vert="horz" lIns="518400" tIns="0" rIns="64800" bIns="309600" rtlCol="0" anchor="b" anchorCtr="0">
            <a:noAutofit/>
          </a:bodyPr>
          <a:lstStyle>
            <a:defPPr>
              <a:defRPr lang="en-US"/>
            </a:defPPr>
            <a:lvl1pPr marL="0" indent="0" algn="l" defTabSz="914400" rtl="0" eaLnBrk="1" latinLnBrk="0" hangingPunct="1">
              <a:lnSpc>
                <a:spcPct val="95000"/>
              </a:lnSpc>
              <a:spcBef>
                <a:spcPts val="600"/>
              </a:spcBef>
              <a:buClr>
                <a:srgbClr val="281805"/>
              </a:buClr>
              <a:buFont typeface="Arial" panose="020B0604020202020204" pitchFamily="34" charset="0"/>
              <a:buChar char="​"/>
              <a:defRPr sz="9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fld id="{1C1606C5-D483-4832-A0E9-CF578A9B5883}" type="slidenum">
              <a:rPr lang="en-US" smtClean="0"/>
              <a:pPr/>
              <a:t>‹#›</a:t>
            </a:fld>
            <a:endParaRPr lang="en-US"/>
          </a:p>
        </p:txBody>
      </p:sp>
      <p:sp>
        <p:nvSpPr>
          <p:cNvPr id="11" name="Rectangle 10">
            <a:extLst>
              <a:ext uri="{FF2B5EF4-FFF2-40B4-BE49-F238E27FC236}">
                <a16:creationId xmlns:a16="http://schemas.microsoft.com/office/drawing/2014/main" id="{6EE5478A-3284-7736-9614-40352DF26B01}"/>
              </a:ext>
            </a:extLst>
          </p:cNvPr>
          <p:cNvSpPr/>
          <p:nvPr userDrawn="1"/>
        </p:nvSpPr>
        <p:spPr>
          <a:xfrm>
            <a:off x="521209" y="1414800"/>
            <a:ext cx="7266792" cy="463515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31019030"/>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Slide - Dark Back - Image F">
    <p:bg>
      <p:bgPr>
        <a:solidFill>
          <a:srgbClr val="641EE0"/>
        </a:solidFill>
        <a:effectLst/>
      </p:bgPr>
    </p:bg>
    <p:spTree>
      <p:nvGrpSpPr>
        <p:cNvPr id="1" name=""/>
        <p:cNvGrpSpPr/>
        <p:nvPr/>
      </p:nvGrpSpPr>
      <p:grpSpPr>
        <a:xfrm>
          <a:off x="0" y="0"/>
          <a:ext cx="0" cy="0"/>
          <a:chOff x="0" y="0"/>
          <a:chExt cx="0" cy="0"/>
        </a:xfrm>
      </p:grpSpPr>
      <p:sp>
        <p:nvSpPr>
          <p:cNvPr id="23" name="Shape">
            <a:extLst>
              <a:ext uri="{FF2B5EF4-FFF2-40B4-BE49-F238E27FC236}">
                <a16:creationId xmlns:a16="http://schemas.microsoft.com/office/drawing/2014/main" id="{1AB32EF4-631A-1566-764E-879662A9AA2A}"/>
              </a:ext>
              <a:ext uri="{C183D7F6-B498-43B3-948B-1728B52AA6E4}">
                <adec:decorative xmlns:adec="http://schemas.microsoft.com/office/drawing/2017/decorative" val="1"/>
              </a:ext>
            </a:extLst>
          </p:cNvPr>
          <p:cNvSpPr txBox="1">
            <a:spLocks/>
          </p:cNvSpPr>
          <p:nvPr userDrawn="1"/>
        </p:nvSpPr>
        <p:spPr>
          <a:xfrm>
            <a:off x="5652001" y="0"/>
            <a:ext cx="6539997" cy="6858000"/>
          </a:xfrm>
          <a:custGeom>
            <a:avLst/>
            <a:gdLst>
              <a:gd name="connsiteX0" fmla="*/ 4463799 w 6662996"/>
              <a:gd name="connsiteY0" fmla="*/ 0 h 6459787"/>
              <a:gd name="connsiteX1" fmla="*/ 6662996 w 6662996"/>
              <a:gd name="connsiteY1" fmla="*/ 0 h 6459787"/>
              <a:gd name="connsiteX2" fmla="*/ 6662996 w 6662996"/>
              <a:gd name="connsiteY2" fmla="*/ 6459787 h 6459787"/>
              <a:gd name="connsiteX3" fmla="*/ 4463799 w 6662996"/>
              <a:gd name="connsiteY3" fmla="*/ 6459787 h 6459787"/>
              <a:gd name="connsiteX4" fmla="*/ 1233841 w 6662996"/>
              <a:gd name="connsiteY4" fmla="*/ 5225967 h 6459787"/>
              <a:gd name="connsiteX5" fmla="*/ 0 w 6662996"/>
              <a:gd name="connsiteY5" fmla="*/ 3229894 h 6459787"/>
              <a:gd name="connsiteX6" fmla="*/ 1233841 w 6662996"/>
              <a:gd name="connsiteY6" fmla="*/ 1233820 h 6459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2996" h="6459787">
                <a:moveTo>
                  <a:pt x="4463799" y="0"/>
                </a:moveTo>
                <a:lnTo>
                  <a:pt x="6662996" y="0"/>
                </a:lnTo>
                <a:lnTo>
                  <a:pt x="6662996" y="6459787"/>
                </a:lnTo>
                <a:lnTo>
                  <a:pt x="4463799" y="6459787"/>
                </a:lnTo>
                <a:lnTo>
                  <a:pt x="1233841" y="5225967"/>
                </a:lnTo>
                <a:lnTo>
                  <a:pt x="0" y="3229894"/>
                </a:lnTo>
                <a:lnTo>
                  <a:pt x="1233841" y="1233820"/>
                </a:lnTo>
                <a:close/>
              </a:path>
            </a:pathLst>
          </a:custGeom>
          <a:solidFill>
            <a:srgbClr val="FFFFFF"/>
          </a:solidFill>
        </p:spPr>
        <p:txBody>
          <a:bodyPr vert="horz" wrap="square" lIns="203200" tIns="201600" rIns="201600" bIns="201600" rtlCol="0" anchor="ctr" anchorCtr="0">
            <a:noAutofit/>
          </a:bodyPr>
          <a:lstStyle>
            <a:lvl1pPr marL="0" indent="0" algn="ctr"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endParaRPr lang="en-US" b="0" i="0">
              <a:latin typeface="Forever Forma Body Text" pitchFamily="2" charset="0"/>
            </a:endParaRPr>
          </a:p>
        </p:txBody>
      </p:sp>
      <p:sp>
        <p:nvSpPr>
          <p:cNvPr id="2" name="Title 1">
            <a:extLst>
              <a:ext uri="{FF2B5EF4-FFF2-40B4-BE49-F238E27FC236}">
                <a16:creationId xmlns:a16="http://schemas.microsoft.com/office/drawing/2014/main" id="{E52831A1-EEC4-3B4D-CB37-DEB46BB796BE}"/>
              </a:ext>
            </a:extLst>
          </p:cNvPr>
          <p:cNvSpPr>
            <a:spLocks noGrp="1"/>
          </p:cNvSpPr>
          <p:nvPr>
            <p:ph type="title" hasCustomPrompt="1"/>
          </p:nvPr>
        </p:nvSpPr>
        <p:spPr>
          <a:xfrm>
            <a:off x="521207" y="1989000"/>
            <a:ext cx="4890791" cy="2880001"/>
          </a:xfrm>
          <a:prstGeom prst="rect">
            <a:avLst/>
          </a:prstGeom>
        </p:spPr>
        <p:txBody>
          <a:bodyPr anchor="ctr" anchorCtr="0">
            <a:noAutofit/>
          </a:bodyPr>
          <a:lstStyle>
            <a:lvl1pPr>
              <a:lnSpc>
                <a:spcPct val="85000"/>
              </a:lnSpc>
              <a:defRPr sz="4800" kern="100" spc="-120" baseline="0">
                <a:solidFill>
                  <a:schemeClr val="bg1"/>
                </a:solidFill>
              </a:defRPr>
            </a:lvl1pPr>
          </a:lstStyle>
          <a:p>
            <a:r>
              <a:rPr lang="en-US"/>
              <a:t>Click to edit chapter title</a:t>
            </a:r>
          </a:p>
        </p:txBody>
      </p:sp>
      <p:sp>
        <p:nvSpPr>
          <p:cNvPr id="6" name="Picture Placeholder">
            <a:extLst>
              <a:ext uri="{FF2B5EF4-FFF2-40B4-BE49-F238E27FC236}">
                <a16:creationId xmlns:a16="http://schemas.microsoft.com/office/drawing/2014/main" id="{D41354F5-2BFC-F0DC-D422-A34F651E8E0D}"/>
              </a:ext>
              <a:ext uri="{C183D7F6-B498-43B3-948B-1728B52AA6E4}">
                <adec:decorative xmlns:adec="http://schemas.microsoft.com/office/drawing/2017/decorative" val="0"/>
              </a:ext>
            </a:extLst>
          </p:cNvPr>
          <p:cNvSpPr>
            <a:spLocks noGrp="1"/>
          </p:cNvSpPr>
          <p:nvPr>
            <p:ph type="pic" sz="quarter" idx="13" hasCustomPrompt="1"/>
          </p:nvPr>
        </p:nvSpPr>
        <p:spPr>
          <a:xfrm>
            <a:off x="5627999" y="2"/>
            <a:ext cx="6563999" cy="6857999"/>
          </a:xfrm>
          <a:custGeom>
            <a:avLst/>
            <a:gdLst>
              <a:gd name="connsiteX0" fmla="*/ 4397477 w 6563999"/>
              <a:gd name="connsiteY0" fmla="*/ 0 h 6857999"/>
              <a:gd name="connsiteX1" fmla="*/ 6563999 w 6563999"/>
              <a:gd name="connsiteY1" fmla="*/ 0 h 6857999"/>
              <a:gd name="connsiteX2" fmla="*/ 6563999 w 6563999"/>
              <a:gd name="connsiteY2" fmla="*/ 6857999 h 6857999"/>
              <a:gd name="connsiteX3" fmla="*/ 4397477 w 6563999"/>
              <a:gd name="connsiteY3" fmla="*/ 6857999 h 6857999"/>
              <a:gd name="connsiteX4" fmla="*/ 1215509 w 6563999"/>
              <a:gd name="connsiteY4" fmla="*/ 5548121 h 6857999"/>
              <a:gd name="connsiteX5" fmla="*/ 0 w 6563999"/>
              <a:gd name="connsiteY5" fmla="*/ 3429000 h 6857999"/>
              <a:gd name="connsiteX6" fmla="*/ 1215509 w 6563999"/>
              <a:gd name="connsiteY6" fmla="*/ 1309878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63999" h="6857999">
                <a:moveTo>
                  <a:pt x="4397477" y="0"/>
                </a:moveTo>
                <a:lnTo>
                  <a:pt x="6563999" y="0"/>
                </a:lnTo>
                <a:lnTo>
                  <a:pt x="6563999" y="6857999"/>
                </a:lnTo>
                <a:lnTo>
                  <a:pt x="4397477" y="6857999"/>
                </a:lnTo>
                <a:lnTo>
                  <a:pt x="1215509" y="5548121"/>
                </a:lnTo>
                <a:lnTo>
                  <a:pt x="0" y="3429000"/>
                </a:lnTo>
                <a:lnTo>
                  <a:pt x="1215509" y="1309878"/>
                </a:lnTo>
                <a:close/>
              </a:path>
            </a:pathLst>
          </a:custGeom>
          <a:solidFill>
            <a:schemeClr val="bg1">
              <a:lumMod val="95000"/>
            </a:schemeClr>
          </a:solidFill>
        </p:spPr>
        <p:txBody>
          <a:bodyPr wrap="square" lIns="203200" tIns="201600" rIns="201600" bIns="201600" anchor="ctr" anchorCtr="0">
            <a:noAutofit/>
          </a:bodyPr>
          <a:lstStyle>
            <a:lvl1pPr algn="ctr">
              <a:defRPr/>
            </a:lvl1pPr>
          </a:lstStyle>
          <a:p>
            <a:r>
              <a:rPr lang="en-US"/>
              <a:t>Click icon to insert an image</a:t>
            </a:r>
          </a:p>
        </p:txBody>
      </p:sp>
      <p:grpSp>
        <p:nvGrpSpPr>
          <p:cNvPr id="3" name="Group 2">
            <a:extLst>
              <a:ext uri="{FF2B5EF4-FFF2-40B4-BE49-F238E27FC236}">
                <a16:creationId xmlns:a16="http://schemas.microsoft.com/office/drawing/2014/main" id="{F7A0DC62-9DC2-3CAF-CE88-C60E49C3128C}"/>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4" name="Content Placeholder 15">
              <a:extLst>
                <a:ext uri="{FF2B5EF4-FFF2-40B4-BE49-F238E27FC236}">
                  <a16:creationId xmlns:a16="http://schemas.microsoft.com/office/drawing/2014/main" id="{60C9B572-BC3A-05A0-4CD2-29A2A93B9010}"/>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5" name="TextBox 4">
              <a:extLst>
                <a:ext uri="{FF2B5EF4-FFF2-40B4-BE49-F238E27FC236}">
                  <a16:creationId xmlns:a16="http://schemas.microsoft.com/office/drawing/2014/main" id="{4FF41631-BF8C-9846-0A0E-CA460DA8DBCA}"/>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dark background)</a:t>
              </a:r>
            </a:p>
            <a:p>
              <a:pPr algn="l">
                <a:buNone/>
              </a:pPr>
              <a:endParaRPr lang="en-US" sz="1200" kern="100" spc="-30"/>
            </a:p>
          </p:txBody>
        </p:sp>
        <p:pic>
          <p:nvPicPr>
            <p:cNvPr id="7" name="Picture 6" descr="A screenshot of a color chart&#10;&#10;Description automatically generated">
              <a:extLst>
                <a:ext uri="{FF2B5EF4-FFF2-40B4-BE49-F238E27FC236}">
                  <a16:creationId xmlns:a16="http://schemas.microsoft.com/office/drawing/2014/main" id="{216121D1-245A-2282-B8C8-5E84718BD82D}"/>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8" name="Rectangle 7">
              <a:extLst>
                <a:ext uri="{FF2B5EF4-FFF2-40B4-BE49-F238E27FC236}">
                  <a16:creationId xmlns:a16="http://schemas.microsoft.com/office/drawing/2014/main" id="{7528A926-D642-4ADC-11D5-4139A1C53B9A}"/>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97E3461E-397D-2B8A-6EF0-7F5082CB548D}"/>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Group 9">
              <a:extLst>
                <a:ext uri="{FF2B5EF4-FFF2-40B4-BE49-F238E27FC236}">
                  <a16:creationId xmlns:a16="http://schemas.microsoft.com/office/drawing/2014/main" id="{851BF5AD-0BD6-6B83-2F5D-9222C0364265}"/>
                </a:ext>
              </a:extLst>
            </p:cNvPr>
            <p:cNvGrpSpPr/>
            <p:nvPr userDrawn="1"/>
          </p:nvGrpSpPr>
          <p:grpSpPr>
            <a:xfrm>
              <a:off x="-2740233" y="3819615"/>
              <a:ext cx="2254459" cy="2600236"/>
              <a:chOff x="-3323173" y="3918039"/>
              <a:chExt cx="2815981" cy="3247881"/>
            </a:xfrm>
          </p:grpSpPr>
          <p:sp>
            <p:nvSpPr>
              <p:cNvPr id="13" name="Rectangle 12">
                <a:extLst>
                  <a:ext uri="{FF2B5EF4-FFF2-40B4-BE49-F238E27FC236}">
                    <a16:creationId xmlns:a16="http://schemas.microsoft.com/office/drawing/2014/main" id="{6B1DE5FB-D329-059A-E655-5D437C6C74B3}"/>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4" name="Rectangle 13">
                <a:extLst>
                  <a:ext uri="{FF2B5EF4-FFF2-40B4-BE49-F238E27FC236}">
                    <a16:creationId xmlns:a16="http://schemas.microsoft.com/office/drawing/2014/main" id="{CF63FAD2-0FBB-F266-3599-BBBDB7B9FBA9}"/>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5" name="Rectangle 14">
                <a:extLst>
                  <a:ext uri="{FF2B5EF4-FFF2-40B4-BE49-F238E27FC236}">
                    <a16:creationId xmlns:a16="http://schemas.microsoft.com/office/drawing/2014/main" id="{D7ABE721-960B-E1CA-8E2A-C2EE6C90ED59}"/>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6" name="TextBox 15">
                <a:extLst>
                  <a:ext uri="{FF2B5EF4-FFF2-40B4-BE49-F238E27FC236}">
                    <a16:creationId xmlns:a16="http://schemas.microsoft.com/office/drawing/2014/main" id="{E14BD3D6-C22F-C3F6-48D2-FDEE701F4299}"/>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Dark Background Colors</a:t>
                </a:r>
              </a:p>
            </p:txBody>
          </p:sp>
          <p:sp>
            <p:nvSpPr>
              <p:cNvPr id="17" name="Right Brace 16">
                <a:extLst>
                  <a:ext uri="{FF2B5EF4-FFF2-40B4-BE49-F238E27FC236}">
                    <a16:creationId xmlns:a16="http://schemas.microsoft.com/office/drawing/2014/main" id="{A8B7B57A-9DFD-D23F-6262-95F312237785}"/>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18" name="Rectangle 17">
                <a:extLst>
                  <a:ext uri="{FF2B5EF4-FFF2-40B4-BE49-F238E27FC236}">
                    <a16:creationId xmlns:a16="http://schemas.microsoft.com/office/drawing/2014/main" id="{9C3CD2ED-AD8D-5F5F-4ACB-515602EAFD5E}"/>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1" name="Picture 10">
              <a:extLst>
                <a:ext uri="{FF2B5EF4-FFF2-40B4-BE49-F238E27FC236}">
                  <a16:creationId xmlns:a16="http://schemas.microsoft.com/office/drawing/2014/main" id="{019C83E1-DF6D-9788-328F-43EAFBC15076}"/>
                </a:ext>
                <a:ext uri="{C183D7F6-B498-43B3-948B-1728B52AA6E4}">
                  <adec:decorative xmlns:adec="http://schemas.microsoft.com/office/drawing/2017/decorative" val="1"/>
                </a:ext>
              </a:extLst>
            </p:cNvPr>
            <p:cNvPicPr>
              <a:picLocks noChangeAspect="1"/>
            </p:cNvPicPr>
            <p:nvPr userDrawn="1"/>
          </p:nvPicPr>
          <p:blipFill>
            <a:blip r:embed="rId3"/>
            <a:srcRect/>
            <a:stretch/>
          </p:blipFill>
          <p:spPr>
            <a:xfrm>
              <a:off x="-1632579" y="972962"/>
              <a:ext cx="1260329" cy="802028"/>
            </a:xfrm>
            <a:prstGeom prst="rect">
              <a:avLst/>
            </a:prstGeom>
            <a:ln>
              <a:solidFill>
                <a:schemeClr val="accent6"/>
              </a:solidFill>
            </a:ln>
          </p:spPr>
        </p:pic>
        <p:pic>
          <p:nvPicPr>
            <p:cNvPr id="12" name="Picture 11">
              <a:extLst>
                <a:ext uri="{FF2B5EF4-FFF2-40B4-BE49-F238E27FC236}">
                  <a16:creationId xmlns:a16="http://schemas.microsoft.com/office/drawing/2014/main" id="{5C836950-E0BF-02DB-A7A1-6A9892B9B353}"/>
                </a:ext>
                <a:ext uri="{C183D7F6-B498-43B3-948B-1728B52AA6E4}">
                  <adec:decorative xmlns:adec="http://schemas.microsoft.com/office/drawing/2017/decorative" val="1"/>
                </a:ext>
              </a:extLst>
            </p:cNvPr>
            <p:cNvPicPr>
              <a:picLocks noChangeAspect="1"/>
            </p:cNvPicPr>
            <p:nvPr userDrawn="1"/>
          </p:nvPicPr>
          <p:blipFill>
            <a:blip r:embed="rId4"/>
            <a:srcRect/>
            <a:stretch/>
          </p:blipFill>
          <p:spPr>
            <a:xfrm>
              <a:off x="-1635411" y="2002090"/>
              <a:ext cx="1265993" cy="943035"/>
            </a:xfrm>
            <a:prstGeom prst="rect">
              <a:avLst/>
            </a:prstGeom>
            <a:ln>
              <a:solidFill>
                <a:schemeClr val="accent6"/>
              </a:solidFill>
            </a:ln>
          </p:spPr>
        </p:pic>
      </p:grpSp>
      <p:sp>
        <p:nvSpPr>
          <p:cNvPr id="19" name="Text Placeholder 7">
            <a:extLst>
              <a:ext uri="{FF2B5EF4-FFF2-40B4-BE49-F238E27FC236}">
                <a16:creationId xmlns:a16="http://schemas.microsoft.com/office/drawing/2014/main" id="{8ABD7CDD-65D7-A3A6-0D77-7A02617D239A}"/>
              </a:ext>
            </a:extLst>
          </p:cNvPr>
          <p:cNvSpPr>
            <a:spLocks noGrp="1"/>
          </p:cNvSpPr>
          <p:nvPr>
            <p:ph type="body" sz="quarter" idx="32" hasCustomPrompt="1"/>
          </p:nvPr>
        </p:nvSpPr>
        <p:spPr>
          <a:xfrm>
            <a:off x="521207" y="6313320"/>
            <a:ext cx="1014772" cy="298870"/>
          </a:xfrm>
          <a:prstGeom prst="rect">
            <a:avLst/>
          </a:prstGeom>
          <a:solidFill>
            <a:srgbClr val="1D2550"/>
          </a:solidFill>
        </p:spPr>
        <p:txBody>
          <a:bodyPr wrap="none" lIns="75600" tIns="75600" rIns="75600" bIns="75600" anchor="b" anchorCtr="0">
            <a:spAutoFit/>
          </a:bodyPr>
          <a:lstStyle>
            <a:lvl1pPr algn="l">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598762977"/>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D4C70C-CEA9-92C7-EFAC-31C94DADFA4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1C934A0-A4B4-2E8B-2AB4-494EF55DA29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463FD61-7CD0-FA67-5105-54793CEEC89E}"/>
              </a:ext>
            </a:extLst>
          </p:cNvPr>
          <p:cNvSpPr>
            <a:spLocks noGrp="1"/>
          </p:cNvSpPr>
          <p:nvPr>
            <p:ph type="dt" sz="half" idx="10"/>
          </p:nvPr>
        </p:nvSpPr>
        <p:spPr/>
        <p:txBody>
          <a:bodyPr/>
          <a:lstStyle/>
          <a:p>
            <a:fld id="{E973BBE3-9153-46B2-8FA8-B7CF6202469E}" type="datetimeFigureOut">
              <a:rPr lang="en-US" smtClean="0"/>
              <a:t>1/15/2026</a:t>
            </a:fld>
            <a:endParaRPr lang="en-US"/>
          </a:p>
        </p:txBody>
      </p:sp>
      <p:sp>
        <p:nvSpPr>
          <p:cNvPr id="5" name="Footer Placeholder 4">
            <a:extLst>
              <a:ext uri="{FF2B5EF4-FFF2-40B4-BE49-F238E27FC236}">
                <a16:creationId xmlns:a16="http://schemas.microsoft.com/office/drawing/2014/main" id="{199067F5-114F-0A3D-922E-A8126599712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3CD680F-AEF7-B6C9-2871-3E40A3C09304}"/>
              </a:ext>
            </a:extLst>
          </p:cNvPr>
          <p:cNvSpPr>
            <a:spLocks noGrp="1"/>
          </p:cNvSpPr>
          <p:nvPr>
            <p:ph type="sldNum" sz="quarter" idx="12"/>
          </p:nvPr>
        </p:nvSpPr>
        <p:spPr/>
        <p:txBody>
          <a:bodyPr/>
          <a:lstStyle/>
          <a:p>
            <a:fld id="{22E80CA5-7A71-4842-92A0-D0693F259A1B}" type="slidenum">
              <a:rPr lang="en-US" smtClean="0"/>
              <a:t>‹#›</a:t>
            </a:fld>
            <a:endParaRPr lang="en-US"/>
          </a:p>
        </p:txBody>
      </p:sp>
    </p:spTree>
    <p:extLst>
      <p:ext uri="{BB962C8B-B14F-4D97-AF65-F5344CB8AC3E}">
        <p14:creationId xmlns:p14="http://schemas.microsoft.com/office/powerpoint/2010/main" val="187183257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60AC40-C541-E89B-863A-EBCB5F20E51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082B69F-8734-5CDB-A071-F19A31ABF85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16A6E89-A255-B6DC-4F4C-E26C8B8EA645}"/>
              </a:ext>
            </a:extLst>
          </p:cNvPr>
          <p:cNvSpPr>
            <a:spLocks noGrp="1"/>
          </p:cNvSpPr>
          <p:nvPr>
            <p:ph type="dt" sz="half" idx="10"/>
          </p:nvPr>
        </p:nvSpPr>
        <p:spPr/>
        <p:txBody>
          <a:bodyPr/>
          <a:lstStyle/>
          <a:p>
            <a:fld id="{E973BBE3-9153-46B2-8FA8-B7CF6202469E}" type="datetimeFigureOut">
              <a:rPr lang="en-US" smtClean="0"/>
              <a:t>1/15/2026</a:t>
            </a:fld>
            <a:endParaRPr lang="en-US"/>
          </a:p>
        </p:txBody>
      </p:sp>
      <p:sp>
        <p:nvSpPr>
          <p:cNvPr id="5" name="Footer Placeholder 4">
            <a:extLst>
              <a:ext uri="{FF2B5EF4-FFF2-40B4-BE49-F238E27FC236}">
                <a16:creationId xmlns:a16="http://schemas.microsoft.com/office/drawing/2014/main" id="{3F28628F-791A-6A8E-B664-D0B71066CA2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055D19F-774D-9616-6F98-048B21F0B9B3}"/>
              </a:ext>
            </a:extLst>
          </p:cNvPr>
          <p:cNvSpPr>
            <a:spLocks noGrp="1"/>
          </p:cNvSpPr>
          <p:nvPr>
            <p:ph type="sldNum" sz="quarter" idx="12"/>
          </p:nvPr>
        </p:nvSpPr>
        <p:spPr/>
        <p:txBody>
          <a:bodyPr/>
          <a:lstStyle/>
          <a:p>
            <a:fld id="{22E80CA5-7A71-4842-92A0-D0693F259A1B}" type="slidenum">
              <a:rPr lang="en-US" smtClean="0"/>
              <a:t>‹#›</a:t>
            </a:fld>
            <a:endParaRPr lang="en-US"/>
          </a:p>
        </p:txBody>
      </p:sp>
    </p:spTree>
    <p:extLst>
      <p:ext uri="{BB962C8B-B14F-4D97-AF65-F5344CB8AC3E}">
        <p14:creationId xmlns:p14="http://schemas.microsoft.com/office/powerpoint/2010/main" val="11250604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F68DEF-8DF8-F4DC-F9B5-28728E38F6E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4AE3A8F-AC70-7ADC-04D4-1DB6739664BA}"/>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52940A3-7E9C-CBF3-A392-74E55011886C}"/>
              </a:ext>
            </a:extLst>
          </p:cNvPr>
          <p:cNvSpPr>
            <a:spLocks noGrp="1"/>
          </p:cNvSpPr>
          <p:nvPr>
            <p:ph type="dt" sz="half" idx="10"/>
          </p:nvPr>
        </p:nvSpPr>
        <p:spPr/>
        <p:txBody>
          <a:bodyPr/>
          <a:lstStyle/>
          <a:p>
            <a:fld id="{E973BBE3-9153-46B2-8FA8-B7CF6202469E}" type="datetimeFigureOut">
              <a:rPr lang="en-US" smtClean="0"/>
              <a:t>1/15/2026</a:t>
            </a:fld>
            <a:endParaRPr lang="en-US"/>
          </a:p>
        </p:txBody>
      </p:sp>
      <p:sp>
        <p:nvSpPr>
          <p:cNvPr id="5" name="Footer Placeholder 4">
            <a:extLst>
              <a:ext uri="{FF2B5EF4-FFF2-40B4-BE49-F238E27FC236}">
                <a16:creationId xmlns:a16="http://schemas.microsoft.com/office/drawing/2014/main" id="{82C0CAE1-BE2F-D84F-754F-074C3CBE84D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B8EE02C-5F85-FCDE-9FF7-73A492ABCC31}"/>
              </a:ext>
            </a:extLst>
          </p:cNvPr>
          <p:cNvSpPr>
            <a:spLocks noGrp="1"/>
          </p:cNvSpPr>
          <p:nvPr>
            <p:ph type="sldNum" sz="quarter" idx="12"/>
          </p:nvPr>
        </p:nvSpPr>
        <p:spPr/>
        <p:txBody>
          <a:bodyPr/>
          <a:lstStyle/>
          <a:p>
            <a:fld id="{22E80CA5-7A71-4842-92A0-D0693F259A1B}" type="slidenum">
              <a:rPr lang="en-US" smtClean="0"/>
              <a:t>‹#›</a:t>
            </a:fld>
            <a:endParaRPr lang="en-US"/>
          </a:p>
        </p:txBody>
      </p:sp>
    </p:spTree>
    <p:extLst>
      <p:ext uri="{BB962C8B-B14F-4D97-AF65-F5344CB8AC3E}">
        <p14:creationId xmlns:p14="http://schemas.microsoft.com/office/powerpoint/2010/main" val="114398890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0224E-A63A-87ED-BE17-57FEE52FA9F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04C7DD4-28CF-F5A3-42B3-3F3DF7B4456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54C6D75-BD77-9014-C4A5-317BDAB93E2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92928B1-40BE-DEC3-2081-67BF50885303}"/>
              </a:ext>
            </a:extLst>
          </p:cNvPr>
          <p:cNvSpPr>
            <a:spLocks noGrp="1"/>
          </p:cNvSpPr>
          <p:nvPr>
            <p:ph type="dt" sz="half" idx="10"/>
          </p:nvPr>
        </p:nvSpPr>
        <p:spPr/>
        <p:txBody>
          <a:bodyPr/>
          <a:lstStyle/>
          <a:p>
            <a:fld id="{E973BBE3-9153-46B2-8FA8-B7CF6202469E}" type="datetimeFigureOut">
              <a:rPr lang="en-US" smtClean="0"/>
              <a:t>1/15/2026</a:t>
            </a:fld>
            <a:endParaRPr lang="en-US"/>
          </a:p>
        </p:txBody>
      </p:sp>
      <p:sp>
        <p:nvSpPr>
          <p:cNvPr id="6" name="Footer Placeholder 5">
            <a:extLst>
              <a:ext uri="{FF2B5EF4-FFF2-40B4-BE49-F238E27FC236}">
                <a16:creationId xmlns:a16="http://schemas.microsoft.com/office/drawing/2014/main" id="{CC9EEC77-FD5D-C024-A2E7-8FA21E835B1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66402E7-A9D3-39C4-9793-35249AEB6BEB}"/>
              </a:ext>
            </a:extLst>
          </p:cNvPr>
          <p:cNvSpPr>
            <a:spLocks noGrp="1"/>
          </p:cNvSpPr>
          <p:nvPr>
            <p:ph type="sldNum" sz="quarter" idx="12"/>
          </p:nvPr>
        </p:nvSpPr>
        <p:spPr/>
        <p:txBody>
          <a:bodyPr/>
          <a:lstStyle/>
          <a:p>
            <a:fld id="{22E80CA5-7A71-4842-92A0-D0693F259A1B}" type="slidenum">
              <a:rPr lang="en-US" smtClean="0"/>
              <a:t>‹#›</a:t>
            </a:fld>
            <a:endParaRPr lang="en-US"/>
          </a:p>
        </p:txBody>
      </p:sp>
    </p:spTree>
    <p:extLst>
      <p:ext uri="{BB962C8B-B14F-4D97-AF65-F5344CB8AC3E}">
        <p14:creationId xmlns:p14="http://schemas.microsoft.com/office/powerpoint/2010/main" val="351778088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B5E038-390E-F05B-E2C2-E15535DEBCD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F3663D7-28B9-E122-B16B-CA3C681698D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DE73EBC-EFF3-A357-D4DB-B85DF5E3EAD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F19E7B3-3270-AE86-81A2-79085773B62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9699799-9885-458E-8C57-DB9762D83C7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9F77977-0FA4-DD45-CDD3-6A7081145528}"/>
              </a:ext>
            </a:extLst>
          </p:cNvPr>
          <p:cNvSpPr>
            <a:spLocks noGrp="1"/>
          </p:cNvSpPr>
          <p:nvPr>
            <p:ph type="dt" sz="half" idx="10"/>
          </p:nvPr>
        </p:nvSpPr>
        <p:spPr/>
        <p:txBody>
          <a:bodyPr/>
          <a:lstStyle/>
          <a:p>
            <a:fld id="{E973BBE3-9153-46B2-8FA8-B7CF6202469E}" type="datetimeFigureOut">
              <a:rPr lang="en-US" smtClean="0"/>
              <a:t>1/15/2026</a:t>
            </a:fld>
            <a:endParaRPr lang="en-US"/>
          </a:p>
        </p:txBody>
      </p:sp>
      <p:sp>
        <p:nvSpPr>
          <p:cNvPr id="8" name="Footer Placeholder 7">
            <a:extLst>
              <a:ext uri="{FF2B5EF4-FFF2-40B4-BE49-F238E27FC236}">
                <a16:creationId xmlns:a16="http://schemas.microsoft.com/office/drawing/2014/main" id="{37977F81-C3F0-5EB7-FE8D-C2625246C00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D758836-85CF-235E-40F3-0C4B0CE20BC3}"/>
              </a:ext>
            </a:extLst>
          </p:cNvPr>
          <p:cNvSpPr>
            <a:spLocks noGrp="1"/>
          </p:cNvSpPr>
          <p:nvPr>
            <p:ph type="sldNum" sz="quarter" idx="12"/>
          </p:nvPr>
        </p:nvSpPr>
        <p:spPr/>
        <p:txBody>
          <a:bodyPr/>
          <a:lstStyle/>
          <a:p>
            <a:fld id="{22E80CA5-7A71-4842-92A0-D0693F259A1B}" type="slidenum">
              <a:rPr lang="en-US" smtClean="0"/>
              <a:t>‹#›</a:t>
            </a:fld>
            <a:endParaRPr lang="en-US"/>
          </a:p>
        </p:txBody>
      </p:sp>
    </p:spTree>
    <p:extLst>
      <p:ext uri="{BB962C8B-B14F-4D97-AF65-F5344CB8AC3E}">
        <p14:creationId xmlns:p14="http://schemas.microsoft.com/office/powerpoint/2010/main" val="33813540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27FCFB-EC99-3F17-7428-E1B6B1416B0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491D40C-E20D-01C1-6DB1-EA77110445E3}"/>
              </a:ext>
            </a:extLst>
          </p:cNvPr>
          <p:cNvSpPr>
            <a:spLocks noGrp="1"/>
          </p:cNvSpPr>
          <p:nvPr>
            <p:ph type="dt" sz="half" idx="10"/>
          </p:nvPr>
        </p:nvSpPr>
        <p:spPr/>
        <p:txBody>
          <a:bodyPr/>
          <a:lstStyle/>
          <a:p>
            <a:fld id="{E973BBE3-9153-46B2-8FA8-B7CF6202469E}" type="datetimeFigureOut">
              <a:rPr lang="en-US" smtClean="0"/>
              <a:t>1/15/2026</a:t>
            </a:fld>
            <a:endParaRPr lang="en-US"/>
          </a:p>
        </p:txBody>
      </p:sp>
      <p:sp>
        <p:nvSpPr>
          <p:cNvPr id="4" name="Footer Placeholder 3">
            <a:extLst>
              <a:ext uri="{FF2B5EF4-FFF2-40B4-BE49-F238E27FC236}">
                <a16:creationId xmlns:a16="http://schemas.microsoft.com/office/drawing/2014/main" id="{148D4247-E032-9C21-CD49-806F778AAFC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155F171-9023-1746-3F28-A2CE51DF89C3}"/>
              </a:ext>
            </a:extLst>
          </p:cNvPr>
          <p:cNvSpPr>
            <a:spLocks noGrp="1"/>
          </p:cNvSpPr>
          <p:nvPr>
            <p:ph type="sldNum" sz="quarter" idx="12"/>
          </p:nvPr>
        </p:nvSpPr>
        <p:spPr/>
        <p:txBody>
          <a:bodyPr/>
          <a:lstStyle/>
          <a:p>
            <a:fld id="{22E80CA5-7A71-4842-92A0-D0693F259A1B}" type="slidenum">
              <a:rPr lang="en-US" smtClean="0"/>
              <a:t>‹#›</a:t>
            </a:fld>
            <a:endParaRPr lang="en-US"/>
          </a:p>
        </p:txBody>
      </p:sp>
    </p:spTree>
    <p:extLst>
      <p:ext uri="{BB962C8B-B14F-4D97-AF65-F5344CB8AC3E}">
        <p14:creationId xmlns:p14="http://schemas.microsoft.com/office/powerpoint/2010/main" val="211951593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57978EE-BC1F-4B43-14A4-999B81E4948E}"/>
              </a:ext>
            </a:extLst>
          </p:cNvPr>
          <p:cNvSpPr>
            <a:spLocks noGrp="1"/>
          </p:cNvSpPr>
          <p:nvPr>
            <p:ph type="dt" sz="half" idx="10"/>
          </p:nvPr>
        </p:nvSpPr>
        <p:spPr/>
        <p:txBody>
          <a:bodyPr/>
          <a:lstStyle/>
          <a:p>
            <a:fld id="{E973BBE3-9153-46B2-8FA8-B7CF6202469E}" type="datetimeFigureOut">
              <a:rPr lang="en-US" smtClean="0"/>
              <a:t>1/15/2026</a:t>
            </a:fld>
            <a:endParaRPr lang="en-US"/>
          </a:p>
        </p:txBody>
      </p:sp>
      <p:sp>
        <p:nvSpPr>
          <p:cNvPr id="3" name="Footer Placeholder 2">
            <a:extLst>
              <a:ext uri="{FF2B5EF4-FFF2-40B4-BE49-F238E27FC236}">
                <a16:creationId xmlns:a16="http://schemas.microsoft.com/office/drawing/2014/main" id="{A375181F-F45A-8429-56EE-BE83ABA81CA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0B26FC5-B8BD-3C17-59CF-76B70584C33D}"/>
              </a:ext>
            </a:extLst>
          </p:cNvPr>
          <p:cNvSpPr>
            <a:spLocks noGrp="1"/>
          </p:cNvSpPr>
          <p:nvPr>
            <p:ph type="sldNum" sz="quarter" idx="12"/>
          </p:nvPr>
        </p:nvSpPr>
        <p:spPr/>
        <p:txBody>
          <a:bodyPr/>
          <a:lstStyle/>
          <a:p>
            <a:fld id="{22E80CA5-7A71-4842-92A0-D0693F259A1B}" type="slidenum">
              <a:rPr lang="en-US" smtClean="0"/>
              <a:t>‹#›</a:t>
            </a:fld>
            <a:endParaRPr lang="en-US"/>
          </a:p>
        </p:txBody>
      </p:sp>
    </p:spTree>
    <p:extLst>
      <p:ext uri="{BB962C8B-B14F-4D97-AF65-F5344CB8AC3E}">
        <p14:creationId xmlns:p14="http://schemas.microsoft.com/office/powerpoint/2010/main" val="356000882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5D2F89-3A0E-6477-BE41-15A0B81BCF3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25484B9-1C74-A49E-0A33-9A55A187BC5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612243F-E7A3-442A-A2D7-8872F653A31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8E0252D-D0D8-4BF0-F311-A1D43C861274}"/>
              </a:ext>
            </a:extLst>
          </p:cNvPr>
          <p:cNvSpPr>
            <a:spLocks noGrp="1"/>
          </p:cNvSpPr>
          <p:nvPr>
            <p:ph type="dt" sz="half" idx="10"/>
          </p:nvPr>
        </p:nvSpPr>
        <p:spPr/>
        <p:txBody>
          <a:bodyPr/>
          <a:lstStyle/>
          <a:p>
            <a:fld id="{E973BBE3-9153-46B2-8FA8-B7CF6202469E}" type="datetimeFigureOut">
              <a:rPr lang="en-US" smtClean="0"/>
              <a:t>1/15/2026</a:t>
            </a:fld>
            <a:endParaRPr lang="en-US"/>
          </a:p>
        </p:txBody>
      </p:sp>
      <p:sp>
        <p:nvSpPr>
          <p:cNvPr id="6" name="Footer Placeholder 5">
            <a:extLst>
              <a:ext uri="{FF2B5EF4-FFF2-40B4-BE49-F238E27FC236}">
                <a16:creationId xmlns:a16="http://schemas.microsoft.com/office/drawing/2014/main" id="{289F2878-A7F4-DAD3-8C7A-BE84D579665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DCD3D45-6435-4FA1-921A-8B6A01EE7945}"/>
              </a:ext>
            </a:extLst>
          </p:cNvPr>
          <p:cNvSpPr>
            <a:spLocks noGrp="1"/>
          </p:cNvSpPr>
          <p:nvPr>
            <p:ph type="sldNum" sz="quarter" idx="12"/>
          </p:nvPr>
        </p:nvSpPr>
        <p:spPr/>
        <p:txBody>
          <a:bodyPr/>
          <a:lstStyle/>
          <a:p>
            <a:fld id="{22E80CA5-7A71-4842-92A0-D0693F259A1B}" type="slidenum">
              <a:rPr lang="en-US" smtClean="0"/>
              <a:t>‹#›</a:t>
            </a:fld>
            <a:endParaRPr lang="en-US"/>
          </a:p>
        </p:txBody>
      </p:sp>
    </p:spTree>
    <p:extLst>
      <p:ext uri="{BB962C8B-B14F-4D97-AF65-F5344CB8AC3E}">
        <p14:creationId xmlns:p14="http://schemas.microsoft.com/office/powerpoint/2010/main" val="390747175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31D410-DAFE-BC9D-695D-A748CEE2395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6590ADD-834C-EB29-E458-347D0FC1073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CB7EE5F-59EC-C512-19FE-FCAE706D630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11C1C1A-B9B9-E7D8-6651-FB31C509C4D0}"/>
              </a:ext>
            </a:extLst>
          </p:cNvPr>
          <p:cNvSpPr>
            <a:spLocks noGrp="1"/>
          </p:cNvSpPr>
          <p:nvPr>
            <p:ph type="dt" sz="half" idx="10"/>
          </p:nvPr>
        </p:nvSpPr>
        <p:spPr/>
        <p:txBody>
          <a:bodyPr/>
          <a:lstStyle/>
          <a:p>
            <a:fld id="{E973BBE3-9153-46B2-8FA8-B7CF6202469E}" type="datetimeFigureOut">
              <a:rPr lang="en-US" smtClean="0"/>
              <a:t>1/15/2026</a:t>
            </a:fld>
            <a:endParaRPr lang="en-US"/>
          </a:p>
        </p:txBody>
      </p:sp>
      <p:sp>
        <p:nvSpPr>
          <p:cNvPr id="6" name="Footer Placeholder 5">
            <a:extLst>
              <a:ext uri="{FF2B5EF4-FFF2-40B4-BE49-F238E27FC236}">
                <a16:creationId xmlns:a16="http://schemas.microsoft.com/office/drawing/2014/main" id="{4B697B6B-4629-05FE-7FDC-145A99ED14B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1C5E593-4C76-A686-8F0F-9629E28C3775}"/>
              </a:ext>
            </a:extLst>
          </p:cNvPr>
          <p:cNvSpPr>
            <a:spLocks noGrp="1"/>
          </p:cNvSpPr>
          <p:nvPr>
            <p:ph type="sldNum" sz="quarter" idx="12"/>
          </p:nvPr>
        </p:nvSpPr>
        <p:spPr/>
        <p:txBody>
          <a:bodyPr/>
          <a:lstStyle/>
          <a:p>
            <a:fld id="{22E80CA5-7A71-4842-92A0-D0693F259A1B}" type="slidenum">
              <a:rPr lang="en-US" smtClean="0"/>
              <a:t>‹#›</a:t>
            </a:fld>
            <a:endParaRPr lang="en-US"/>
          </a:p>
        </p:txBody>
      </p:sp>
    </p:spTree>
    <p:extLst>
      <p:ext uri="{BB962C8B-B14F-4D97-AF65-F5344CB8AC3E}">
        <p14:creationId xmlns:p14="http://schemas.microsoft.com/office/powerpoint/2010/main" val="4907197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67FBB9-2602-969D-632B-9280813FB34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B6AE126-859F-6EC3-3FC2-B35F7F6E15C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47BA0C5-8EAE-9099-8C61-B02F2B495CB3}"/>
              </a:ext>
            </a:extLst>
          </p:cNvPr>
          <p:cNvSpPr>
            <a:spLocks noGrp="1"/>
          </p:cNvSpPr>
          <p:nvPr>
            <p:ph type="dt" sz="half" idx="10"/>
          </p:nvPr>
        </p:nvSpPr>
        <p:spPr/>
        <p:txBody>
          <a:bodyPr/>
          <a:lstStyle/>
          <a:p>
            <a:fld id="{E973BBE3-9153-46B2-8FA8-B7CF6202469E}" type="datetimeFigureOut">
              <a:rPr lang="en-US" smtClean="0"/>
              <a:t>1/15/2026</a:t>
            </a:fld>
            <a:endParaRPr lang="en-US"/>
          </a:p>
        </p:txBody>
      </p:sp>
      <p:sp>
        <p:nvSpPr>
          <p:cNvPr id="5" name="Footer Placeholder 4">
            <a:extLst>
              <a:ext uri="{FF2B5EF4-FFF2-40B4-BE49-F238E27FC236}">
                <a16:creationId xmlns:a16="http://schemas.microsoft.com/office/drawing/2014/main" id="{3603B385-C9A2-C981-84E0-7905130C064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D3AB9B-27C8-CBFE-BEF9-12EDD77C7A80}"/>
              </a:ext>
            </a:extLst>
          </p:cNvPr>
          <p:cNvSpPr>
            <a:spLocks noGrp="1"/>
          </p:cNvSpPr>
          <p:nvPr>
            <p:ph type="sldNum" sz="quarter" idx="12"/>
          </p:nvPr>
        </p:nvSpPr>
        <p:spPr/>
        <p:txBody>
          <a:bodyPr/>
          <a:lstStyle/>
          <a:p>
            <a:fld id="{22E80CA5-7A71-4842-92A0-D0693F259A1B}" type="slidenum">
              <a:rPr lang="en-US" smtClean="0"/>
              <a:t>‹#›</a:t>
            </a:fld>
            <a:endParaRPr lang="en-US"/>
          </a:p>
        </p:txBody>
      </p:sp>
    </p:spTree>
    <p:extLst>
      <p:ext uri="{BB962C8B-B14F-4D97-AF65-F5344CB8AC3E}">
        <p14:creationId xmlns:p14="http://schemas.microsoft.com/office/powerpoint/2010/main" val="18150172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877FB60E-269D-2343-B232-06E0E3B65052}"/>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543400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877FB60E-269D-2343-B232-06E0E3B65052}"/>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1FC4E808-7203-4917-098B-02B3326D1865}"/>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E8DC4E14-4B7F-3052-254F-707D77C5CE26}"/>
              </a:ext>
            </a:extLst>
          </p:cNvPr>
          <p:cNvSpPr>
            <a:spLocks noGrp="1"/>
          </p:cNvSpPr>
          <p:nvPr>
            <p:ph idx="1"/>
          </p:nvPr>
        </p:nvSpPr>
        <p:spPr>
          <a:xfrm>
            <a:off x="521208" y="1412238"/>
            <a:ext cx="11149580" cy="4637712"/>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2" name="Slide Number Placeholder 11">
            <a:extLst>
              <a:ext uri="{FF2B5EF4-FFF2-40B4-BE49-F238E27FC236}">
                <a16:creationId xmlns:a16="http://schemas.microsoft.com/office/drawing/2014/main" id="{DF88F7BF-8BBB-5870-0AF6-9BEF5CC14584}"/>
              </a:ext>
              <a:ext uri="{C183D7F6-B498-43B3-948B-1728B52AA6E4}">
                <adec:decorative xmlns:adec="http://schemas.microsoft.com/office/drawing/2017/decorative" val="1"/>
              </a:ext>
            </a:extLst>
          </p:cNvPr>
          <p:cNvSpPr>
            <a:spLocks noGrp="1"/>
          </p:cNvSpPr>
          <p:nvPr>
            <p:ph type="sldNum" sz="quarter" idx="16"/>
          </p:nvPr>
        </p:nvSpPr>
        <p:spPr/>
        <p:txBody>
          <a:bodyPr bIns="309600"/>
          <a:lstStyle/>
          <a:p>
            <a:fld id="{1C1606C5-D483-4832-A0E9-CF578A9B5883}" type="slidenum">
              <a:rPr lang="en-US" smtClean="0"/>
              <a:pPr/>
              <a:t>‹#›</a:t>
            </a:fld>
            <a:endParaRPr lang="en-US"/>
          </a:p>
        </p:txBody>
      </p:sp>
      <p:sp>
        <p:nvSpPr>
          <p:cNvPr id="8" name="footnotes">
            <a:extLst>
              <a:ext uri="{FF2B5EF4-FFF2-40B4-BE49-F238E27FC236}">
                <a16:creationId xmlns:a16="http://schemas.microsoft.com/office/drawing/2014/main" id="{86D2E920-1478-BF4E-BF9B-40E30E354418}"/>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9" name="Text Placeholder 7">
            <a:extLst>
              <a:ext uri="{FF2B5EF4-FFF2-40B4-BE49-F238E27FC236}">
                <a16:creationId xmlns:a16="http://schemas.microsoft.com/office/drawing/2014/main" id="{BD41C567-C1EC-7043-BA46-29CF027385CF}"/>
              </a:ext>
            </a:extLst>
          </p:cNvPr>
          <p:cNvSpPr>
            <a:spLocks noGrp="1"/>
          </p:cNvSpPr>
          <p:nvPr>
            <p:ph type="body" sz="quarter" idx="19"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523475568"/>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C53BC61-8C4E-8AD9-FF5D-9A6CAD7477C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FC43025-B10D-8C50-29CC-DBCE5F5AD87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B9895A1-1653-0773-4E03-74F7C76D94FB}"/>
              </a:ext>
            </a:extLst>
          </p:cNvPr>
          <p:cNvSpPr>
            <a:spLocks noGrp="1"/>
          </p:cNvSpPr>
          <p:nvPr>
            <p:ph type="dt" sz="half" idx="10"/>
          </p:nvPr>
        </p:nvSpPr>
        <p:spPr/>
        <p:txBody>
          <a:bodyPr/>
          <a:lstStyle/>
          <a:p>
            <a:fld id="{E973BBE3-9153-46B2-8FA8-B7CF6202469E}" type="datetimeFigureOut">
              <a:rPr lang="en-US" smtClean="0"/>
              <a:t>1/15/2026</a:t>
            </a:fld>
            <a:endParaRPr lang="en-US"/>
          </a:p>
        </p:txBody>
      </p:sp>
      <p:sp>
        <p:nvSpPr>
          <p:cNvPr id="5" name="Footer Placeholder 4">
            <a:extLst>
              <a:ext uri="{FF2B5EF4-FFF2-40B4-BE49-F238E27FC236}">
                <a16:creationId xmlns:a16="http://schemas.microsoft.com/office/drawing/2014/main" id="{B184B38A-9B14-BB20-2EC7-C9EB6821569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D3494E6-C680-C441-D578-81179928D493}"/>
              </a:ext>
            </a:extLst>
          </p:cNvPr>
          <p:cNvSpPr>
            <a:spLocks noGrp="1"/>
          </p:cNvSpPr>
          <p:nvPr>
            <p:ph type="sldNum" sz="quarter" idx="12"/>
          </p:nvPr>
        </p:nvSpPr>
        <p:spPr/>
        <p:txBody>
          <a:bodyPr/>
          <a:lstStyle/>
          <a:p>
            <a:fld id="{22E80CA5-7A71-4842-92A0-D0693F259A1B}" type="slidenum">
              <a:rPr lang="en-US" smtClean="0"/>
              <a:t>‹#›</a:t>
            </a:fld>
            <a:endParaRPr lang="en-US"/>
          </a:p>
        </p:txBody>
      </p:sp>
    </p:spTree>
    <p:extLst>
      <p:ext uri="{BB962C8B-B14F-4D97-AF65-F5344CB8AC3E}">
        <p14:creationId xmlns:p14="http://schemas.microsoft.com/office/powerpoint/2010/main" val="366138742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Title Slide - White - No image">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39DA44C5-759C-86D6-2BFE-0A72E0BD523B}"/>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1255622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6" name="think-cell data - do not delete" hidden="1">
                        <a:extLst>
                          <a:ext uri="{FF2B5EF4-FFF2-40B4-BE49-F238E27FC236}">
                            <a16:creationId xmlns:a16="http://schemas.microsoft.com/office/drawing/2014/main" id="{39DA44C5-759C-86D6-2BFE-0A72E0BD523B}"/>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9" name="logo sm" descr="Transamerica Logo">
            <a:extLst>
              <a:ext uri="{FF2B5EF4-FFF2-40B4-BE49-F238E27FC236}">
                <a16:creationId xmlns:a16="http://schemas.microsoft.com/office/drawing/2014/main" id="{70F8CB03-C110-1168-2E33-FE8BAE7D253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0" y="0"/>
            <a:ext cx="4141724" cy="1559052"/>
          </a:xfrm>
          <a:prstGeom prst="rect">
            <a:avLst/>
          </a:prstGeom>
        </p:spPr>
      </p:pic>
      <p:sp>
        <p:nvSpPr>
          <p:cNvPr id="2" name="Title 1">
            <a:extLst>
              <a:ext uri="{FF2B5EF4-FFF2-40B4-BE49-F238E27FC236}">
                <a16:creationId xmlns:a16="http://schemas.microsoft.com/office/drawing/2014/main" id="{5A86874A-FA12-2517-B453-C324E0434187}"/>
              </a:ext>
            </a:extLst>
          </p:cNvPr>
          <p:cNvSpPr>
            <a:spLocks noGrp="1"/>
          </p:cNvSpPr>
          <p:nvPr>
            <p:ph type="ctrTitle" hasCustomPrompt="1"/>
          </p:nvPr>
        </p:nvSpPr>
        <p:spPr>
          <a:xfrm>
            <a:off x="521208" y="1559052"/>
            <a:ext cx="9318896" cy="1932948"/>
          </a:xfrm>
          <a:prstGeom prst="rect">
            <a:avLst/>
          </a:prstGeom>
        </p:spPr>
        <p:txBody>
          <a:bodyPr vert="horz" wrap="square" anchor="b" anchorCtr="0">
            <a:noAutofit/>
          </a:bodyPr>
          <a:lstStyle>
            <a:lvl1pPr algn="l">
              <a:lnSpc>
                <a:spcPct val="85000"/>
              </a:lnSpc>
              <a:defRPr sz="4800" kern="100" spc="-120" baseline="0"/>
            </a:lvl1pPr>
          </a:lstStyle>
          <a:p>
            <a:r>
              <a:rPr lang="en-US"/>
              <a:t>Click to edit title</a:t>
            </a:r>
          </a:p>
        </p:txBody>
      </p:sp>
      <p:sp>
        <p:nvSpPr>
          <p:cNvPr id="3" name="Subtitle 2">
            <a:extLst>
              <a:ext uri="{FF2B5EF4-FFF2-40B4-BE49-F238E27FC236}">
                <a16:creationId xmlns:a16="http://schemas.microsoft.com/office/drawing/2014/main" id="{D9322BA0-7900-6548-8C91-5C883FA22AAA}"/>
              </a:ext>
            </a:extLst>
          </p:cNvPr>
          <p:cNvSpPr>
            <a:spLocks noGrp="1"/>
          </p:cNvSpPr>
          <p:nvPr>
            <p:ph type="subTitle" idx="1"/>
          </p:nvPr>
        </p:nvSpPr>
        <p:spPr>
          <a:xfrm>
            <a:off x="521208" y="3708000"/>
            <a:ext cx="9318896" cy="432000"/>
          </a:xfrm>
          <a:prstGeom prst="rect">
            <a:avLst/>
          </a:prstGeom>
        </p:spPr>
        <p:txBody>
          <a:bodyPr anchor="t" anchorCtr="0">
            <a:noAutofit/>
          </a:bodyPr>
          <a:lstStyle>
            <a:lvl1pPr marL="0" indent="0" algn="l">
              <a:buNone/>
              <a:defRPr sz="2400" b="0" i="0">
                <a:latin typeface="Forever Forma Heading"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7">
            <a:extLst>
              <a:ext uri="{FF2B5EF4-FFF2-40B4-BE49-F238E27FC236}">
                <a16:creationId xmlns:a16="http://schemas.microsoft.com/office/drawing/2014/main" id="{BDAA084D-363D-B650-0E58-F7892FE1196E}"/>
              </a:ext>
            </a:extLst>
          </p:cNvPr>
          <p:cNvSpPr>
            <a:spLocks noGrp="1"/>
          </p:cNvSpPr>
          <p:nvPr>
            <p:ph type="body" sz="quarter" idx="17" hasCustomPrompt="1"/>
          </p:nvPr>
        </p:nvSpPr>
        <p:spPr>
          <a:xfrm>
            <a:off x="521208" y="4752000"/>
            <a:ext cx="7878792" cy="288000"/>
          </a:xfrm>
          <a:prstGeom prst="rect">
            <a:avLst/>
          </a:prstGeom>
        </p:spPr>
        <p:txBody>
          <a:bodyPr>
            <a:noAutofit/>
          </a:bodyPr>
          <a:lstStyle>
            <a:lvl1pPr>
              <a:spcBef>
                <a:spcPts val="0"/>
              </a:spcBef>
              <a:defRPr sz="1600" b="1"/>
            </a:lvl1pPr>
          </a:lstStyle>
          <a:p>
            <a:pPr lvl="0"/>
            <a:r>
              <a:rPr lang="en-US"/>
              <a:t>[Presenter name]</a:t>
            </a:r>
          </a:p>
        </p:txBody>
      </p:sp>
      <p:sp>
        <p:nvSpPr>
          <p:cNvPr id="8" name="Text Placeholder 7">
            <a:extLst>
              <a:ext uri="{FF2B5EF4-FFF2-40B4-BE49-F238E27FC236}">
                <a16:creationId xmlns:a16="http://schemas.microsoft.com/office/drawing/2014/main" id="{42BC1D38-D6E1-7E0C-EF78-D061302A3DF8}"/>
              </a:ext>
            </a:extLst>
          </p:cNvPr>
          <p:cNvSpPr>
            <a:spLocks noGrp="1"/>
          </p:cNvSpPr>
          <p:nvPr>
            <p:ph type="body" sz="quarter" idx="13" hasCustomPrompt="1"/>
          </p:nvPr>
        </p:nvSpPr>
        <p:spPr>
          <a:xfrm>
            <a:off x="521208" y="5040000"/>
            <a:ext cx="7878792" cy="252000"/>
          </a:xfrm>
          <a:prstGeom prst="rect">
            <a:avLst/>
          </a:prstGeom>
        </p:spPr>
        <p:txBody>
          <a:bodyPr>
            <a:noAutofit/>
          </a:bodyPr>
          <a:lstStyle>
            <a:lvl1pPr>
              <a:spcBef>
                <a:spcPts val="0"/>
              </a:spcBef>
              <a:defRPr sz="1600"/>
            </a:lvl1pPr>
          </a:lstStyle>
          <a:p>
            <a:pPr lvl="0"/>
            <a:r>
              <a:rPr lang="en-US"/>
              <a:t>[Month date year]</a:t>
            </a:r>
          </a:p>
        </p:txBody>
      </p:sp>
      <p:sp>
        <p:nvSpPr>
          <p:cNvPr id="6" name="LYBL 3" descr="live your best life tagline graphic">
            <a:extLst>
              <a:ext uri="{FF2B5EF4-FFF2-40B4-BE49-F238E27FC236}">
                <a16:creationId xmlns:a16="http://schemas.microsoft.com/office/drawing/2014/main" id="{01A489F3-1530-F1AA-659D-A07B8679E3C9}"/>
              </a:ext>
            </a:extLst>
          </p:cNvPr>
          <p:cNvSpPr>
            <a:spLocks noGrp="1"/>
          </p:cNvSpPr>
          <p:nvPr>
            <p:ph type="body" sz="quarter" idx="21" hasCustomPrompt="1"/>
          </p:nvPr>
        </p:nvSpPr>
        <p:spPr>
          <a:xfrm>
            <a:off x="12711249" y="4973918"/>
            <a:ext cx="1987009" cy="1884082"/>
          </a:xfrm>
          <a:custGeom>
            <a:avLst/>
            <a:gdLst>
              <a:gd name="connsiteX0" fmla="*/ 1381206 w 1987009"/>
              <a:gd name="connsiteY0" fmla="*/ 1687344 h 1884082"/>
              <a:gd name="connsiteX1" fmla="*/ 1204824 w 1987009"/>
              <a:gd name="connsiteY1" fmla="*/ 1742294 h 1884082"/>
              <a:gd name="connsiteX2" fmla="*/ 1320151 w 1987009"/>
              <a:gd name="connsiteY2" fmla="*/ 1808777 h 1884082"/>
              <a:gd name="connsiteX3" fmla="*/ 1381206 w 1987009"/>
              <a:gd name="connsiteY3" fmla="*/ 1687344 h 1884082"/>
              <a:gd name="connsiteX4" fmla="*/ 904614 w 1987009"/>
              <a:gd name="connsiteY4" fmla="*/ 1538915 h 1884082"/>
              <a:gd name="connsiteX5" fmla="*/ 959924 w 1987009"/>
              <a:gd name="connsiteY5" fmla="*/ 1540134 h 1884082"/>
              <a:gd name="connsiteX6" fmla="*/ 1089497 w 1987009"/>
              <a:gd name="connsiteY6" fmla="*/ 1675812 h 1884082"/>
              <a:gd name="connsiteX7" fmla="*/ 1082713 w 1987009"/>
              <a:gd name="connsiteY7" fmla="*/ 1680561 h 1884082"/>
              <a:gd name="connsiteX8" fmla="*/ 1038618 w 1987009"/>
              <a:gd name="connsiteY8" fmla="*/ 1673777 h 1884082"/>
              <a:gd name="connsiteX9" fmla="*/ 1033869 w 1987009"/>
              <a:gd name="connsiteY9" fmla="*/ 1666993 h 1884082"/>
              <a:gd name="connsiteX10" fmla="*/ 952462 w 1987009"/>
              <a:gd name="connsiteY10" fmla="*/ 1579480 h 1884082"/>
              <a:gd name="connsiteX11" fmla="*/ 864271 w 1987009"/>
              <a:gd name="connsiteY11" fmla="*/ 1624254 h 1884082"/>
              <a:gd name="connsiteX12" fmla="*/ 1063040 w 1987009"/>
              <a:gd name="connsiteY12" fmla="*/ 1804707 h 1884082"/>
              <a:gd name="connsiteX13" fmla="*/ 919899 w 1987009"/>
              <a:gd name="connsiteY13" fmla="*/ 1881365 h 1884082"/>
              <a:gd name="connsiteX14" fmla="*/ 797788 w 1987009"/>
              <a:gd name="connsiteY14" fmla="*/ 1761968 h 1884082"/>
              <a:gd name="connsiteX15" fmla="*/ 804572 w 1987009"/>
              <a:gd name="connsiteY15" fmla="*/ 1757219 h 1884082"/>
              <a:gd name="connsiteX16" fmla="*/ 847311 w 1987009"/>
              <a:gd name="connsiteY16" fmla="*/ 1763325 h 1884082"/>
              <a:gd name="connsiteX17" fmla="*/ 852738 w 1987009"/>
              <a:gd name="connsiteY17" fmla="*/ 1770109 h 1884082"/>
              <a:gd name="connsiteX18" fmla="*/ 926683 w 1987009"/>
              <a:gd name="connsiteY18" fmla="*/ 1842697 h 1884082"/>
              <a:gd name="connsiteX19" fmla="*/ 1007412 w 1987009"/>
              <a:gd name="connsiteY19" fmla="*/ 1800636 h 1884082"/>
              <a:gd name="connsiteX20" fmla="*/ 808643 w 1987009"/>
              <a:gd name="connsiteY20" fmla="*/ 1620862 h 1884082"/>
              <a:gd name="connsiteX21" fmla="*/ 904614 w 1987009"/>
              <a:gd name="connsiteY21" fmla="*/ 1538915 h 1884082"/>
              <a:gd name="connsiteX22" fmla="*/ 1295718 w 1987009"/>
              <a:gd name="connsiteY22" fmla="*/ 1511683 h 1884082"/>
              <a:gd name="connsiteX23" fmla="*/ 1429372 w 1987009"/>
              <a:gd name="connsiteY23" fmla="*/ 1636465 h 1884082"/>
              <a:gd name="connsiteX24" fmla="*/ 1333718 w 1987009"/>
              <a:gd name="connsiteY24" fmla="*/ 1848802 h 1884082"/>
              <a:gd name="connsiteX25" fmla="*/ 1134271 w 1987009"/>
              <a:gd name="connsiteY25" fmla="*/ 1727370 h 1884082"/>
              <a:gd name="connsiteX26" fmla="*/ 1138342 w 1987009"/>
              <a:gd name="connsiteY26" fmla="*/ 1719907 h 1884082"/>
              <a:gd name="connsiteX27" fmla="*/ 1371030 w 1987009"/>
              <a:gd name="connsiteY27" fmla="*/ 1647319 h 1884082"/>
              <a:gd name="connsiteX28" fmla="*/ 1240100 w 1987009"/>
              <a:gd name="connsiteY28" fmla="*/ 1560485 h 1884082"/>
              <a:gd name="connsiteX29" fmla="*/ 1178367 w 1987009"/>
              <a:gd name="connsiteY29" fmla="*/ 1656817 h 1884082"/>
              <a:gd name="connsiteX30" fmla="*/ 1173618 w 1987009"/>
              <a:gd name="connsiteY30" fmla="*/ 1664279 h 1884082"/>
              <a:gd name="connsiteX31" fmla="*/ 1130201 w 1987009"/>
              <a:gd name="connsiteY31" fmla="*/ 1678525 h 1884082"/>
              <a:gd name="connsiteX32" fmla="*/ 1123417 w 1987009"/>
              <a:gd name="connsiteY32" fmla="*/ 1674455 h 1884082"/>
              <a:gd name="connsiteX33" fmla="*/ 1227211 w 1987009"/>
              <a:gd name="connsiteY33" fmla="*/ 1519781 h 1884082"/>
              <a:gd name="connsiteX34" fmla="*/ 1295718 w 1987009"/>
              <a:gd name="connsiteY34" fmla="*/ 1511683 h 1884082"/>
              <a:gd name="connsiteX35" fmla="*/ 688568 w 1987009"/>
              <a:gd name="connsiteY35" fmla="*/ 1443801 h 1884082"/>
              <a:gd name="connsiteX36" fmla="*/ 731985 w 1987009"/>
              <a:gd name="connsiteY36" fmla="*/ 1458048 h 1884082"/>
              <a:gd name="connsiteX37" fmla="*/ 764548 w 1987009"/>
              <a:gd name="connsiteY37" fmla="*/ 1584907 h 1884082"/>
              <a:gd name="connsiteX38" fmla="*/ 672965 w 1987009"/>
              <a:gd name="connsiteY38" fmla="*/ 1755862 h 1884082"/>
              <a:gd name="connsiteX39" fmla="*/ 705527 w 1987009"/>
              <a:gd name="connsiteY39" fmla="*/ 1772822 h 1884082"/>
              <a:gd name="connsiteX40" fmla="*/ 707563 w 1987009"/>
              <a:gd name="connsiteY40" fmla="*/ 1780962 h 1884082"/>
              <a:gd name="connsiteX41" fmla="*/ 691281 w 1987009"/>
              <a:gd name="connsiteY41" fmla="*/ 1810812 h 1884082"/>
              <a:gd name="connsiteX42" fmla="*/ 683141 w 1987009"/>
              <a:gd name="connsiteY42" fmla="*/ 1813525 h 1884082"/>
              <a:gd name="connsiteX43" fmla="*/ 650578 w 1987009"/>
              <a:gd name="connsiteY43" fmla="*/ 1796565 h 1884082"/>
              <a:gd name="connsiteX44" fmla="*/ 614623 w 1987009"/>
              <a:gd name="connsiteY44" fmla="*/ 1865083 h 1884082"/>
              <a:gd name="connsiteX45" fmla="*/ 606482 w 1987009"/>
              <a:gd name="connsiteY45" fmla="*/ 1867118 h 1884082"/>
              <a:gd name="connsiteX46" fmla="*/ 564422 w 1987009"/>
              <a:gd name="connsiteY46" fmla="*/ 1844731 h 1884082"/>
              <a:gd name="connsiteX47" fmla="*/ 561708 w 1987009"/>
              <a:gd name="connsiteY47" fmla="*/ 1836591 h 1884082"/>
              <a:gd name="connsiteX48" fmla="*/ 598342 w 1987009"/>
              <a:gd name="connsiteY48" fmla="*/ 1768751 h 1884082"/>
              <a:gd name="connsiteX49" fmla="*/ 531859 w 1987009"/>
              <a:gd name="connsiteY49" fmla="*/ 1732797 h 1884082"/>
              <a:gd name="connsiteX50" fmla="*/ 529824 w 1987009"/>
              <a:gd name="connsiteY50" fmla="*/ 1724656 h 1884082"/>
              <a:gd name="connsiteX51" fmla="*/ 546105 w 1987009"/>
              <a:gd name="connsiteY51" fmla="*/ 1694807 h 1884082"/>
              <a:gd name="connsiteX52" fmla="*/ 554246 w 1987009"/>
              <a:gd name="connsiteY52" fmla="*/ 1692771 h 1884082"/>
              <a:gd name="connsiteX53" fmla="*/ 620728 w 1987009"/>
              <a:gd name="connsiteY53" fmla="*/ 1728726 h 1884082"/>
              <a:gd name="connsiteX54" fmla="*/ 711633 w 1987009"/>
              <a:gd name="connsiteY54" fmla="*/ 1559128 h 1884082"/>
              <a:gd name="connsiteX55" fmla="*/ 699422 w 1987009"/>
              <a:gd name="connsiteY55" fmla="*/ 1493324 h 1884082"/>
              <a:gd name="connsiteX56" fmla="*/ 667538 w 1987009"/>
              <a:gd name="connsiteY56" fmla="*/ 1480435 h 1884082"/>
              <a:gd name="connsiteX57" fmla="*/ 664146 w 1987009"/>
              <a:gd name="connsiteY57" fmla="*/ 1474329 h 1884082"/>
              <a:gd name="connsiteX58" fmla="*/ 679749 w 1987009"/>
              <a:gd name="connsiteY58" fmla="*/ 1447872 h 1884082"/>
              <a:gd name="connsiteX59" fmla="*/ 688568 w 1987009"/>
              <a:gd name="connsiteY59" fmla="*/ 1443801 h 1884082"/>
              <a:gd name="connsiteX60" fmla="*/ 1553602 w 1987009"/>
              <a:gd name="connsiteY60" fmla="*/ 1402336 h 1884082"/>
              <a:gd name="connsiteX61" fmla="*/ 1485000 w 1987009"/>
              <a:gd name="connsiteY61" fmla="*/ 1434983 h 1884082"/>
              <a:gd name="connsiteX62" fmla="*/ 1527738 w 1987009"/>
              <a:gd name="connsiteY62" fmla="*/ 1585586 h 1884082"/>
              <a:gd name="connsiteX63" fmla="*/ 1687839 w 1987009"/>
              <a:gd name="connsiteY63" fmla="*/ 1591692 h 1884082"/>
              <a:gd name="connsiteX64" fmla="*/ 1645100 w 1987009"/>
              <a:gd name="connsiteY64" fmla="*/ 1442445 h 1884082"/>
              <a:gd name="connsiteX65" fmla="*/ 1553602 w 1987009"/>
              <a:gd name="connsiteY65" fmla="*/ 1402336 h 1884082"/>
              <a:gd name="connsiteX66" fmla="*/ 160100 w 1987009"/>
              <a:gd name="connsiteY66" fmla="*/ 1361038 h 1884082"/>
              <a:gd name="connsiteX67" fmla="*/ 167562 w 1987009"/>
              <a:gd name="connsiteY67" fmla="*/ 1363751 h 1884082"/>
              <a:gd name="connsiteX68" fmla="*/ 189271 w 1987009"/>
              <a:gd name="connsiteY68" fmla="*/ 1406490 h 1884082"/>
              <a:gd name="connsiteX69" fmla="*/ 186557 w 1987009"/>
              <a:gd name="connsiteY69" fmla="*/ 1413952 h 1884082"/>
              <a:gd name="connsiteX70" fmla="*/ 139748 w 1987009"/>
              <a:gd name="connsiteY70" fmla="*/ 1437696 h 1884082"/>
              <a:gd name="connsiteX71" fmla="*/ 132286 w 1987009"/>
              <a:gd name="connsiteY71" fmla="*/ 1434982 h 1884082"/>
              <a:gd name="connsiteX72" fmla="*/ 110577 w 1987009"/>
              <a:gd name="connsiteY72" fmla="*/ 1392244 h 1884082"/>
              <a:gd name="connsiteX73" fmla="*/ 113291 w 1987009"/>
              <a:gd name="connsiteY73" fmla="*/ 1384782 h 1884082"/>
              <a:gd name="connsiteX74" fmla="*/ 1548769 w 1987009"/>
              <a:gd name="connsiteY74" fmla="*/ 1298626 h 1884082"/>
              <a:gd name="connsiteX75" fmla="*/ 1738718 w 1987009"/>
              <a:gd name="connsiteY75" fmla="*/ 1445837 h 1884082"/>
              <a:gd name="connsiteX76" fmla="*/ 1896105 w 1987009"/>
              <a:gd name="connsiteY76" fmla="*/ 1563878 h 1884082"/>
              <a:gd name="connsiteX77" fmla="*/ 1897462 w 1987009"/>
              <a:gd name="connsiteY77" fmla="*/ 1572018 h 1884082"/>
              <a:gd name="connsiteX78" fmla="*/ 1868291 w 1987009"/>
              <a:gd name="connsiteY78" fmla="*/ 1610008 h 1884082"/>
              <a:gd name="connsiteX79" fmla="*/ 1860151 w 1987009"/>
              <a:gd name="connsiteY79" fmla="*/ 1611365 h 1884082"/>
              <a:gd name="connsiteX80" fmla="*/ 1730578 w 1987009"/>
              <a:gd name="connsiteY80" fmla="*/ 1510963 h 1884082"/>
              <a:gd name="connsiteX81" fmla="*/ 1712939 w 1987009"/>
              <a:gd name="connsiteY81" fmla="*/ 1629003 h 1884082"/>
              <a:gd name="connsiteX82" fmla="*/ 1494497 w 1987009"/>
              <a:gd name="connsiteY82" fmla="*/ 1633752 h 1884082"/>
              <a:gd name="connsiteX83" fmla="*/ 1440904 w 1987009"/>
              <a:gd name="connsiteY83" fmla="*/ 1420737 h 1884082"/>
              <a:gd name="connsiteX84" fmla="*/ 1550125 w 1987009"/>
              <a:gd name="connsiteY84" fmla="*/ 1372571 h 1884082"/>
              <a:gd name="connsiteX85" fmla="*/ 1513492 w 1987009"/>
              <a:gd name="connsiteY85" fmla="*/ 1346114 h 1884082"/>
              <a:gd name="connsiteX86" fmla="*/ 1512135 w 1987009"/>
              <a:gd name="connsiteY86" fmla="*/ 1337973 h 1884082"/>
              <a:gd name="connsiteX87" fmla="*/ 1540628 w 1987009"/>
              <a:gd name="connsiteY87" fmla="*/ 1299983 h 1884082"/>
              <a:gd name="connsiteX88" fmla="*/ 1548769 w 1987009"/>
              <a:gd name="connsiteY88" fmla="*/ 1298626 h 1884082"/>
              <a:gd name="connsiteX89" fmla="*/ 546105 w 1987009"/>
              <a:gd name="connsiteY89" fmla="*/ 1297947 h 1884082"/>
              <a:gd name="connsiteX90" fmla="*/ 554246 w 1987009"/>
              <a:gd name="connsiteY90" fmla="*/ 1299304 h 1884082"/>
              <a:gd name="connsiteX91" fmla="*/ 582738 w 1987009"/>
              <a:gd name="connsiteY91" fmla="*/ 1337294 h 1884082"/>
              <a:gd name="connsiteX92" fmla="*/ 581381 w 1987009"/>
              <a:gd name="connsiteY92" fmla="*/ 1345435 h 1884082"/>
              <a:gd name="connsiteX93" fmla="*/ 402964 w 1987009"/>
              <a:gd name="connsiteY93" fmla="*/ 1476365 h 1884082"/>
              <a:gd name="connsiteX94" fmla="*/ 232009 w 1987009"/>
              <a:gd name="connsiteY94" fmla="*/ 1608651 h 1884082"/>
              <a:gd name="connsiteX95" fmla="*/ 223869 w 1987009"/>
              <a:gd name="connsiteY95" fmla="*/ 1607294 h 1884082"/>
              <a:gd name="connsiteX96" fmla="*/ 195376 w 1987009"/>
              <a:gd name="connsiteY96" fmla="*/ 1569304 h 1884082"/>
              <a:gd name="connsiteX97" fmla="*/ 196733 w 1987009"/>
              <a:gd name="connsiteY97" fmla="*/ 1561164 h 1884082"/>
              <a:gd name="connsiteX98" fmla="*/ 370401 w 1987009"/>
              <a:gd name="connsiteY98" fmla="*/ 1433626 h 1884082"/>
              <a:gd name="connsiteX99" fmla="*/ 487763 w 1987009"/>
              <a:gd name="connsiteY99" fmla="*/ 1194153 h 1884082"/>
              <a:gd name="connsiteX100" fmla="*/ 495226 w 1987009"/>
              <a:gd name="connsiteY100" fmla="*/ 1196867 h 1884082"/>
              <a:gd name="connsiteX101" fmla="*/ 516934 w 1987009"/>
              <a:gd name="connsiteY101" fmla="*/ 1239606 h 1884082"/>
              <a:gd name="connsiteX102" fmla="*/ 514220 w 1987009"/>
              <a:gd name="connsiteY102" fmla="*/ 1247068 h 1884082"/>
              <a:gd name="connsiteX103" fmla="*/ 367009 w 1987009"/>
              <a:gd name="connsiteY103" fmla="*/ 1320334 h 1884082"/>
              <a:gd name="connsiteX104" fmla="*/ 229974 w 1987009"/>
              <a:gd name="connsiteY104" fmla="*/ 1391565 h 1884082"/>
              <a:gd name="connsiteX105" fmla="*/ 222512 w 1987009"/>
              <a:gd name="connsiteY105" fmla="*/ 1388852 h 1884082"/>
              <a:gd name="connsiteX106" fmla="*/ 200803 w 1987009"/>
              <a:gd name="connsiteY106" fmla="*/ 1346113 h 1884082"/>
              <a:gd name="connsiteX107" fmla="*/ 203517 w 1987009"/>
              <a:gd name="connsiteY107" fmla="*/ 1338651 h 1884082"/>
              <a:gd name="connsiteX108" fmla="*/ 341231 w 1987009"/>
              <a:gd name="connsiteY108" fmla="*/ 1270133 h 1884082"/>
              <a:gd name="connsiteX109" fmla="*/ 155352 w 1987009"/>
              <a:gd name="connsiteY109" fmla="*/ 1066615 h 1884082"/>
              <a:gd name="connsiteX110" fmla="*/ 162136 w 1987009"/>
              <a:gd name="connsiteY110" fmla="*/ 1070686 h 1884082"/>
              <a:gd name="connsiteX111" fmla="*/ 179095 w 1987009"/>
              <a:gd name="connsiteY111" fmla="*/ 1140560 h 1884082"/>
              <a:gd name="connsiteX112" fmla="*/ 312060 w 1987009"/>
              <a:gd name="connsiteY112" fmla="*/ 1107997 h 1884082"/>
              <a:gd name="connsiteX113" fmla="*/ 450452 w 1987009"/>
              <a:gd name="connsiteY113" fmla="*/ 1072721 h 1884082"/>
              <a:gd name="connsiteX114" fmla="*/ 457236 w 1987009"/>
              <a:gd name="connsiteY114" fmla="*/ 1076791 h 1884082"/>
              <a:gd name="connsiteX115" fmla="*/ 468769 w 1987009"/>
              <a:gd name="connsiteY115" fmla="*/ 1124957 h 1884082"/>
              <a:gd name="connsiteX116" fmla="*/ 464699 w 1987009"/>
              <a:gd name="connsiteY116" fmla="*/ 1131741 h 1884082"/>
              <a:gd name="connsiteX117" fmla="*/ 324950 w 1987009"/>
              <a:gd name="connsiteY117" fmla="*/ 1162947 h 1884082"/>
              <a:gd name="connsiteX118" fmla="*/ 191985 w 1987009"/>
              <a:gd name="connsiteY118" fmla="*/ 1194832 h 1884082"/>
              <a:gd name="connsiteX119" fmla="*/ 202839 w 1987009"/>
              <a:gd name="connsiteY119" fmla="*/ 1239605 h 1884082"/>
              <a:gd name="connsiteX120" fmla="*/ 198769 w 1987009"/>
              <a:gd name="connsiteY120" fmla="*/ 1246389 h 1884082"/>
              <a:gd name="connsiteX121" fmla="*/ 166206 w 1987009"/>
              <a:gd name="connsiteY121" fmla="*/ 1253852 h 1884082"/>
              <a:gd name="connsiteX122" fmla="*/ 159422 w 1987009"/>
              <a:gd name="connsiteY122" fmla="*/ 1249781 h 1884082"/>
              <a:gd name="connsiteX123" fmla="*/ 148568 w 1987009"/>
              <a:gd name="connsiteY123" fmla="*/ 1205008 h 1884082"/>
              <a:gd name="connsiteX124" fmla="*/ 120754 w 1987009"/>
              <a:gd name="connsiteY124" fmla="*/ 1211791 h 1884082"/>
              <a:gd name="connsiteX125" fmla="*/ 5427 w 1987009"/>
              <a:gd name="connsiteY125" fmla="*/ 1150736 h 1884082"/>
              <a:gd name="connsiteX126" fmla="*/ 0 w 1987009"/>
              <a:gd name="connsiteY126" fmla="*/ 1107997 h 1884082"/>
              <a:gd name="connsiteX127" fmla="*/ 5427 w 1987009"/>
              <a:gd name="connsiteY127" fmla="*/ 1100535 h 1884082"/>
              <a:gd name="connsiteX128" fmla="*/ 37312 w 1987009"/>
              <a:gd name="connsiteY128" fmla="*/ 1093073 h 1884082"/>
              <a:gd name="connsiteX129" fmla="*/ 42739 w 1987009"/>
              <a:gd name="connsiteY129" fmla="*/ 1097822 h 1884082"/>
              <a:gd name="connsiteX130" fmla="*/ 46131 w 1987009"/>
              <a:gd name="connsiteY130" fmla="*/ 1128349 h 1884082"/>
              <a:gd name="connsiteX131" fmla="*/ 111935 w 1987009"/>
              <a:gd name="connsiteY131" fmla="*/ 1156163 h 1884082"/>
              <a:gd name="connsiteX132" fmla="*/ 135678 w 1987009"/>
              <a:gd name="connsiteY132" fmla="*/ 1150736 h 1884082"/>
              <a:gd name="connsiteX133" fmla="*/ 118719 w 1987009"/>
              <a:gd name="connsiteY133" fmla="*/ 1080862 h 1884082"/>
              <a:gd name="connsiteX134" fmla="*/ 122789 w 1987009"/>
              <a:gd name="connsiteY134" fmla="*/ 1074078 h 1884082"/>
              <a:gd name="connsiteX135" fmla="*/ 1659346 w 1987009"/>
              <a:gd name="connsiteY135" fmla="*/ 1048978 h 1884082"/>
              <a:gd name="connsiteX136" fmla="*/ 1818768 w 1987009"/>
              <a:gd name="connsiteY136" fmla="*/ 1080862 h 1884082"/>
              <a:gd name="connsiteX137" fmla="*/ 1972085 w 1987009"/>
              <a:gd name="connsiteY137" fmla="*/ 1107998 h 1884082"/>
              <a:gd name="connsiteX138" fmla="*/ 1976834 w 1987009"/>
              <a:gd name="connsiteY138" fmla="*/ 1114782 h 1884082"/>
              <a:gd name="connsiteX139" fmla="*/ 1968015 w 1987009"/>
              <a:gd name="connsiteY139" fmla="*/ 1161591 h 1884082"/>
              <a:gd name="connsiteX140" fmla="*/ 1961231 w 1987009"/>
              <a:gd name="connsiteY140" fmla="*/ 1166340 h 1884082"/>
              <a:gd name="connsiteX141" fmla="*/ 1906959 w 1987009"/>
              <a:gd name="connsiteY141" fmla="*/ 1153450 h 1884082"/>
              <a:gd name="connsiteX142" fmla="*/ 1949698 w 1987009"/>
              <a:gd name="connsiteY142" fmla="*/ 1275561 h 1884082"/>
              <a:gd name="connsiteX143" fmla="*/ 1944271 w 1987009"/>
              <a:gd name="connsiteY143" fmla="*/ 1293878 h 1884082"/>
              <a:gd name="connsiteX144" fmla="*/ 1936130 w 1987009"/>
              <a:gd name="connsiteY144" fmla="*/ 1297948 h 1884082"/>
              <a:gd name="connsiteX145" fmla="*/ 1900854 w 1987009"/>
              <a:gd name="connsiteY145" fmla="*/ 1291164 h 1884082"/>
              <a:gd name="connsiteX146" fmla="*/ 1897462 w 1987009"/>
              <a:gd name="connsiteY146" fmla="*/ 1284380 h 1884082"/>
              <a:gd name="connsiteX147" fmla="*/ 1902211 w 1987009"/>
              <a:gd name="connsiteY147" fmla="*/ 1266064 h 1884082"/>
              <a:gd name="connsiteX148" fmla="*/ 1818090 w 1987009"/>
              <a:gd name="connsiteY148" fmla="*/ 1137169 h 1884082"/>
              <a:gd name="connsiteX149" fmla="*/ 1647814 w 1987009"/>
              <a:gd name="connsiteY149" fmla="*/ 1105963 h 1884082"/>
              <a:gd name="connsiteX150" fmla="*/ 1643065 w 1987009"/>
              <a:gd name="connsiteY150" fmla="*/ 1099179 h 1884082"/>
              <a:gd name="connsiteX151" fmla="*/ 1652562 w 1987009"/>
              <a:gd name="connsiteY151" fmla="*/ 1053727 h 1884082"/>
              <a:gd name="connsiteX152" fmla="*/ 1659346 w 1987009"/>
              <a:gd name="connsiteY152" fmla="*/ 1048978 h 1884082"/>
              <a:gd name="connsiteX153" fmla="*/ 260502 w 1987009"/>
              <a:gd name="connsiteY153" fmla="*/ 767445 h 1884082"/>
              <a:gd name="connsiteX154" fmla="*/ 153995 w 1987009"/>
              <a:gd name="connsiteY154" fmla="*/ 846817 h 1884082"/>
              <a:gd name="connsiteX155" fmla="*/ 240829 w 1987009"/>
              <a:gd name="connsiteY155" fmla="*/ 951290 h 1884082"/>
              <a:gd name="connsiteX156" fmla="*/ 301884 w 1987009"/>
              <a:gd name="connsiteY156" fmla="*/ 708425 h 1884082"/>
              <a:gd name="connsiteX157" fmla="*/ 307311 w 1987009"/>
              <a:gd name="connsiteY157" fmla="*/ 714531 h 1884082"/>
              <a:gd name="connsiteX158" fmla="*/ 280854 w 1987009"/>
              <a:gd name="connsiteY158" fmla="*/ 956717 h 1884082"/>
              <a:gd name="connsiteX159" fmla="*/ 412462 w 1987009"/>
              <a:gd name="connsiteY159" fmla="*/ 871239 h 1884082"/>
              <a:gd name="connsiteX160" fmla="*/ 348693 w 1987009"/>
              <a:gd name="connsiteY160" fmla="*/ 775586 h 1884082"/>
              <a:gd name="connsiteX161" fmla="*/ 343944 w 1987009"/>
              <a:gd name="connsiteY161" fmla="*/ 768124 h 1884082"/>
              <a:gd name="connsiteX162" fmla="*/ 348693 w 1987009"/>
              <a:gd name="connsiteY162" fmla="*/ 724707 h 1884082"/>
              <a:gd name="connsiteX163" fmla="*/ 354799 w 1987009"/>
              <a:gd name="connsiteY163" fmla="*/ 719958 h 1884082"/>
              <a:gd name="connsiteX164" fmla="*/ 455201 w 1987009"/>
              <a:gd name="connsiteY164" fmla="*/ 876667 h 1884082"/>
              <a:gd name="connsiteX165" fmla="*/ 267286 w 1987009"/>
              <a:gd name="connsiteY165" fmla="*/ 1015059 h 1884082"/>
              <a:gd name="connsiteX166" fmla="*/ 111256 w 1987009"/>
              <a:gd name="connsiteY166" fmla="*/ 842747 h 1884082"/>
              <a:gd name="connsiteX167" fmla="*/ 301884 w 1987009"/>
              <a:gd name="connsiteY167" fmla="*/ 708425 h 1884082"/>
              <a:gd name="connsiteX168" fmla="*/ 1965979 w 1987009"/>
              <a:gd name="connsiteY168" fmla="*/ 702998 h 1884082"/>
              <a:gd name="connsiteX169" fmla="*/ 1972085 w 1987009"/>
              <a:gd name="connsiteY169" fmla="*/ 708425 h 1884082"/>
              <a:gd name="connsiteX170" fmla="*/ 1974798 w 1987009"/>
              <a:gd name="connsiteY170" fmla="*/ 756591 h 1884082"/>
              <a:gd name="connsiteX171" fmla="*/ 1969371 w 1987009"/>
              <a:gd name="connsiteY171" fmla="*/ 762696 h 1884082"/>
              <a:gd name="connsiteX172" fmla="*/ 1834371 w 1987009"/>
              <a:gd name="connsiteY172" fmla="*/ 768802 h 1884082"/>
              <a:gd name="connsiteX173" fmla="*/ 1771281 w 1987009"/>
              <a:gd name="connsiteY173" fmla="*/ 772194 h 1884082"/>
              <a:gd name="connsiteX174" fmla="*/ 1688517 w 1987009"/>
              <a:gd name="connsiteY174" fmla="*/ 846817 h 1884082"/>
              <a:gd name="connsiteX175" fmla="*/ 1792989 w 1987009"/>
              <a:gd name="connsiteY175" fmla="*/ 932294 h 1884082"/>
              <a:gd name="connsiteX176" fmla="*/ 1843190 w 1987009"/>
              <a:gd name="connsiteY176" fmla="*/ 929581 h 1884082"/>
              <a:gd name="connsiteX177" fmla="*/ 1978190 w 1987009"/>
              <a:gd name="connsiteY177" fmla="*/ 921440 h 1884082"/>
              <a:gd name="connsiteX178" fmla="*/ 1984296 w 1987009"/>
              <a:gd name="connsiteY178" fmla="*/ 926867 h 1884082"/>
              <a:gd name="connsiteX179" fmla="*/ 1987009 w 1987009"/>
              <a:gd name="connsiteY179" fmla="*/ 975712 h 1884082"/>
              <a:gd name="connsiteX180" fmla="*/ 1981582 w 1987009"/>
              <a:gd name="connsiteY180" fmla="*/ 981817 h 1884082"/>
              <a:gd name="connsiteX181" fmla="*/ 1836406 w 1987009"/>
              <a:gd name="connsiteY181" fmla="*/ 987244 h 1884082"/>
              <a:gd name="connsiteX182" fmla="*/ 1662738 w 1987009"/>
              <a:gd name="connsiteY182" fmla="*/ 997420 h 1884082"/>
              <a:gd name="connsiteX183" fmla="*/ 1656633 w 1987009"/>
              <a:gd name="connsiteY183" fmla="*/ 991993 h 1884082"/>
              <a:gd name="connsiteX184" fmla="*/ 1653919 w 1987009"/>
              <a:gd name="connsiteY184" fmla="*/ 946541 h 1884082"/>
              <a:gd name="connsiteX185" fmla="*/ 1659346 w 1987009"/>
              <a:gd name="connsiteY185" fmla="*/ 940435 h 1884082"/>
              <a:gd name="connsiteX186" fmla="*/ 1710225 w 1987009"/>
              <a:gd name="connsiteY186" fmla="*/ 939078 h 1884082"/>
              <a:gd name="connsiteX187" fmla="*/ 1640351 w 1987009"/>
              <a:gd name="connsiteY187" fmla="*/ 831893 h 1884082"/>
              <a:gd name="connsiteX188" fmla="*/ 1765854 w 1987009"/>
              <a:gd name="connsiteY188" fmla="*/ 714531 h 1884082"/>
              <a:gd name="connsiteX189" fmla="*/ 1830979 w 1987009"/>
              <a:gd name="connsiteY189" fmla="*/ 711139 h 1884082"/>
              <a:gd name="connsiteX190" fmla="*/ 1738549 w 1987009"/>
              <a:gd name="connsiteY190" fmla="*/ 405184 h 1884082"/>
              <a:gd name="connsiteX191" fmla="*/ 1643065 w 1987009"/>
              <a:gd name="connsiteY191" fmla="*/ 431641 h 1884082"/>
              <a:gd name="connsiteX192" fmla="*/ 1577940 w 1987009"/>
              <a:gd name="connsiteY192" fmla="*/ 578852 h 1884082"/>
              <a:gd name="connsiteX193" fmla="*/ 1737362 w 1987009"/>
              <a:gd name="connsiteY193" fmla="*/ 599883 h 1884082"/>
              <a:gd name="connsiteX194" fmla="*/ 1804523 w 1987009"/>
              <a:gd name="connsiteY194" fmla="*/ 451993 h 1884082"/>
              <a:gd name="connsiteX195" fmla="*/ 1738549 w 1987009"/>
              <a:gd name="connsiteY195" fmla="*/ 405184 h 1884082"/>
              <a:gd name="connsiteX196" fmla="*/ 1743637 w 1987009"/>
              <a:gd name="connsiteY196" fmla="*/ 353287 h 1884082"/>
              <a:gd name="connsiteX197" fmla="*/ 1841834 w 1987009"/>
              <a:gd name="connsiteY197" fmla="*/ 430963 h 1884082"/>
              <a:gd name="connsiteX198" fmla="*/ 1767889 w 1987009"/>
              <a:gd name="connsiteY198" fmla="*/ 652119 h 1884082"/>
              <a:gd name="connsiteX199" fmla="*/ 1540628 w 1987009"/>
              <a:gd name="connsiteY199" fmla="*/ 599883 h 1884082"/>
              <a:gd name="connsiteX200" fmla="*/ 1613894 w 1987009"/>
              <a:gd name="connsiteY200" fmla="*/ 379405 h 1884082"/>
              <a:gd name="connsiteX201" fmla="*/ 1743637 w 1987009"/>
              <a:gd name="connsiteY201" fmla="*/ 353287 h 1884082"/>
              <a:gd name="connsiteX202" fmla="*/ 244220 w 1987009"/>
              <a:gd name="connsiteY202" fmla="*/ 274933 h 1884082"/>
              <a:gd name="connsiteX203" fmla="*/ 411783 w 1987009"/>
              <a:gd name="connsiteY203" fmla="*/ 410611 h 1884082"/>
              <a:gd name="connsiteX204" fmla="*/ 587487 w 1987009"/>
              <a:gd name="connsiteY204" fmla="*/ 546290 h 1884082"/>
              <a:gd name="connsiteX205" fmla="*/ 588165 w 1987009"/>
              <a:gd name="connsiteY205" fmla="*/ 554430 h 1884082"/>
              <a:gd name="connsiteX206" fmla="*/ 559673 w 1987009"/>
              <a:gd name="connsiteY206" fmla="*/ 591064 h 1884082"/>
              <a:gd name="connsiteX207" fmla="*/ 551532 w 1987009"/>
              <a:gd name="connsiteY207" fmla="*/ 591742 h 1884082"/>
              <a:gd name="connsiteX208" fmla="*/ 379220 w 1987009"/>
              <a:gd name="connsiteY208" fmla="*/ 452671 h 1884082"/>
              <a:gd name="connsiteX209" fmla="*/ 207587 w 1987009"/>
              <a:gd name="connsiteY209" fmla="*/ 321063 h 1884082"/>
              <a:gd name="connsiteX210" fmla="*/ 206909 w 1987009"/>
              <a:gd name="connsiteY210" fmla="*/ 312923 h 1884082"/>
              <a:gd name="connsiteX211" fmla="*/ 236080 w 1987009"/>
              <a:gd name="connsiteY211" fmla="*/ 275611 h 1884082"/>
              <a:gd name="connsiteX212" fmla="*/ 244220 w 1987009"/>
              <a:gd name="connsiteY212" fmla="*/ 274933 h 1884082"/>
              <a:gd name="connsiteX213" fmla="*/ 445703 w 1987009"/>
              <a:gd name="connsiteY213" fmla="*/ 230158 h 1884082"/>
              <a:gd name="connsiteX214" fmla="*/ 453844 w 1987009"/>
              <a:gd name="connsiteY214" fmla="*/ 230837 h 1884082"/>
              <a:gd name="connsiteX215" fmla="*/ 556959 w 1987009"/>
              <a:gd name="connsiteY215" fmla="*/ 344807 h 1884082"/>
              <a:gd name="connsiteX216" fmla="*/ 669572 w 1987009"/>
              <a:gd name="connsiteY216" fmla="*/ 465560 h 1884082"/>
              <a:gd name="connsiteX217" fmla="*/ 668894 w 1987009"/>
              <a:gd name="connsiteY217" fmla="*/ 473701 h 1884082"/>
              <a:gd name="connsiteX218" fmla="*/ 633618 w 1987009"/>
              <a:gd name="connsiteY218" fmla="*/ 505585 h 1884082"/>
              <a:gd name="connsiteX219" fmla="*/ 625477 w 1987009"/>
              <a:gd name="connsiteY219" fmla="*/ 504907 h 1884082"/>
              <a:gd name="connsiteX220" fmla="*/ 515577 w 1987009"/>
              <a:gd name="connsiteY220" fmla="*/ 383475 h 1884082"/>
              <a:gd name="connsiteX221" fmla="*/ 409748 w 1987009"/>
              <a:gd name="connsiteY221" fmla="*/ 270862 h 1884082"/>
              <a:gd name="connsiteX222" fmla="*/ 410427 w 1987009"/>
              <a:gd name="connsiteY222" fmla="*/ 262721 h 1884082"/>
              <a:gd name="connsiteX223" fmla="*/ 377185 w 1987009"/>
              <a:gd name="connsiteY223" fmla="*/ 154857 h 1884082"/>
              <a:gd name="connsiteX224" fmla="*/ 385326 w 1987009"/>
              <a:gd name="connsiteY224" fmla="*/ 155535 h 1884082"/>
              <a:gd name="connsiteX225" fmla="*/ 420603 w 1987009"/>
              <a:gd name="connsiteY225" fmla="*/ 194203 h 1884082"/>
              <a:gd name="connsiteX226" fmla="*/ 419924 w 1987009"/>
              <a:gd name="connsiteY226" fmla="*/ 202344 h 1884082"/>
              <a:gd name="connsiteX227" fmla="*/ 384648 w 1987009"/>
              <a:gd name="connsiteY227" fmla="*/ 234907 h 1884082"/>
              <a:gd name="connsiteX228" fmla="*/ 376507 w 1987009"/>
              <a:gd name="connsiteY228" fmla="*/ 234229 h 1884082"/>
              <a:gd name="connsiteX229" fmla="*/ 341231 w 1987009"/>
              <a:gd name="connsiteY229" fmla="*/ 195560 h 1884082"/>
              <a:gd name="connsiteX230" fmla="*/ 341909 w 1987009"/>
              <a:gd name="connsiteY230" fmla="*/ 187420 h 1884082"/>
              <a:gd name="connsiteX231" fmla="*/ 1431406 w 1987009"/>
              <a:gd name="connsiteY231" fmla="*/ 74806 h 1884082"/>
              <a:gd name="connsiteX232" fmla="*/ 1477537 w 1987009"/>
              <a:gd name="connsiteY232" fmla="*/ 103977 h 1884082"/>
              <a:gd name="connsiteX233" fmla="*/ 1481607 w 1987009"/>
              <a:gd name="connsiteY233" fmla="*/ 112118 h 1884082"/>
              <a:gd name="connsiteX234" fmla="*/ 1427336 w 1987009"/>
              <a:gd name="connsiteY234" fmla="*/ 373299 h 1884082"/>
              <a:gd name="connsiteX235" fmla="*/ 1626784 w 1987009"/>
              <a:gd name="connsiteY235" fmla="*/ 205058 h 1884082"/>
              <a:gd name="connsiteX236" fmla="*/ 1636281 w 1987009"/>
              <a:gd name="connsiteY236" fmla="*/ 204379 h 1884082"/>
              <a:gd name="connsiteX237" fmla="*/ 1677663 w 1987009"/>
              <a:gd name="connsiteY237" fmla="*/ 230158 h 1884082"/>
              <a:gd name="connsiteX238" fmla="*/ 1677663 w 1987009"/>
              <a:gd name="connsiteY238" fmla="*/ 236942 h 1884082"/>
              <a:gd name="connsiteX239" fmla="*/ 1322864 w 1987009"/>
              <a:gd name="connsiteY239" fmla="*/ 519153 h 1884082"/>
              <a:gd name="connsiteX240" fmla="*/ 1313366 w 1987009"/>
              <a:gd name="connsiteY240" fmla="*/ 519832 h 1884082"/>
              <a:gd name="connsiteX241" fmla="*/ 1276055 w 1987009"/>
              <a:gd name="connsiteY241" fmla="*/ 496088 h 1884082"/>
              <a:gd name="connsiteX242" fmla="*/ 1276055 w 1987009"/>
              <a:gd name="connsiteY242" fmla="*/ 489304 h 1884082"/>
              <a:gd name="connsiteX243" fmla="*/ 1360854 w 1987009"/>
              <a:gd name="connsiteY243" fmla="*/ 421465 h 1884082"/>
              <a:gd name="connsiteX244" fmla="*/ 1425301 w 1987009"/>
              <a:gd name="connsiteY244" fmla="*/ 76842 h 1884082"/>
              <a:gd name="connsiteX245" fmla="*/ 1431406 w 1987009"/>
              <a:gd name="connsiteY245" fmla="*/ 74806 h 1884082"/>
              <a:gd name="connsiteX246" fmla="*/ 1007411 w 1987009"/>
              <a:gd name="connsiteY246" fmla="*/ 42922 h 1884082"/>
              <a:gd name="connsiteX247" fmla="*/ 917185 w 1987009"/>
              <a:gd name="connsiteY247" fmla="*/ 144003 h 1884082"/>
              <a:gd name="connsiteX248" fmla="*/ 1101708 w 1987009"/>
              <a:gd name="connsiteY248" fmla="*/ 136541 h 1884082"/>
              <a:gd name="connsiteX249" fmla="*/ 1007411 w 1987009"/>
              <a:gd name="connsiteY249" fmla="*/ 42922 h 1884082"/>
              <a:gd name="connsiteX250" fmla="*/ 772688 w 1987009"/>
              <a:gd name="connsiteY250" fmla="*/ 36138 h 1884082"/>
              <a:gd name="connsiteX251" fmla="*/ 778115 w 1987009"/>
              <a:gd name="connsiteY251" fmla="*/ 38852 h 1884082"/>
              <a:gd name="connsiteX252" fmla="*/ 815427 w 1987009"/>
              <a:gd name="connsiteY252" fmla="*/ 378726 h 1884082"/>
              <a:gd name="connsiteX253" fmla="*/ 810678 w 1987009"/>
              <a:gd name="connsiteY253" fmla="*/ 386867 h 1884082"/>
              <a:gd name="connsiteX254" fmla="*/ 757764 w 1987009"/>
              <a:gd name="connsiteY254" fmla="*/ 412646 h 1884082"/>
              <a:gd name="connsiteX255" fmla="*/ 748266 w 1987009"/>
              <a:gd name="connsiteY255" fmla="*/ 411289 h 1884082"/>
              <a:gd name="connsiteX256" fmla="*/ 501331 w 1987009"/>
              <a:gd name="connsiteY256" fmla="*/ 175209 h 1884082"/>
              <a:gd name="connsiteX257" fmla="*/ 502688 w 1987009"/>
              <a:gd name="connsiteY257" fmla="*/ 169103 h 1884082"/>
              <a:gd name="connsiteX258" fmla="*/ 550176 w 1987009"/>
              <a:gd name="connsiteY258" fmla="*/ 146038 h 1884082"/>
              <a:gd name="connsiteX259" fmla="*/ 559673 w 1987009"/>
              <a:gd name="connsiteY259" fmla="*/ 148073 h 1884082"/>
              <a:gd name="connsiteX260" fmla="*/ 764547 w 1987009"/>
              <a:gd name="connsiteY260" fmla="*/ 354983 h 1884082"/>
              <a:gd name="connsiteX261" fmla="*/ 728593 w 1987009"/>
              <a:gd name="connsiteY261" fmla="*/ 64631 h 1884082"/>
              <a:gd name="connsiteX262" fmla="*/ 732663 w 1987009"/>
              <a:gd name="connsiteY262" fmla="*/ 55812 h 1884082"/>
              <a:gd name="connsiteX263" fmla="*/ 1005376 w 1987009"/>
              <a:gd name="connsiteY263" fmla="*/ 184 h 1884082"/>
              <a:gd name="connsiteX264" fmla="*/ 1166155 w 1987009"/>
              <a:gd name="connsiteY264" fmla="*/ 169103 h 1884082"/>
              <a:gd name="connsiteX265" fmla="*/ 1160728 w 1987009"/>
              <a:gd name="connsiteY265" fmla="*/ 175209 h 1884082"/>
              <a:gd name="connsiteX266" fmla="*/ 916507 w 1987009"/>
              <a:gd name="connsiteY266" fmla="*/ 184706 h 1884082"/>
              <a:gd name="connsiteX267" fmla="*/ 1020301 w 1987009"/>
              <a:gd name="connsiteY267" fmla="*/ 302747 h 1884082"/>
              <a:gd name="connsiteX268" fmla="*/ 1105100 w 1987009"/>
              <a:gd name="connsiteY268" fmla="*/ 225410 h 1884082"/>
              <a:gd name="connsiteX269" fmla="*/ 1111884 w 1987009"/>
              <a:gd name="connsiteY269" fmla="*/ 219304 h 1884082"/>
              <a:gd name="connsiteX270" fmla="*/ 1156657 w 1987009"/>
              <a:gd name="connsiteY270" fmla="*/ 217948 h 1884082"/>
              <a:gd name="connsiteX271" fmla="*/ 1162085 w 1987009"/>
              <a:gd name="connsiteY271" fmla="*/ 223375 h 1884082"/>
              <a:gd name="connsiteX272" fmla="*/ 1021657 w 1987009"/>
              <a:gd name="connsiteY272" fmla="*/ 345485 h 1884082"/>
              <a:gd name="connsiteX273" fmla="*/ 857487 w 1987009"/>
              <a:gd name="connsiteY273" fmla="*/ 179958 h 1884082"/>
              <a:gd name="connsiteX274" fmla="*/ 1005376 w 1987009"/>
              <a:gd name="connsiteY274" fmla="*/ 184 h 188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987009" h="1884082">
                <a:moveTo>
                  <a:pt x="1381206" y="1687344"/>
                </a:moveTo>
                <a:lnTo>
                  <a:pt x="1204824" y="1742294"/>
                </a:lnTo>
                <a:cubicBezTo>
                  <a:pt x="1222462" y="1792495"/>
                  <a:pt x="1264523" y="1826415"/>
                  <a:pt x="1320151" y="1808777"/>
                </a:cubicBezTo>
                <a:cubicBezTo>
                  <a:pt x="1372387" y="1792495"/>
                  <a:pt x="1391382" y="1749756"/>
                  <a:pt x="1381206" y="1687344"/>
                </a:cubicBezTo>
                <a:close/>
                <a:moveTo>
                  <a:pt x="904614" y="1538915"/>
                </a:moveTo>
                <a:cubicBezTo>
                  <a:pt x="921765" y="1536869"/>
                  <a:pt x="940420" y="1537251"/>
                  <a:pt x="959924" y="1540134"/>
                </a:cubicBezTo>
                <a:cubicBezTo>
                  <a:pt x="1046758" y="1553023"/>
                  <a:pt x="1097638" y="1599154"/>
                  <a:pt x="1089497" y="1675812"/>
                </a:cubicBezTo>
                <a:cubicBezTo>
                  <a:pt x="1088819" y="1679204"/>
                  <a:pt x="1086105" y="1681239"/>
                  <a:pt x="1082713" y="1680561"/>
                </a:cubicBezTo>
                <a:lnTo>
                  <a:pt x="1038618" y="1673777"/>
                </a:lnTo>
                <a:cubicBezTo>
                  <a:pt x="1035226" y="1673099"/>
                  <a:pt x="1033190" y="1670385"/>
                  <a:pt x="1033869" y="1666993"/>
                </a:cubicBezTo>
                <a:cubicBezTo>
                  <a:pt x="1038618" y="1615435"/>
                  <a:pt x="1010803" y="1587621"/>
                  <a:pt x="952462" y="1579480"/>
                </a:cubicBezTo>
                <a:cubicBezTo>
                  <a:pt x="904296" y="1572696"/>
                  <a:pt x="869698" y="1588300"/>
                  <a:pt x="864271" y="1624254"/>
                </a:cubicBezTo>
                <a:cubicBezTo>
                  <a:pt x="852060" y="1709732"/>
                  <a:pt x="1082035" y="1673099"/>
                  <a:pt x="1063040" y="1804707"/>
                </a:cubicBezTo>
                <a:cubicBezTo>
                  <a:pt x="1053542" y="1867797"/>
                  <a:pt x="997914" y="1892898"/>
                  <a:pt x="919899" y="1881365"/>
                </a:cubicBezTo>
                <a:cubicBezTo>
                  <a:pt x="843919" y="1870511"/>
                  <a:pt x="793040" y="1830485"/>
                  <a:pt x="797788" y="1761968"/>
                </a:cubicBezTo>
                <a:cubicBezTo>
                  <a:pt x="798467" y="1758576"/>
                  <a:pt x="801180" y="1756541"/>
                  <a:pt x="804572" y="1757219"/>
                </a:cubicBezTo>
                <a:lnTo>
                  <a:pt x="847311" y="1763325"/>
                </a:lnTo>
                <a:cubicBezTo>
                  <a:pt x="850703" y="1764003"/>
                  <a:pt x="852738" y="1766717"/>
                  <a:pt x="852738" y="1770109"/>
                </a:cubicBezTo>
                <a:cubicBezTo>
                  <a:pt x="850703" y="1812169"/>
                  <a:pt x="879195" y="1835913"/>
                  <a:pt x="926683" y="1842697"/>
                </a:cubicBezTo>
                <a:cubicBezTo>
                  <a:pt x="970778" y="1849481"/>
                  <a:pt x="1001984" y="1836591"/>
                  <a:pt x="1007412" y="1800636"/>
                </a:cubicBezTo>
                <a:cubicBezTo>
                  <a:pt x="1019623" y="1719229"/>
                  <a:pt x="788969" y="1757898"/>
                  <a:pt x="808643" y="1620862"/>
                </a:cubicBezTo>
                <a:cubicBezTo>
                  <a:pt x="815257" y="1573035"/>
                  <a:pt x="853162" y="1545052"/>
                  <a:pt x="904614" y="1538915"/>
                </a:cubicBezTo>
                <a:close/>
                <a:moveTo>
                  <a:pt x="1295718" y="1511683"/>
                </a:moveTo>
                <a:cubicBezTo>
                  <a:pt x="1359158" y="1517789"/>
                  <a:pt x="1406476" y="1564725"/>
                  <a:pt x="1429372" y="1636465"/>
                </a:cubicBezTo>
                <a:cubicBezTo>
                  <a:pt x="1459899" y="1734832"/>
                  <a:pt x="1424623" y="1819631"/>
                  <a:pt x="1333718" y="1848802"/>
                </a:cubicBezTo>
                <a:cubicBezTo>
                  <a:pt x="1242814" y="1877294"/>
                  <a:pt x="1168869" y="1831842"/>
                  <a:pt x="1134271" y="1727370"/>
                </a:cubicBezTo>
                <a:cubicBezTo>
                  <a:pt x="1133593" y="1723978"/>
                  <a:pt x="1134950" y="1721264"/>
                  <a:pt x="1138342" y="1719907"/>
                </a:cubicBezTo>
                <a:lnTo>
                  <a:pt x="1371030" y="1647319"/>
                </a:lnTo>
                <a:cubicBezTo>
                  <a:pt x="1345251" y="1572018"/>
                  <a:pt x="1301834" y="1541490"/>
                  <a:pt x="1240100" y="1560485"/>
                </a:cubicBezTo>
                <a:cubicBezTo>
                  <a:pt x="1193291" y="1574731"/>
                  <a:pt x="1172940" y="1608651"/>
                  <a:pt x="1178367" y="1656817"/>
                </a:cubicBezTo>
                <a:cubicBezTo>
                  <a:pt x="1179045" y="1660209"/>
                  <a:pt x="1176332" y="1663601"/>
                  <a:pt x="1173618" y="1664279"/>
                </a:cubicBezTo>
                <a:lnTo>
                  <a:pt x="1130201" y="1678525"/>
                </a:lnTo>
                <a:cubicBezTo>
                  <a:pt x="1126809" y="1679204"/>
                  <a:pt x="1124774" y="1677847"/>
                  <a:pt x="1123417" y="1674455"/>
                </a:cubicBezTo>
                <a:cubicBezTo>
                  <a:pt x="1113241" y="1607294"/>
                  <a:pt x="1145804" y="1544882"/>
                  <a:pt x="1227211" y="1519781"/>
                </a:cubicBezTo>
                <a:cubicBezTo>
                  <a:pt x="1251633" y="1512149"/>
                  <a:pt x="1274571" y="1509648"/>
                  <a:pt x="1295718" y="1511683"/>
                </a:cubicBezTo>
                <a:close/>
                <a:moveTo>
                  <a:pt x="688568" y="1443801"/>
                </a:moveTo>
                <a:cubicBezTo>
                  <a:pt x="701457" y="1446515"/>
                  <a:pt x="718417" y="1450585"/>
                  <a:pt x="731985" y="1458048"/>
                </a:cubicBezTo>
                <a:cubicBezTo>
                  <a:pt x="774723" y="1480435"/>
                  <a:pt x="798467" y="1521817"/>
                  <a:pt x="764548" y="1584907"/>
                </a:cubicBezTo>
                <a:lnTo>
                  <a:pt x="672965" y="1755862"/>
                </a:lnTo>
                <a:lnTo>
                  <a:pt x="705527" y="1772822"/>
                </a:lnTo>
                <a:cubicBezTo>
                  <a:pt x="708241" y="1774179"/>
                  <a:pt x="709598" y="1777570"/>
                  <a:pt x="707563" y="1780962"/>
                </a:cubicBezTo>
                <a:lnTo>
                  <a:pt x="691281" y="1810812"/>
                </a:lnTo>
                <a:cubicBezTo>
                  <a:pt x="689924" y="1813525"/>
                  <a:pt x="686532" y="1814882"/>
                  <a:pt x="683141" y="1813525"/>
                </a:cubicBezTo>
                <a:lnTo>
                  <a:pt x="650578" y="1796565"/>
                </a:lnTo>
                <a:lnTo>
                  <a:pt x="614623" y="1865083"/>
                </a:lnTo>
                <a:cubicBezTo>
                  <a:pt x="613266" y="1867797"/>
                  <a:pt x="609874" y="1869153"/>
                  <a:pt x="606482" y="1867118"/>
                </a:cubicBezTo>
                <a:lnTo>
                  <a:pt x="564422" y="1844731"/>
                </a:lnTo>
                <a:cubicBezTo>
                  <a:pt x="561708" y="1843375"/>
                  <a:pt x="560352" y="1839983"/>
                  <a:pt x="561708" y="1836591"/>
                </a:cubicBezTo>
                <a:lnTo>
                  <a:pt x="598342" y="1768751"/>
                </a:lnTo>
                <a:lnTo>
                  <a:pt x="531859" y="1732797"/>
                </a:lnTo>
                <a:cubicBezTo>
                  <a:pt x="529146" y="1731440"/>
                  <a:pt x="527789" y="1728048"/>
                  <a:pt x="529824" y="1724656"/>
                </a:cubicBezTo>
                <a:lnTo>
                  <a:pt x="546105" y="1694807"/>
                </a:lnTo>
                <a:cubicBezTo>
                  <a:pt x="547462" y="1692093"/>
                  <a:pt x="550854" y="1690736"/>
                  <a:pt x="554246" y="1692771"/>
                </a:cubicBezTo>
                <a:lnTo>
                  <a:pt x="620728" y="1728726"/>
                </a:lnTo>
                <a:lnTo>
                  <a:pt x="711633" y="1559128"/>
                </a:lnTo>
                <a:cubicBezTo>
                  <a:pt x="730628" y="1523852"/>
                  <a:pt x="724522" y="1506892"/>
                  <a:pt x="699422" y="1493324"/>
                </a:cubicBezTo>
                <a:cubicBezTo>
                  <a:pt x="687889" y="1487219"/>
                  <a:pt x="676357" y="1483148"/>
                  <a:pt x="667538" y="1480435"/>
                </a:cubicBezTo>
                <a:cubicBezTo>
                  <a:pt x="664146" y="1479756"/>
                  <a:pt x="662789" y="1476364"/>
                  <a:pt x="664146" y="1474329"/>
                </a:cubicBezTo>
                <a:lnTo>
                  <a:pt x="679749" y="1447872"/>
                </a:lnTo>
                <a:cubicBezTo>
                  <a:pt x="681105" y="1445158"/>
                  <a:pt x="685176" y="1443123"/>
                  <a:pt x="688568" y="1443801"/>
                </a:cubicBezTo>
                <a:close/>
                <a:moveTo>
                  <a:pt x="1553602" y="1402336"/>
                </a:moveTo>
                <a:cubicBezTo>
                  <a:pt x="1526212" y="1401063"/>
                  <a:pt x="1502638" y="1411918"/>
                  <a:pt x="1485000" y="1434983"/>
                </a:cubicBezTo>
                <a:cubicBezTo>
                  <a:pt x="1445653" y="1485184"/>
                  <a:pt x="1468718" y="1540812"/>
                  <a:pt x="1527738" y="1585586"/>
                </a:cubicBezTo>
                <a:cubicBezTo>
                  <a:pt x="1590150" y="1633074"/>
                  <a:pt x="1649849" y="1641893"/>
                  <a:pt x="1687839" y="1591692"/>
                </a:cubicBezTo>
                <a:cubicBezTo>
                  <a:pt x="1721759" y="1547596"/>
                  <a:pt x="1710226" y="1493325"/>
                  <a:pt x="1645100" y="1442445"/>
                </a:cubicBezTo>
                <a:cubicBezTo>
                  <a:pt x="1612198" y="1417006"/>
                  <a:pt x="1580992" y="1403607"/>
                  <a:pt x="1553602" y="1402336"/>
                </a:cubicBezTo>
                <a:close/>
                <a:moveTo>
                  <a:pt x="160100" y="1361038"/>
                </a:moveTo>
                <a:cubicBezTo>
                  <a:pt x="162813" y="1359681"/>
                  <a:pt x="166205" y="1361038"/>
                  <a:pt x="167562" y="1363751"/>
                </a:cubicBezTo>
                <a:lnTo>
                  <a:pt x="189271" y="1406490"/>
                </a:lnTo>
                <a:cubicBezTo>
                  <a:pt x="190628" y="1409204"/>
                  <a:pt x="189271" y="1412596"/>
                  <a:pt x="186557" y="1413952"/>
                </a:cubicBezTo>
                <a:lnTo>
                  <a:pt x="139748" y="1437696"/>
                </a:lnTo>
                <a:cubicBezTo>
                  <a:pt x="137035" y="1439053"/>
                  <a:pt x="133643" y="1437696"/>
                  <a:pt x="132286" y="1434982"/>
                </a:cubicBezTo>
                <a:lnTo>
                  <a:pt x="110577" y="1392244"/>
                </a:lnTo>
                <a:cubicBezTo>
                  <a:pt x="109220" y="1389530"/>
                  <a:pt x="110577" y="1386138"/>
                  <a:pt x="113291" y="1384782"/>
                </a:cubicBezTo>
                <a:close/>
                <a:moveTo>
                  <a:pt x="1548769" y="1298626"/>
                </a:moveTo>
                <a:lnTo>
                  <a:pt x="1738718" y="1445837"/>
                </a:lnTo>
                <a:lnTo>
                  <a:pt x="1896105" y="1563878"/>
                </a:lnTo>
                <a:cubicBezTo>
                  <a:pt x="1898819" y="1565913"/>
                  <a:pt x="1898819" y="1569305"/>
                  <a:pt x="1897462" y="1572018"/>
                </a:cubicBezTo>
                <a:lnTo>
                  <a:pt x="1868291" y="1610008"/>
                </a:lnTo>
                <a:cubicBezTo>
                  <a:pt x="1866256" y="1612722"/>
                  <a:pt x="1862864" y="1612722"/>
                  <a:pt x="1860151" y="1611365"/>
                </a:cubicBezTo>
                <a:lnTo>
                  <a:pt x="1730578" y="1510963"/>
                </a:lnTo>
                <a:cubicBezTo>
                  <a:pt x="1745502" y="1550310"/>
                  <a:pt x="1741432" y="1591692"/>
                  <a:pt x="1712939" y="1629003"/>
                </a:cubicBezTo>
                <a:cubicBezTo>
                  <a:pt x="1658668" y="1699556"/>
                  <a:pt x="1571155" y="1692094"/>
                  <a:pt x="1494497" y="1633752"/>
                </a:cubicBezTo>
                <a:cubicBezTo>
                  <a:pt x="1419196" y="1576767"/>
                  <a:pt x="1387990" y="1489933"/>
                  <a:pt x="1440904" y="1420737"/>
                </a:cubicBezTo>
                <a:cubicBezTo>
                  <a:pt x="1469397" y="1382747"/>
                  <a:pt x="1506708" y="1367144"/>
                  <a:pt x="1550125" y="1372571"/>
                </a:cubicBezTo>
                <a:lnTo>
                  <a:pt x="1513492" y="1346114"/>
                </a:lnTo>
                <a:cubicBezTo>
                  <a:pt x="1510779" y="1344079"/>
                  <a:pt x="1510779" y="1340687"/>
                  <a:pt x="1512135" y="1337973"/>
                </a:cubicBezTo>
                <a:lnTo>
                  <a:pt x="1540628" y="1299983"/>
                </a:lnTo>
                <a:cubicBezTo>
                  <a:pt x="1542663" y="1297269"/>
                  <a:pt x="1546055" y="1297269"/>
                  <a:pt x="1548769" y="1298626"/>
                </a:cubicBezTo>
                <a:close/>
                <a:moveTo>
                  <a:pt x="546105" y="1297947"/>
                </a:moveTo>
                <a:cubicBezTo>
                  <a:pt x="548819" y="1295912"/>
                  <a:pt x="552211" y="1296591"/>
                  <a:pt x="554246" y="1299304"/>
                </a:cubicBezTo>
                <a:lnTo>
                  <a:pt x="582738" y="1337294"/>
                </a:lnTo>
                <a:cubicBezTo>
                  <a:pt x="584773" y="1340008"/>
                  <a:pt x="584095" y="1343400"/>
                  <a:pt x="581381" y="1345435"/>
                </a:cubicBezTo>
                <a:lnTo>
                  <a:pt x="402964" y="1476365"/>
                </a:lnTo>
                <a:lnTo>
                  <a:pt x="232009" y="1608651"/>
                </a:lnTo>
                <a:cubicBezTo>
                  <a:pt x="229296" y="1610686"/>
                  <a:pt x="225904" y="1610008"/>
                  <a:pt x="223869" y="1607294"/>
                </a:cubicBezTo>
                <a:lnTo>
                  <a:pt x="195376" y="1569304"/>
                </a:lnTo>
                <a:cubicBezTo>
                  <a:pt x="193341" y="1566591"/>
                  <a:pt x="194020" y="1563199"/>
                  <a:pt x="196733" y="1561164"/>
                </a:cubicBezTo>
                <a:lnTo>
                  <a:pt x="370401" y="1433626"/>
                </a:lnTo>
                <a:close/>
                <a:moveTo>
                  <a:pt x="487763" y="1194153"/>
                </a:moveTo>
                <a:cubicBezTo>
                  <a:pt x="490477" y="1192797"/>
                  <a:pt x="493869" y="1194153"/>
                  <a:pt x="495226" y="1196867"/>
                </a:cubicBezTo>
                <a:lnTo>
                  <a:pt x="516934" y="1239606"/>
                </a:lnTo>
                <a:cubicBezTo>
                  <a:pt x="518291" y="1242319"/>
                  <a:pt x="516934" y="1245711"/>
                  <a:pt x="514220" y="1247068"/>
                </a:cubicBezTo>
                <a:lnTo>
                  <a:pt x="367009" y="1320334"/>
                </a:lnTo>
                <a:lnTo>
                  <a:pt x="229974" y="1391565"/>
                </a:lnTo>
                <a:cubicBezTo>
                  <a:pt x="227261" y="1392922"/>
                  <a:pt x="223869" y="1391565"/>
                  <a:pt x="222512" y="1388852"/>
                </a:cubicBezTo>
                <a:lnTo>
                  <a:pt x="200803" y="1346113"/>
                </a:lnTo>
                <a:cubicBezTo>
                  <a:pt x="199447" y="1343400"/>
                  <a:pt x="200803" y="1340008"/>
                  <a:pt x="203517" y="1338651"/>
                </a:cubicBezTo>
                <a:lnTo>
                  <a:pt x="341231" y="1270133"/>
                </a:lnTo>
                <a:close/>
                <a:moveTo>
                  <a:pt x="155352" y="1066615"/>
                </a:moveTo>
                <a:cubicBezTo>
                  <a:pt x="158744" y="1065937"/>
                  <a:pt x="161457" y="1067972"/>
                  <a:pt x="162136" y="1070686"/>
                </a:cubicBezTo>
                <a:lnTo>
                  <a:pt x="179095" y="1140560"/>
                </a:lnTo>
                <a:lnTo>
                  <a:pt x="312060" y="1107997"/>
                </a:lnTo>
                <a:lnTo>
                  <a:pt x="450452" y="1072721"/>
                </a:lnTo>
                <a:cubicBezTo>
                  <a:pt x="453844" y="1072043"/>
                  <a:pt x="456558" y="1074078"/>
                  <a:pt x="457236" y="1076791"/>
                </a:cubicBezTo>
                <a:lnTo>
                  <a:pt x="468769" y="1124957"/>
                </a:lnTo>
                <a:cubicBezTo>
                  <a:pt x="469447" y="1128349"/>
                  <a:pt x="467412" y="1131063"/>
                  <a:pt x="464699" y="1131741"/>
                </a:cubicBezTo>
                <a:lnTo>
                  <a:pt x="324950" y="1162947"/>
                </a:lnTo>
                <a:lnTo>
                  <a:pt x="191985" y="1194832"/>
                </a:lnTo>
                <a:lnTo>
                  <a:pt x="202839" y="1239605"/>
                </a:lnTo>
                <a:cubicBezTo>
                  <a:pt x="203518" y="1242997"/>
                  <a:pt x="201482" y="1245711"/>
                  <a:pt x="198769" y="1246389"/>
                </a:cubicBezTo>
                <a:lnTo>
                  <a:pt x="166206" y="1253852"/>
                </a:lnTo>
                <a:cubicBezTo>
                  <a:pt x="162814" y="1254530"/>
                  <a:pt x="160100" y="1252495"/>
                  <a:pt x="159422" y="1249781"/>
                </a:cubicBezTo>
                <a:lnTo>
                  <a:pt x="148568" y="1205008"/>
                </a:lnTo>
                <a:lnTo>
                  <a:pt x="120754" y="1211791"/>
                </a:lnTo>
                <a:cubicBezTo>
                  <a:pt x="50201" y="1228751"/>
                  <a:pt x="14925" y="1191440"/>
                  <a:pt x="5427" y="1150736"/>
                </a:cubicBezTo>
                <a:cubicBezTo>
                  <a:pt x="2035" y="1136490"/>
                  <a:pt x="0" y="1119530"/>
                  <a:pt x="0" y="1107997"/>
                </a:cubicBezTo>
                <a:cubicBezTo>
                  <a:pt x="0" y="1104605"/>
                  <a:pt x="2714" y="1101214"/>
                  <a:pt x="5427" y="1100535"/>
                </a:cubicBezTo>
                <a:lnTo>
                  <a:pt x="37312" y="1093073"/>
                </a:lnTo>
                <a:cubicBezTo>
                  <a:pt x="40025" y="1092394"/>
                  <a:pt x="42739" y="1094430"/>
                  <a:pt x="42739" y="1097822"/>
                </a:cubicBezTo>
                <a:cubicBezTo>
                  <a:pt x="42060" y="1107319"/>
                  <a:pt x="43417" y="1117495"/>
                  <a:pt x="46131" y="1128349"/>
                </a:cubicBezTo>
                <a:cubicBezTo>
                  <a:pt x="52236" y="1154128"/>
                  <a:pt x="71910" y="1165661"/>
                  <a:pt x="111935" y="1156163"/>
                </a:cubicBezTo>
                <a:lnTo>
                  <a:pt x="135678" y="1150736"/>
                </a:lnTo>
                <a:lnTo>
                  <a:pt x="118719" y="1080862"/>
                </a:lnTo>
                <a:cubicBezTo>
                  <a:pt x="118040" y="1077470"/>
                  <a:pt x="120075" y="1074756"/>
                  <a:pt x="122789" y="1074078"/>
                </a:cubicBezTo>
                <a:close/>
                <a:moveTo>
                  <a:pt x="1659346" y="1048978"/>
                </a:moveTo>
                <a:lnTo>
                  <a:pt x="1818768" y="1080862"/>
                </a:lnTo>
                <a:lnTo>
                  <a:pt x="1972085" y="1107998"/>
                </a:lnTo>
                <a:cubicBezTo>
                  <a:pt x="1975477" y="1108676"/>
                  <a:pt x="1977512" y="1111390"/>
                  <a:pt x="1976834" y="1114782"/>
                </a:cubicBezTo>
                <a:lnTo>
                  <a:pt x="1968015" y="1161591"/>
                </a:lnTo>
                <a:cubicBezTo>
                  <a:pt x="1967336" y="1164983"/>
                  <a:pt x="1964623" y="1167018"/>
                  <a:pt x="1961231" y="1166340"/>
                </a:cubicBezTo>
                <a:lnTo>
                  <a:pt x="1906959" y="1153450"/>
                </a:lnTo>
                <a:cubicBezTo>
                  <a:pt x="1944271" y="1184656"/>
                  <a:pt x="1958517" y="1230109"/>
                  <a:pt x="1949698" y="1275561"/>
                </a:cubicBezTo>
                <a:cubicBezTo>
                  <a:pt x="1948341" y="1282345"/>
                  <a:pt x="1946306" y="1288450"/>
                  <a:pt x="1944271" y="1293878"/>
                </a:cubicBezTo>
                <a:cubicBezTo>
                  <a:pt x="1942914" y="1296591"/>
                  <a:pt x="1939522" y="1298626"/>
                  <a:pt x="1936130" y="1297948"/>
                </a:cubicBezTo>
                <a:lnTo>
                  <a:pt x="1900854" y="1291164"/>
                </a:lnTo>
                <a:cubicBezTo>
                  <a:pt x="1898140" y="1290486"/>
                  <a:pt x="1896105" y="1287772"/>
                  <a:pt x="1897462" y="1284380"/>
                </a:cubicBezTo>
                <a:cubicBezTo>
                  <a:pt x="1898819" y="1279631"/>
                  <a:pt x="1900854" y="1273526"/>
                  <a:pt x="1902211" y="1266064"/>
                </a:cubicBezTo>
                <a:cubicBezTo>
                  <a:pt x="1912386" y="1211114"/>
                  <a:pt x="1887965" y="1157521"/>
                  <a:pt x="1818090" y="1137169"/>
                </a:cubicBezTo>
                <a:lnTo>
                  <a:pt x="1647814" y="1105963"/>
                </a:lnTo>
                <a:cubicBezTo>
                  <a:pt x="1644422" y="1105284"/>
                  <a:pt x="1642387" y="1102571"/>
                  <a:pt x="1643065" y="1099179"/>
                </a:cubicBezTo>
                <a:lnTo>
                  <a:pt x="1652562" y="1053727"/>
                </a:lnTo>
                <a:cubicBezTo>
                  <a:pt x="1653241" y="1050335"/>
                  <a:pt x="1655954" y="1048300"/>
                  <a:pt x="1659346" y="1048978"/>
                </a:cubicBezTo>
                <a:close/>
                <a:moveTo>
                  <a:pt x="260502" y="767445"/>
                </a:moveTo>
                <a:cubicBezTo>
                  <a:pt x="208266" y="763375"/>
                  <a:pt x="160100" y="788476"/>
                  <a:pt x="153995" y="846817"/>
                </a:cubicBezTo>
                <a:cubicBezTo>
                  <a:pt x="147889" y="901089"/>
                  <a:pt x="179774" y="936365"/>
                  <a:pt x="240829" y="951290"/>
                </a:cubicBezTo>
                <a:close/>
                <a:moveTo>
                  <a:pt x="301884" y="708425"/>
                </a:moveTo>
                <a:cubicBezTo>
                  <a:pt x="305276" y="709104"/>
                  <a:pt x="307311" y="711817"/>
                  <a:pt x="307311" y="714531"/>
                </a:cubicBezTo>
                <a:lnTo>
                  <a:pt x="280854" y="956717"/>
                </a:lnTo>
                <a:cubicBezTo>
                  <a:pt x="360226" y="963501"/>
                  <a:pt x="405678" y="935687"/>
                  <a:pt x="412462" y="871239"/>
                </a:cubicBezTo>
                <a:cubicBezTo>
                  <a:pt x="417889" y="823074"/>
                  <a:pt x="395502" y="790511"/>
                  <a:pt x="348693" y="775586"/>
                </a:cubicBezTo>
                <a:cubicBezTo>
                  <a:pt x="345301" y="774908"/>
                  <a:pt x="343266" y="770837"/>
                  <a:pt x="343944" y="768124"/>
                </a:cubicBezTo>
                <a:lnTo>
                  <a:pt x="348693" y="724707"/>
                </a:lnTo>
                <a:cubicBezTo>
                  <a:pt x="349372" y="721315"/>
                  <a:pt x="352085" y="719958"/>
                  <a:pt x="354799" y="719958"/>
                </a:cubicBezTo>
                <a:cubicBezTo>
                  <a:pt x="420603" y="737596"/>
                  <a:pt x="464020" y="792546"/>
                  <a:pt x="455201" y="876667"/>
                </a:cubicBezTo>
                <a:cubicBezTo>
                  <a:pt x="444347" y="978425"/>
                  <a:pt x="367688" y="1025913"/>
                  <a:pt x="267286" y="1015059"/>
                </a:cubicBezTo>
                <a:cubicBezTo>
                  <a:pt x="164849" y="1004204"/>
                  <a:pt x="101080" y="937722"/>
                  <a:pt x="111256" y="842747"/>
                </a:cubicBezTo>
                <a:cubicBezTo>
                  <a:pt x="121432" y="747772"/>
                  <a:pt x="192663" y="698928"/>
                  <a:pt x="301884" y="708425"/>
                </a:cubicBezTo>
                <a:close/>
                <a:moveTo>
                  <a:pt x="1965979" y="702998"/>
                </a:moveTo>
                <a:cubicBezTo>
                  <a:pt x="1969371" y="702998"/>
                  <a:pt x="1972085" y="705033"/>
                  <a:pt x="1972085" y="708425"/>
                </a:cubicBezTo>
                <a:lnTo>
                  <a:pt x="1974798" y="756591"/>
                </a:lnTo>
                <a:cubicBezTo>
                  <a:pt x="1974798" y="759983"/>
                  <a:pt x="1972763" y="762696"/>
                  <a:pt x="1969371" y="762696"/>
                </a:cubicBezTo>
                <a:lnTo>
                  <a:pt x="1834371" y="768802"/>
                </a:lnTo>
                <a:lnTo>
                  <a:pt x="1771281" y="772194"/>
                </a:lnTo>
                <a:cubicBezTo>
                  <a:pt x="1711582" y="775586"/>
                  <a:pt x="1686482" y="804757"/>
                  <a:pt x="1688517" y="846817"/>
                </a:cubicBezTo>
                <a:cubicBezTo>
                  <a:pt x="1690552" y="889556"/>
                  <a:pt x="1727185" y="923475"/>
                  <a:pt x="1792989" y="932294"/>
                </a:cubicBezTo>
                <a:lnTo>
                  <a:pt x="1843190" y="929581"/>
                </a:lnTo>
                <a:lnTo>
                  <a:pt x="1978190" y="921440"/>
                </a:lnTo>
                <a:cubicBezTo>
                  <a:pt x="1981582" y="921440"/>
                  <a:pt x="1984296" y="923475"/>
                  <a:pt x="1984296" y="926867"/>
                </a:cubicBezTo>
                <a:lnTo>
                  <a:pt x="1987009" y="975712"/>
                </a:lnTo>
                <a:cubicBezTo>
                  <a:pt x="1987009" y="979104"/>
                  <a:pt x="1984974" y="981817"/>
                  <a:pt x="1981582" y="981817"/>
                </a:cubicBezTo>
                <a:lnTo>
                  <a:pt x="1836406" y="987244"/>
                </a:lnTo>
                <a:lnTo>
                  <a:pt x="1662738" y="997420"/>
                </a:lnTo>
                <a:cubicBezTo>
                  <a:pt x="1659346" y="997420"/>
                  <a:pt x="1656633" y="995385"/>
                  <a:pt x="1656633" y="991993"/>
                </a:cubicBezTo>
                <a:lnTo>
                  <a:pt x="1653919" y="946541"/>
                </a:lnTo>
                <a:cubicBezTo>
                  <a:pt x="1653919" y="943149"/>
                  <a:pt x="1655954" y="940435"/>
                  <a:pt x="1659346" y="940435"/>
                </a:cubicBezTo>
                <a:lnTo>
                  <a:pt x="1710225" y="939078"/>
                </a:lnTo>
                <a:cubicBezTo>
                  <a:pt x="1675627" y="920084"/>
                  <a:pt x="1643065" y="884129"/>
                  <a:pt x="1640351" y="831893"/>
                </a:cubicBezTo>
                <a:cubicBezTo>
                  <a:pt x="1636959" y="764053"/>
                  <a:pt x="1679698" y="718601"/>
                  <a:pt x="1765854" y="714531"/>
                </a:cubicBezTo>
                <a:lnTo>
                  <a:pt x="1830979" y="711139"/>
                </a:lnTo>
                <a:close/>
                <a:moveTo>
                  <a:pt x="1738549" y="405184"/>
                </a:moveTo>
                <a:cubicBezTo>
                  <a:pt x="1711244" y="402131"/>
                  <a:pt x="1679020" y="411289"/>
                  <a:pt x="1643065" y="431641"/>
                </a:cubicBezTo>
                <a:cubicBezTo>
                  <a:pt x="1571156" y="472345"/>
                  <a:pt x="1546734" y="522546"/>
                  <a:pt x="1577940" y="578852"/>
                </a:cubicBezTo>
                <a:cubicBezTo>
                  <a:pt x="1609824" y="635159"/>
                  <a:pt x="1665452" y="639908"/>
                  <a:pt x="1737362" y="599883"/>
                </a:cubicBezTo>
                <a:cubicBezTo>
                  <a:pt x="1809271" y="559179"/>
                  <a:pt x="1835729" y="507621"/>
                  <a:pt x="1804523" y="451993"/>
                </a:cubicBezTo>
                <a:cubicBezTo>
                  <a:pt x="1788242" y="423500"/>
                  <a:pt x="1765855" y="408237"/>
                  <a:pt x="1738549" y="405184"/>
                </a:cubicBezTo>
                <a:close/>
                <a:moveTo>
                  <a:pt x="1743637" y="353287"/>
                </a:moveTo>
                <a:cubicBezTo>
                  <a:pt x="1783153" y="361597"/>
                  <a:pt x="1817412" y="387206"/>
                  <a:pt x="1841834" y="430963"/>
                </a:cubicBezTo>
                <a:cubicBezTo>
                  <a:pt x="1891357" y="518475"/>
                  <a:pt x="1858794" y="601239"/>
                  <a:pt x="1767889" y="652119"/>
                </a:cubicBezTo>
                <a:cubicBezTo>
                  <a:pt x="1677663" y="702998"/>
                  <a:pt x="1590151" y="688074"/>
                  <a:pt x="1540628" y="599883"/>
                </a:cubicBezTo>
                <a:cubicBezTo>
                  <a:pt x="1491784" y="512370"/>
                  <a:pt x="1523668" y="430285"/>
                  <a:pt x="1613894" y="379405"/>
                </a:cubicBezTo>
                <a:cubicBezTo>
                  <a:pt x="1659346" y="353965"/>
                  <a:pt x="1704120" y="344977"/>
                  <a:pt x="1743637" y="353287"/>
                </a:cubicBezTo>
                <a:close/>
                <a:moveTo>
                  <a:pt x="244220" y="274933"/>
                </a:moveTo>
                <a:lnTo>
                  <a:pt x="411783" y="410611"/>
                </a:lnTo>
                <a:lnTo>
                  <a:pt x="587487" y="546290"/>
                </a:lnTo>
                <a:cubicBezTo>
                  <a:pt x="590200" y="548325"/>
                  <a:pt x="590200" y="551717"/>
                  <a:pt x="588165" y="554430"/>
                </a:cubicBezTo>
                <a:lnTo>
                  <a:pt x="559673" y="591064"/>
                </a:lnTo>
                <a:cubicBezTo>
                  <a:pt x="557637" y="593777"/>
                  <a:pt x="554245" y="593777"/>
                  <a:pt x="551532" y="591742"/>
                </a:cubicBezTo>
                <a:lnTo>
                  <a:pt x="379220" y="452671"/>
                </a:lnTo>
                <a:lnTo>
                  <a:pt x="207587" y="321063"/>
                </a:lnTo>
                <a:cubicBezTo>
                  <a:pt x="204874" y="319028"/>
                  <a:pt x="204874" y="315636"/>
                  <a:pt x="206909" y="312923"/>
                </a:cubicBezTo>
                <a:lnTo>
                  <a:pt x="236080" y="275611"/>
                </a:lnTo>
                <a:cubicBezTo>
                  <a:pt x="238115" y="272898"/>
                  <a:pt x="241507" y="272898"/>
                  <a:pt x="244220" y="274933"/>
                </a:cubicBezTo>
                <a:close/>
                <a:moveTo>
                  <a:pt x="445703" y="230158"/>
                </a:moveTo>
                <a:cubicBezTo>
                  <a:pt x="447738" y="228123"/>
                  <a:pt x="451809" y="228123"/>
                  <a:pt x="453844" y="230837"/>
                </a:cubicBezTo>
                <a:lnTo>
                  <a:pt x="556959" y="344807"/>
                </a:lnTo>
                <a:lnTo>
                  <a:pt x="669572" y="465560"/>
                </a:lnTo>
                <a:cubicBezTo>
                  <a:pt x="671608" y="467596"/>
                  <a:pt x="671608" y="471666"/>
                  <a:pt x="668894" y="473701"/>
                </a:cubicBezTo>
                <a:lnTo>
                  <a:pt x="633618" y="505585"/>
                </a:lnTo>
                <a:cubicBezTo>
                  <a:pt x="631582" y="507621"/>
                  <a:pt x="627512" y="507621"/>
                  <a:pt x="625477" y="504907"/>
                </a:cubicBezTo>
                <a:lnTo>
                  <a:pt x="515577" y="383475"/>
                </a:lnTo>
                <a:lnTo>
                  <a:pt x="409748" y="270862"/>
                </a:lnTo>
                <a:cubicBezTo>
                  <a:pt x="407713" y="268827"/>
                  <a:pt x="407713" y="264756"/>
                  <a:pt x="410427" y="262721"/>
                </a:cubicBezTo>
                <a:close/>
                <a:moveTo>
                  <a:pt x="377185" y="154857"/>
                </a:moveTo>
                <a:cubicBezTo>
                  <a:pt x="379221" y="152822"/>
                  <a:pt x="383291" y="152822"/>
                  <a:pt x="385326" y="155535"/>
                </a:cubicBezTo>
                <a:lnTo>
                  <a:pt x="420603" y="194203"/>
                </a:lnTo>
                <a:cubicBezTo>
                  <a:pt x="422638" y="196239"/>
                  <a:pt x="422638" y="200309"/>
                  <a:pt x="419924" y="202344"/>
                </a:cubicBezTo>
                <a:lnTo>
                  <a:pt x="384648" y="234907"/>
                </a:lnTo>
                <a:cubicBezTo>
                  <a:pt x="382613" y="236942"/>
                  <a:pt x="378542" y="236942"/>
                  <a:pt x="376507" y="234229"/>
                </a:cubicBezTo>
                <a:lnTo>
                  <a:pt x="341231" y="195560"/>
                </a:lnTo>
                <a:cubicBezTo>
                  <a:pt x="339196" y="193525"/>
                  <a:pt x="339196" y="189455"/>
                  <a:pt x="341909" y="187420"/>
                </a:cubicBezTo>
                <a:close/>
                <a:moveTo>
                  <a:pt x="1431406" y="74806"/>
                </a:moveTo>
                <a:lnTo>
                  <a:pt x="1477537" y="103977"/>
                </a:lnTo>
                <a:cubicBezTo>
                  <a:pt x="1480251" y="106012"/>
                  <a:pt x="1481607" y="109404"/>
                  <a:pt x="1481607" y="112118"/>
                </a:cubicBezTo>
                <a:lnTo>
                  <a:pt x="1427336" y="373299"/>
                </a:lnTo>
                <a:lnTo>
                  <a:pt x="1626784" y="205058"/>
                </a:lnTo>
                <a:cubicBezTo>
                  <a:pt x="1629497" y="203023"/>
                  <a:pt x="1633567" y="202344"/>
                  <a:pt x="1636281" y="204379"/>
                </a:cubicBezTo>
                <a:lnTo>
                  <a:pt x="1677663" y="230158"/>
                </a:lnTo>
                <a:cubicBezTo>
                  <a:pt x="1680376" y="232193"/>
                  <a:pt x="1680376" y="234907"/>
                  <a:pt x="1677663" y="236942"/>
                </a:cubicBezTo>
                <a:lnTo>
                  <a:pt x="1322864" y="519153"/>
                </a:lnTo>
                <a:cubicBezTo>
                  <a:pt x="1320150" y="521188"/>
                  <a:pt x="1316080" y="521867"/>
                  <a:pt x="1313366" y="519832"/>
                </a:cubicBezTo>
                <a:lnTo>
                  <a:pt x="1276055" y="496088"/>
                </a:lnTo>
                <a:cubicBezTo>
                  <a:pt x="1274020" y="494731"/>
                  <a:pt x="1273341" y="491339"/>
                  <a:pt x="1276055" y="489304"/>
                </a:cubicBezTo>
                <a:lnTo>
                  <a:pt x="1360854" y="421465"/>
                </a:lnTo>
                <a:lnTo>
                  <a:pt x="1425301" y="76842"/>
                </a:lnTo>
                <a:cubicBezTo>
                  <a:pt x="1425979" y="74128"/>
                  <a:pt x="1429371" y="73450"/>
                  <a:pt x="1431406" y="74806"/>
                </a:cubicBezTo>
                <a:close/>
                <a:moveTo>
                  <a:pt x="1007411" y="42922"/>
                </a:moveTo>
                <a:cubicBezTo>
                  <a:pt x="953140" y="44958"/>
                  <a:pt x="922612" y="81591"/>
                  <a:pt x="917185" y="144003"/>
                </a:cubicBezTo>
                <a:lnTo>
                  <a:pt x="1101708" y="136541"/>
                </a:lnTo>
                <a:cubicBezTo>
                  <a:pt x="1097637" y="84304"/>
                  <a:pt x="1065753" y="40209"/>
                  <a:pt x="1007411" y="42922"/>
                </a:cubicBezTo>
                <a:close/>
                <a:moveTo>
                  <a:pt x="772688" y="36138"/>
                </a:moveTo>
                <a:cubicBezTo>
                  <a:pt x="775402" y="34782"/>
                  <a:pt x="778115" y="36817"/>
                  <a:pt x="778115" y="38852"/>
                </a:cubicBezTo>
                <a:lnTo>
                  <a:pt x="815427" y="378726"/>
                </a:lnTo>
                <a:cubicBezTo>
                  <a:pt x="815427" y="381440"/>
                  <a:pt x="813392" y="385510"/>
                  <a:pt x="810678" y="386867"/>
                </a:cubicBezTo>
                <a:lnTo>
                  <a:pt x="757764" y="412646"/>
                </a:lnTo>
                <a:cubicBezTo>
                  <a:pt x="755050" y="414003"/>
                  <a:pt x="750980" y="413324"/>
                  <a:pt x="748266" y="411289"/>
                </a:cubicBezTo>
                <a:lnTo>
                  <a:pt x="501331" y="175209"/>
                </a:lnTo>
                <a:cubicBezTo>
                  <a:pt x="499296" y="173174"/>
                  <a:pt x="499975" y="169782"/>
                  <a:pt x="502688" y="169103"/>
                </a:cubicBezTo>
                <a:lnTo>
                  <a:pt x="550176" y="146038"/>
                </a:lnTo>
                <a:cubicBezTo>
                  <a:pt x="552889" y="144681"/>
                  <a:pt x="556959" y="145359"/>
                  <a:pt x="559673" y="148073"/>
                </a:cubicBezTo>
                <a:lnTo>
                  <a:pt x="764547" y="354983"/>
                </a:lnTo>
                <a:lnTo>
                  <a:pt x="728593" y="64631"/>
                </a:lnTo>
                <a:cubicBezTo>
                  <a:pt x="728593" y="61239"/>
                  <a:pt x="729949" y="57168"/>
                  <a:pt x="732663" y="55812"/>
                </a:cubicBezTo>
                <a:close/>
                <a:moveTo>
                  <a:pt x="1005376" y="184"/>
                </a:moveTo>
                <a:cubicBezTo>
                  <a:pt x="1101029" y="-3887"/>
                  <a:pt x="1160049" y="59882"/>
                  <a:pt x="1166155" y="169103"/>
                </a:cubicBezTo>
                <a:cubicBezTo>
                  <a:pt x="1166155" y="172495"/>
                  <a:pt x="1164120" y="175209"/>
                  <a:pt x="1160728" y="175209"/>
                </a:cubicBezTo>
                <a:lnTo>
                  <a:pt x="916507" y="184706"/>
                </a:lnTo>
                <a:cubicBezTo>
                  <a:pt x="921255" y="264078"/>
                  <a:pt x="955853" y="305460"/>
                  <a:pt x="1020301" y="302747"/>
                </a:cubicBezTo>
                <a:cubicBezTo>
                  <a:pt x="1069145" y="300712"/>
                  <a:pt x="1097637" y="274254"/>
                  <a:pt x="1105100" y="225410"/>
                </a:cubicBezTo>
                <a:cubicBezTo>
                  <a:pt x="1105778" y="222018"/>
                  <a:pt x="1108492" y="219304"/>
                  <a:pt x="1111884" y="219304"/>
                </a:cubicBezTo>
                <a:lnTo>
                  <a:pt x="1156657" y="217948"/>
                </a:lnTo>
                <a:cubicBezTo>
                  <a:pt x="1160049" y="217948"/>
                  <a:pt x="1162085" y="219983"/>
                  <a:pt x="1162085" y="223375"/>
                </a:cubicBezTo>
                <a:cubicBezTo>
                  <a:pt x="1154622" y="291214"/>
                  <a:pt x="1106456" y="342093"/>
                  <a:pt x="1021657" y="345485"/>
                </a:cubicBezTo>
                <a:cubicBezTo>
                  <a:pt x="919220" y="349556"/>
                  <a:pt x="860879" y="280360"/>
                  <a:pt x="857487" y="179958"/>
                </a:cubicBezTo>
                <a:cubicBezTo>
                  <a:pt x="853416" y="76842"/>
                  <a:pt x="909723" y="4254"/>
                  <a:pt x="1005376" y="184"/>
                </a:cubicBezTo>
                <a:close/>
              </a:path>
            </a:pathLst>
          </a:custGeom>
          <a:solidFill>
            <a:schemeClr val="tx1"/>
          </a:solidFill>
        </p:spPr>
        <p:txBody>
          <a:bodyPr wrap="square">
            <a:noAutofit/>
          </a:bodyPr>
          <a:lstStyle/>
          <a:p>
            <a:pPr lvl="0"/>
            <a:r>
              <a:rPr lang="en-US"/>
              <a:t>  </a:t>
            </a:r>
          </a:p>
        </p:txBody>
      </p:sp>
      <p:sp>
        <p:nvSpPr>
          <p:cNvPr id="7" name="LYBL 2" descr="live your best life tagline graphic">
            <a:extLst>
              <a:ext uri="{FF2B5EF4-FFF2-40B4-BE49-F238E27FC236}">
                <a16:creationId xmlns:a16="http://schemas.microsoft.com/office/drawing/2014/main" id="{8F483CF5-2919-4013-76A5-FB811323EDA3}"/>
              </a:ext>
            </a:extLst>
          </p:cNvPr>
          <p:cNvSpPr>
            <a:spLocks noGrp="1"/>
          </p:cNvSpPr>
          <p:nvPr>
            <p:ph type="body" sz="quarter" idx="20" hasCustomPrompt="1"/>
          </p:nvPr>
        </p:nvSpPr>
        <p:spPr>
          <a:xfrm>
            <a:off x="13215362" y="3568413"/>
            <a:ext cx="1501783" cy="711174"/>
          </a:xfrm>
          <a:custGeom>
            <a:avLst/>
            <a:gdLst>
              <a:gd name="connsiteX0" fmla="*/ 100336 w 1501783"/>
              <a:gd name="connsiteY0" fmla="*/ 507251 h 711174"/>
              <a:gd name="connsiteX1" fmla="*/ 37626 w 1501783"/>
              <a:gd name="connsiteY1" fmla="*/ 591793 h 711174"/>
              <a:gd name="connsiteX2" fmla="*/ 99407 w 1501783"/>
              <a:gd name="connsiteY2" fmla="*/ 680980 h 711174"/>
              <a:gd name="connsiteX3" fmla="*/ 163046 w 1501783"/>
              <a:gd name="connsiteY3" fmla="*/ 595974 h 711174"/>
              <a:gd name="connsiteX4" fmla="*/ 100336 w 1501783"/>
              <a:gd name="connsiteY4" fmla="*/ 507251 h 711174"/>
              <a:gd name="connsiteX5" fmla="*/ 327484 w 1501783"/>
              <a:gd name="connsiteY5" fmla="*/ 505858 h 711174"/>
              <a:gd name="connsiteX6" fmla="*/ 263381 w 1501783"/>
              <a:gd name="connsiteY6" fmla="*/ 571819 h 711174"/>
              <a:gd name="connsiteX7" fmla="*/ 388801 w 1501783"/>
              <a:gd name="connsiteY7" fmla="*/ 571819 h 711174"/>
              <a:gd name="connsiteX8" fmla="*/ 327484 w 1501783"/>
              <a:gd name="connsiteY8" fmla="*/ 505858 h 711174"/>
              <a:gd name="connsiteX9" fmla="*/ 1302505 w 1501783"/>
              <a:gd name="connsiteY9" fmla="*/ 504929 h 711174"/>
              <a:gd name="connsiteX10" fmla="*/ 1238402 w 1501783"/>
              <a:gd name="connsiteY10" fmla="*/ 570890 h 711174"/>
              <a:gd name="connsiteX11" fmla="*/ 1363822 w 1501783"/>
              <a:gd name="connsiteY11" fmla="*/ 570890 h 711174"/>
              <a:gd name="connsiteX12" fmla="*/ 1302505 w 1501783"/>
              <a:gd name="connsiteY12" fmla="*/ 504929 h 711174"/>
              <a:gd name="connsiteX13" fmla="*/ 1005215 w 1501783"/>
              <a:gd name="connsiteY13" fmla="*/ 481703 h 711174"/>
              <a:gd name="connsiteX14" fmla="*/ 1037731 w 1501783"/>
              <a:gd name="connsiteY14" fmla="*/ 481703 h 711174"/>
              <a:gd name="connsiteX15" fmla="*/ 1041448 w 1501783"/>
              <a:gd name="connsiteY15" fmla="*/ 485419 h 711174"/>
              <a:gd name="connsiteX16" fmla="*/ 1040518 w 1501783"/>
              <a:gd name="connsiteY16" fmla="*/ 589935 h 711174"/>
              <a:gd name="connsiteX17" fmla="*/ 1041448 w 1501783"/>
              <a:gd name="connsiteY17" fmla="*/ 701884 h 711174"/>
              <a:gd name="connsiteX18" fmla="*/ 1037731 w 1501783"/>
              <a:gd name="connsiteY18" fmla="*/ 705600 h 711174"/>
              <a:gd name="connsiteX19" fmla="*/ 1005215 w 1501783"/>
              <a:gd name="connsiteY19" fmla="*/ 705600 h 711174"/>
              <a:gd name="connsiteX20" fmla="*/ 1001499 w 1501783"/>
              <a:gd name="connsiteY20" fmla="*/ 701884 h 711174"/>
              <a:gd name="connsiteX21" fmla="*/ 1002428 w 1501783"/>
              <a:gd name="connsiteY21" fmla="*/ 590400 h 711174"/>
              <a:gd name="connsiteX22" fmla="*/ 1001499 w 1501783"/>
              <a:gd name="connsiteY22" fmla="*/ 485419 h 711174"/>
              <a:gd name="connsiteX23" fmla="*/ 1005215 w 1501783"/>
              <a:gd name="connsiteY23" fmla="*/ 481703 h 711174"/>
              <a:gd name="connsiteX24" fmla="*/ 544878 w 1501783"/>
              <a:gd name="connsiteY24" fmla="*/ 477987 h 711174"/>
              <a:gd name="connsiteX25" fmla="*/ 638246 w 1501783"/>
              <a:gd name="connsiteY25" fmla="*/ 546271 h 711174"/>
              <a:gd name="connsiteX26" fmla="*/ 634530 w 1501783"/>
              <a:gd name="connsiteY26" fmla="*/ 549987 h 711174"/>
              <a:gd name="connsiteX27" fmla="*/ 605265 w 1501783"/>
              <a:gd name="connsiteY27" fmla="*/ 549987 h 711174"/>
              <a:gd name="connsiteX28" fmla="*/ 601085 w 1501783"/>
              <a:gd name="connsiteY28" fmla="*/ 546271 h 711174"/>
              <a:gd name="connsiteX29" fmla="*/ 544413 w 1501783"/>
              <a:gd name="connsiteY29" fmla="*/ 504929 h 711174"/>
              <a:gd name="connsiteX30" fmla="*/ 494246 w 1501783"/>
              <a:gd name="connsiteY30" fmla="*/ 541161 h 711174"/>
              <a:gd name="connsiteX31" fmla="*/ 645214 w 1501783"/>
              <a:gd name="connsiteY31" fmla="*/ 642426 h 711174"/>
              <a:gd name="connsiteX32" fmla="*/ 551381 w 1501783"/>
              <a:gd name="connsiteY32" fmla="*/ 710710 h 711174"/>
              <a:gd name="connsiteX33" fmla="*/ 451510 w 1501783"/>
              <a:gd name="connsiteY33" fmla="*/ 632671 h 711174"/>
              <a:gd name="connsiteX34" fmla="*/ 455226 w 1501783"/>
              <a:gd name="connsiteY34" fmla="*/ 628955 h 711174"/>
              <a:gd name="connsiteX35" fmla="*/ 485884 w 1501783"/>
              <a:gd name="connsiteY35" fmla="*/ 628955 h 711174"/>
              <a:gd name="connsiteX36" fmla="*/ 489600 w 1501783"/>
              <a:gd name="connsiteY36" fmla="*/ 632671 h 711174"/>
              <a:gd name="connsiteX37" fmla="*/ 552775 w 1501783"/>
              <a:gd name="connsiteY37" fmla="*/ 683768 h 711174"/>
              <a:gd name="connsiteX38" fmla="*/ 607588 w 1501783"/>
              <a:gd name="connsiteY38" fmla="*/ 645213 h 711174"/>
              <a:gd name="connsiteX39" fmla="*/ 456620 w 1501783"/>
              <a:gd name="connsiteY39" fmla="*/ 543484 h 711174"/>
              <a:gd name="connsiteX40" fmla="*/ 544878 w 1501783"/>
              <a:gd name="connsiteY40" fmla="*/ 477987 h 711174"/>
              <a:gd name="connsiteX41" fmla="*/ 327020 w 1501783"/>
              <a:gd name="connsiteY41" fmla="*/ 476593 h 711174"/>
              <a:gd name="connsiteX42" fmla="*/ 431536 w 1501783"/>
              <a:gd name="connsiteY42" fmla="*/ 595509 h 711174"/>
              <a:gd name="connsiteX43" fmla="*/ 427820 w 1501783"/>
              <a:gd name="connsiteY43" fmla="*/ 599225 h 711174"/>
              <a:gd name="connsiteX44" fmla="*/ 262452 w 1501783"/>
              <a:gd name="connsiteY44" fmla="*/ 599225 h 711174"/>
              <a:gd name="connsiteX45" fmla="*/ 329807 w 1501783"/>
              <a:gd name="connsiteY45" fmla="*/ 681909 h 711174"/>
              <a:gd name="connsiteX46" fmla="*/ 389265 w 1501783"/>
              <a:gd name="connsiteY46" fmla="*/ 631741 h 711174"/>
              <a:gd name="connsiteX47" fmla="*/ 393910 w 1501783"/>
              <a:gd name="connsiteY47" fmla="*/ 628025 h 711174"/>
              <a:gd name="connsiteX48" fmla="*/ 424104 w 1501783"/>
              <a:gd name="connsiteY48" fmla="*/ 628025 h 711174"/>
              <a:gd name="connsiteX49" fmla="*/ 424104 w 1501783"/>
              <a:gd name="connsiteY49" fmla="*/ 628490 h 711174"/>
              <a:gd name="connsiteX50" fmla="*/ 427356 w 1501783"/>
              <a:gd name="connsiteY50" fmla="*/ 632206 h 711174"/>
              <a:gd name="connsiteX51" fmla="*/ 328878 w 1501783"/>
              <a:gd name="connsiteY51" fmla="*/ 711174 h 711174"/>
              <a:gd name="connsiteX52" fmla="*/ 222039 w 1501783"/>
              <a:gd name="connsiteY52" fmla="*/ 594580 h 711174"/>
              <a:gd name="connsiteX53" fmla="*/ 327020 w 1501783"/>
              <a:gd name="connsiteY53" fmla="*/ 476593 h 711174"/>
              <a:gd name="connsiteX54" fmla="*/ 1302041 w 1501783"/>
              <a:gd name="connsiteY54" fmla="*/ 475664 h 711174"/>
              <a:gd name="connsiteX55" fmla="*/ 1406557 w 1501783"/>
              <a:gd name="connsiteY55" fmla="*/ 594580 h 711174"/>
              <a:gd name="connsiteX56" fmla="*/ 1402841 w 1501783"/>
              <a:gd name="connsiteY56" fmla="*/ 598296 h 711174"/>
              <a:gd name="connsiteX57" fmla="*/ 1237473 w 1501783"/>
              <a:gd name="connsiteY57" fmla="*/ 598296 h 711174"/>
              <a:gd name="connsiteX58" fmla="*/ 1304828 w 1501783"/>
              <a:gd name="connsiteY58" fmla="*/ 680980 h 711174"/>
              <a:gd name="connsiteX59" fmla="*/ 1364286 w 1501783"/>
              <a:gd name="connsiteY59" fmla="*/ 630812 h 711174"/>
              <a:gd name="connsiteX60" fmla="*/ 1368931 w 1501783"/>
              <a:gd name="connsiteY60" fmla="*/ 627096 h 711174"/>
              <a:gd name="connsiteX61" fmla="*/ 1399125 w 1501783"/>
              <a:gd name="connsiteY61" fmla="*/ 627096 h 711174"/>
              <a:gd name="connsiteX62" fmla="*/ 1399125 w 1501783"/>
              <a:gd name="connsiteY62" fmla="*/ 627561 h 711174"/>
              <a:gd name="connsiteX63" fmla="*/ 1402377 w 1501783"/>
              <a:gd name="connsiteY63" fmla="*/ 631277 h 711174"/>
              <a:gd name="connsiteX64" fmla="*/ 1303899 w 1501783"/>
              <a:gd name="connsiteY64" fmla="*/ 710245 h 711174"/>
              <a:gd name="connsiteX65" fmla="*/ 1197060 w 1501783"/>
              <a:gd name="connsiteY65" fmla="*/ 593651 h 711174"/>
              <a:gd name="connsiteX66" fmla="*/ 1302041 w 1501783"/>
              <a:gd name="connsiteY66" fmla="*/ 475664 h 711174"/>
              <a:gd name="connsiteX67" fmla="*/ 679124 w 1501783"/>
              <a:gd name="connsiteY67" fmla="*/ 426426 h 711174"/>
              <a:gd name="connsiteX68" fmla="*/ 711176 w 1501783"/>
              <a:gd name="connsiteY68" fmla="*/ 426426 h 711174"/>
              <a:gd name="connsiteX69" fmla="*/ 714892 w 1501783"/>
              <a:gd name="connsiteY69" fmla="*/ 430142 h 711174"/>
              <a:gd name="connsiteX70" fmla="*/ 714428 w 1501783"/>
              <a:gd name="connsiteY70" fmla="*/ 482168 h 711174"/>
              <a:gd name="connsiteX71" fmla="*/ 765524 w 1501783"/>
              <a:gd name="connsiteY71" fmla="*/ 482168 h 711174"/>
              <a:gd name="connsiteX72" fmla="*/ 769240 w 1501783"/>
              <a:gd name="connsiteY72" fmla="*/ 485884 h 711174"/>
              <a:gd name="connsiteX73" fmla="*/ 769240 w 1501783"/>
              <a:gd name="connsiteY73" fmla="*/ 509110 h 711174"/>
              <a:gd name="connsiteX74" fmla="*/ 765524 w 1501783"/>
              <a:gd name="connsiteY74" fmla="*/ 512826 h 711174"/>
              <a:gd name="connsiteX75" fmla="*/ 714428 w 1501783"/>
              <a:gd name="connsiteY75" fmla="*/ 512826 h 711174"/>
              <a:gd name="connsiteX76" fmla="*/ 714428 w 1501783"/>
              <a:gd name="connsiteY76" fmla="*/ 643355 h 711174"/>
              <a:gd name="connsiteX77" fmla="*/ 742763 w 1501783"/>
              <a:gd name="connsiteY77" fmla="*/ 678658 h 711174"/>
              <a:gd name="connsiteX78" fmla="*/ 765989 w 1501783"/>
              <a:gd name="connsiteY78" fmla="*/ 675871 h 711174"/>
              <a:gd name="connsiteX79" fmla="*/ 769705 w 1501783"/>
              <a:gd name="connsiteY79" fmla="*/ 678658 h 711174"/>
              <a:gd name="connsiteX80" fmla="*/ 769705 w 1501783"/>
              <a:gd name="connsiteY80" fmla="*/ 699561 h 711174"/>
              <a:gd name="connsiteX81" fmla="*/ 770170 w 1501783"/>
              <a:gd name="connsiteY81" fmla="*/ 699561 h 711174"/>
              <a:gd name="connsiteX82" fmla="*/ 766453 w 1501783"/>
              <a:gd name="connsiteY82" fmla="*/ 704671 h 711174"/>
              <a:gd name="connsiteX83" fmla="*/ 735795 w 1501783"/>
              <a:gd name="connsiteY83" fmla="*/ 709781 h 711174"/>
              <a:gd name="connsiteX84" fmla="*/ 675873 w 1501783"/>
              <a:gd name="connsiteY84" fmla="*/ 644284 h 711174"/>
              <a:gd name="connsiteX85" fmla="*/ 675873 w 1501783"/>
              <a:gd name="connsiteY85" fmla="*/ 512826 h 711174"/>
              <a:gd name="connsiteX86" fmla="*/ 651253 w 1501783"/>
              <a:gd name="connsiteY86" fmla="*/ 512826 h 711174"/>
              <a:gd name="connsiteX87" fmla="*/ 647537 w 1501783"/>
              <a:gd name="connsiteY87" fmla="*/ 509110 h 711174"/>
              <a:gd name="connsiteX88" fmla="*/ 647537 w 1501783"/>
              <a:gd name="connsiteY88" fmla="*/ 485884 h 711174"/>
              <a:gd name="connsiteX89" fmla="*/ 651253 w 1501783"/>
              <a:gd name="connsiteY89" fmla="*/ 482168 h 711174"/>
              <a:gd name="connsiteX90" fmla="*/ 675873 w 1501783"/>
              <a:gd name="connsiteY90" fmla="*/ 482168 h 711174"/>
              <a:gd name="connsiteX91" fmla="*/ 675408 w 1501783"/>
              <a:gd name="connsiteY91" fmla="*/ 430142 h 711174"/>
              <a:gd name="connsiteX92" fmla="*/ 679124 w 1501783"/>
              <a:gd name="connsiteY92" fmla="*/ 426426 h 711174"/>
              <a:gd name="connsiteX93" fmla="*/ 1005215 w 1501783"/>
              <a:gd name="connsiteY93" fmla="*/ 412490 h 711174"/>
              <a:gd name="connsiteX94" fmla="*/ 1037731 w 1501783"/>
              <a:gd name="connsiteY94" fmla="*/ 412490 h 711174"/>
              <a:gd name="connsiteX95" fmla="*/ 1041448 w 1501783"/>
              <a:gd name="connsiteY95" fmla="*/ 416206 h 711174"/>
              <a:gd name="connsiteX96" fmla="*/ 1041448 w 1501783"/>
              <a:gd name="connsiteY96" fmla="*/ 451974 h 711174"/>
              <a:gd name="connsiteX97" fmla="*/ 1037731 w 1501783"/>
              <a:gd name="connsiteY97" fmla="*/ 455690 h 711174"/>
              <a:gd name="connsiteX98" fmla="*/ 1005215 w 1501783"/>
              <a:gd name="connsiteY98" fmla="*/ 455690 h 711174"/>
              <a:gd name="connsiteX99" fmla="*/ 1001499 w 1501783"/>
              <a:gd name="connsiteY99" fmla="*/ 451974 h 711174"/>
              <a:gd name="connsiteX100" fmla="*/ 1001499 w 1501783"/>
              <a:gd name="connsiteY100" fmla="*/ 416206 h 711174"/>
              <a:gd name="connsiteX101" fmla="*/ 1005215 w 1501783"/>
              <a:gd name="connsiteY101" fmla="*/ 412490 h 711174"/>
              <a:gd name="connsiteX102" fmla="*/ 3716 w 1501783"/>
              <a:gd name="connsiteY102" fmla="*/ 409238 h 711174"/>
              <a:gd name="connsiteX103" fmla="*/ 36232 w 1501783"/>
              <a:gd name="connsiteY103" fmla="*/ 409238 h 711174"/>
              <a:gd name="connsiteX104" fmla="*/ 39948 w 1501783"/>
              <a:gd name="connsiteY104" fmla="*/ 412954 h 711174"/>
              <a:gd name="connsiteX105" fmla="*/ 39019 w 1501783"/>
              <a:gd name="connsiteY105" fmla="*/ 517006 h 711174"/>
              <a:gd name="connsiteX106" fmla="*/ 110091 w 1501783"/>
              <a:gd name="connsiteY106" fmla="*/ 477986 h 711174"/>
              <a:gd name="connsiteX107" fmla="*/ 202529 w 1501783"/>
              <a:gd name="connsiteY107" fmla="*/ 593651 h 711174"/>
              <a:gd name="connsiteX108" fmla="*/ 109626 w 1501783"/>
              <a:gd name="connsiteY108" fmla="*/ 710244 h 711174"/>
              <a:gd name="connsiteX109" fmla="*/ 38555 w 1501783"/>
              <a:gd name="connsiteY109" fmla="*/ 671225 h 711174"/>
              <a:gd name="connsiteX110" fmla="*/ 39484 w 1501783"/>
              <a:gd name="connsiteY110" fmla="*/ 701883 h 711174"/>
              <a:gd name="connsiteX111" fmla="*/ 35768 w 1501783"/>
              <a:gd name="connsiteY111" fmla="*/ 705599 h 711174"/>
              <a:gd name="connsiteX112" fmla="*/ 3716 w 1501783"/>
              <a:gd name="connsiteY112" fmla="*/ 705599 h 711174"/>
              <a:gd name="connsiteX113" fmla="*/ 0 w 1501783"/>
              <a:gd name="connsiteY113" fmla="*/ 701883 h 711174"/>
              <a:gd name="connsiteX114" fmla="*/ 1394 w 1501783"/>
              <a:gd name="connsiteY114" fmla="*/ 538838 h 711174"/>
              <a:gd name="connsiteX115" fmla="*/ 0 w 1501783"/>
              <a:gd name="connsiteY115" fmla="*/ 412954 h 711174"/>
              <a:gd name="connsiteX116" fmla="*/ 3716 w 1501783"/>
              <a:gd name="connsiteY116" fmla="*/ 409238 h 711174"/>
              <a:gd name="connsiteX117" fmla="*/ 919279 w 1501783"/>
              <a:gd name="connsiteY117" fmla="*/ 401806 h 711174"/>
              <a:gd name="connsiteX118" fmla="*/ 951331 w 1501783"/>
              <a:gd name="connsiteY118" fmla="*/ 401806 h 711174"/>
              <a:gd name="connsiteX119" fmla="*/ 955047 w 1501783"/>
              <a:gd name="connsiteY119" fmla="*/ 405522 h 711174"/>
              <a:gd name="connsiteX120" fmla="*/ 953189 w 1501783"/>
              <a:gd name="connsiteY120" fmla="*/ 551845 h 711174"/>
              <a:gd name="connsiteX121" fmla="*/ 955047 w 1501783"/>
              <a:gd name="connsiteY121" fmla="*/ 702348 h 711174"/>
              <a:gd name="connsiteX122" fmla="*/ 951331 w 1501783"/>
              <a:gd name="connsiteY122" fmla="*/ 706064 h 711174"/>
              <a:gd name="connsiteX123" fmla="*/ 919279 w 1501783"/>
              <a:gd name="connsiteY123" fmla="*/ 706064 h 711174"/>
              <a:gd name="connsiteX124" fmla="*/ 919279 w 1501783"/>
              <a:gd name="connsiteY124" fmla="*/ 705600 h 711174"/>
              <a:gd name="connsiteX125" fmla="*/ 915563 w 1501783"/>
              <a:gd name="connsiteY125" fmla="*/ 701883 h 711174"/>
              <a:gd name="connsiteX126" fmla="*/ 917421 w 1501783"/>
              <a:gd name="connsiteY126" fmla="*/ 551845 h 711174"/>
              <a:gd name="connsiteX127" fmla="*/ 915563 w 1501783"/>
              <a:gd name="connsiteY127" fmla="*/ 405522 h 711174"/>
              <a:gd name="connsiteX128" fmla="*/ 919279 w 1501783"/>
              <a:gd name="connsiteY128" fmla="*/ 401806 h 711174"/>
              <a:gd name="connsiteX129" fmla="*/ 1165473 w 1501783"/>
              <a:gd name="connsiteY129" fmla="*/ 396232 h 711174"/>
              <a:gd name="connsiteX130" fmla="*/ 1194738 w 1501783"/>
              <a:gd name="connsiteY130" fmla="*/ 399484 h 711174"/>
              <a:gd name="connsiteX131" fmla="*/ 1198454 w 1501783"/>
              <a:gd name="connsiteY131" fmla="*/ 404129 h 711174"/>
              <a:gd name="connsiteX132" fmla="*/ 1198454 w 1501783"/>
              <a:gd name="connsiteY132" fmla="*/ 426426 h 711174"/>
              <a:gd name="connsiteX133" fmla="*/ 1194738 w 1501783"/>
              <a:gd name="connsiteY133" fmla="*/ 429677 h 711174"/>
              <a:gd name="connsiteX134" fmla="*/ 1174299 w 1501783"/>
              <a:gd name="connsiteY134" fmla="*/ 426890 h 711174"/>
              <a:gd name="connsiteX135" fmla="*/ 1145499 w 1501783"/>
              <a:gd name="connsiteY135" fmla="*/ 465909 h 711174"/>
              <a:gd name="connsiteX136" fmla="*/ 1145499 w 1501783"/>
              <a:gd name="connsiteY136" fmla="*/ 482632 h 711174"/>
              <a:gd name="connsiteX137" fmla="*/ 1194273 w 1501783"/>
              <a:gd name="connsiteY137" fmla="*/ 482632 h 711174"/>
              <a:gd name="connsiteX138" fmla="*/ 1197989 w 1501783"/>
              <a:gd name="connsiteY138" fmla="*/ 486348 h 711174"/>
              <a:gd name="connsiteX139" fmla="*/ 1197989 w 1501783"/>
              <a:gd name="connsiteY139" fmla="*/ 509109 h 711174"/>
              <a:gd name="connsiteX140" fmla="*/ 1194273 w 1501783"/>
              <a:gd name="connsiteY140" fmla="*/ 512826 h 711174"/>
              <a:gd name="connsiteX141" fmla="*/ 1145499 w 1501783"/>
              <a:gd name="connsiteY141" fmla="*/ 512826 h 711174"/>
              <a:gd name="connsiteX142" fmla="*/ 1145499 w 1501783"/>
              <a:gd name="connsiteY142" fmla="*/ 604800 h 711174"/>
              <a:gd name="connsiteX143" fmla="*/ 1145034 w 1501783"/>
              <a:gd name="connsiteY143" fmla="*/ 604800 h 711174"/>
              <a:gd name="connsiteX144" fmla="*/ 1146428 w 1501783"/>
              <a:gd name="connsiteY144" fmla="*/ 701884 h 711174"/>
              <a:gd name="connsiteX145" fmla="*/ 1142712 w 1501783"/>
              <a:gd name="connsiteY145" fmla="*/ 705600 h 711174"/>
              <a:gd name="connsiteX146" fmla="*/ 1109266 w 1501783"/>
              <a:gd name="connsiteY146" fmla="*/ 705600 h 711174"/>
              <a:gd name="connsiteX147" fmla="*/ 1105550 w 1501783"/>
              <a:gd name="connsiteY147" fmla="*/ 701884 h 711174"/>
              <a:gd name="connsiteX148" fmla="*/ 1106944 w 1501783"/>
              <a:gd name="connsiteY148" fmla="*/ 604800 h 711174"/>
              <a:gd name="connsiteX149" fmla="*/ 1106944 w 1501783"/>
              <a:gd name="connsiteY149" fmla="*/ 512361 h 711174"/>
              <a:gd name="connsiteX150" fmla="*/ 1075821 w 1501783"/>
              <a:gd name="connsiteY150" fmla="*/ 512361 h 711174"/>
              <a:gd name="connsiteX151" fmla="*/ 1072105 w 1501783"/>
              <a:gd name="connsiteY151" fmla="*/ 508645 h 711174"/>
              <a:gd name="connsiteX152" fmla="*/ 1072105 w 1501783"/>
              <a:gd name="connsiteY152" fmla="*/ 485884 h 711174"/>
              <a:gd name="connsiteX153" fmla="*/ 1075821 w 1501783"/>
              <a:gd name="connsiteY153" fmla="*/ 482167 h 711174"/>
              <a:gd name="connsiteX154" fmla="*/ 1106944 w 1501783"/>
              <a:gd name="connsiteY154" fmla="*/ 482167 h 711174"/>
              <a:gd name="connsiteX155" fmla="*/ 1106944 w 1501783"/>
              <a:gd name="connsiteY155" fmla="*/ 462658 h 711174"/>
              <a:gd name="connsiteX156" fmla="*/ 1165473 w 1501783"/>
              <a:gd name="connsiteY156" fmla="*/ 396232 h 711174"/>
              <a:gd name="connsiteX157" fmla="*/ 1006608 w 1501783"/>
              <a:gd name="connsiteY157" fmla="*/ 104516 h 711174"/>
              <a:gd name="connsiteX158" fmla="*/ 941111 w 1501783"/>
              <a:gd name="connsiteY158" fmla="*/ 193238 h 711174"/>
              <a:gd name="connsiteX159" fmla="*/ 1006608 w 1501783"/>
              <a:gd name="connsiteY159" fmla="*/ 280567 h 711174"/>
              <a:gd name="connsiteX160" fmla="*/ 1071640 w 1501783"/>
              <a:gd name="connsiteY160" fmla="*/ 193238 h 711174"/>
              <a:gd name="connsiteX161" fmla="*/ 1006608 w 1501783"/>
              <a:gd name="connsiteY161" fmla="*/ 104516 h 711174"/>
              <a:gd name="connsiteX162" fmla="*/ 475200 w 1501783"/>
              <a:gd name="connsiteY162" fmla="*/ 103586 h 711174"/>
              <a:gd name="connsiteX163" fmla="*/ 411097 w 1501783"/>
              <a:gd name="connsiteY163" fmla="*/ 169548 h 711174"/>
              <a:gd name="connsiteX164" fmla="*/ 536517 w 1501783"/>
              <a:gd name="connsiteY164" fmla="*/ 169548 h 711174"/>
              <a:gd name="connsiteX165" fmla="*/ 475200 w 1501783"/>
              <a:gd name="connsiteY165" fmla="*/ 103586 h 711174"/>
              <a:gd name="connsiteX166" fmla="*/ 1141318 w 1501783"/>
              <a:gd name="connsiteY166" fmla="*/ 81290 h 711174"/>
              <a:gd name="connsiteX167" fmla="*/ 1173834 w 1501783"/>
              <a:gd name="connsiteY167" fmla="*/ 81290 h 711174"/>
              <a:gd name="connsiteX168" fmla="*/ 1177550 w 1501783"/>
              <a:gd name="connsiteY168" fmla="*/ 85006 h 711174"/>
              <a:gd name="connsiteX169" fmla="*/ 1176621 w 1501783"/>
              <a:gd name="connsiteY169" fmla="*/ 176516 h 711174"/>
              <a:gd name="connsiteX170" fmla="*/ 1176621 w 1501783"/>
              <a:gd name="connsiteY170" fmla="*/ 219716 h 711174"/>
              <a:gd name="connsiteX171" fmla="*/ 1224002 w 1501783"/>
              <a:gd name="connsiteY171" fmla="*/ 278245 h 711174"/>
              <a:gd name="connsiteX172" fmla="*/ 1285783 w 1501783"/>
              <a:gd name="connsiteY172" fmla="*/ 210425 h 711174"/>
              <a:gd name="connsiteX173" fmla="*/ 1285783 w 1501783"/>
              <a:gd name="connsiteY173" fmla="*/ 176516 h 711174"/>
              <a:gd name="connsiteX174" fmla="*/ 1284854 w 1501783"/>
              <a:gd name="connsiteY174" fmla="*/ 85006 h 711174"/>
              <a:gd name="connsiteX175" fmla="*/ 1288570 w 1501783"/>
              <a:gd name="connsiteY175" fmla="*/ 81290 h 711174"/>
              <a:gd name="connsiteX176" fmla="*/ 1321551 w 1501783"/>
              <a:gd name="connsiteY176" fmla="*/ 81290 h 711174"/>
              <a:gd name="connsiteX177" fmla="*/ 1325267 w 1501783"/>
              <a:gd name="connsiteY177" fmla="*/ 85006 h 711174"/>
              <a:gd name="connsiteX178" fmla="*/ 1324802 w 1501783"/>
              <a:gd name="connsiteY178" fmla="*/ 183019 h 711174"/>
              <a:gd name="connsiteX179" fmla="*/ 1325731 w 1501783"/>
              <a:gd name="connsiteY179" fmla="*/ 301006 h 711174"/>
              <a:gd name="connsiteX180" fmla="*/ 1322015 w 1501783"/>
              <a:gd name="connsiteY180" fmla="*/ 304722 h 711174"/>
              <a:gd name="connsiteX181" fmla="*/ 1291357 w 1501783"/>
              <a:gd name="connsiteY181" fmla="*/ 304722 h 711174"/>
              <a:gd name="connsiteX182" fmla="*/ 1287641 w 1501783"/>
              <a:gd name="connsiteY182" fmla="*/ 301006 h 711174"/>
              <a:gd name="connsiteX183" fmla="*/ 1288570 w 1501783"/>
              <a:gd name="connsiteY183" fmla="*/ 266632 h 711174"/>
              <a:gd name="connsiteX184" fmla="*/ 1213783 w 1501783"/>
              <a:gd name="connsiteY184" fmla="*/ 309832 h 711174"/>
              <a:gd name="connsiteX185" fmla="*/ 1138531 w 1501783"/>
              <a:gd name="connsiteY185" fmla="*/ 220645 h 711174"/>
              <a:gd name="connsiteX186" fmla="*/ 1138531 w 1501783"/>
              <a:gd name="connsiteY186" fmla="*/ 176516 h 711174"/>
              <a:gd name="connsiteX187" fmla="*/ 1137602 w 1501783"/>
              <a:gd name="connsiteY187" fmla="*/ 85006 h 711174"/>
              <a:gd name="connsiteX188" fmla="*/ 1141318 w 1501783"/>
              <a:gd name="connsiteY188" fmla="*/ 81290 h 711174"/>
              <a:gd name="connsiteX189" fmla="*/ 697240 w 1501783"/>
              <a:gd name="connsiteY189" fmla="*/ 81290 h 711174"/>
              <a:gd name="connsiteX190" fmla="*/ 734401 w 1501783"/>
              <a:gd name="connsiteY190" fmla="*/ 81290 h 711174"/>
              <a:gd name="connsiteX191" fmla="*/ 739511 w 1501783"/>
              <a:gd name="connsiteY191" fmla="*/ 84542 h 711174"/>
              <a:gd name="connsiteX192" fmla="*/ 803150 w 1501783"/>
              <a:gd name="connsiteY192" fmla="*/ 253625 h 711174"/>
              <a:gd name="connsiteX193" fmla="*/ 856570 w 1501783"/>
              <a:gd name="connsiteY193" fmla="*/ 85006 h 711174"/>
              <a:gd name="connsiteX194" fmla="*/ 861679 w 1501783"/>
              <a:gd name="connsiteY194" fmla="*/ 81290 h 711174"/>
              <a:gd name="connsiteX195" fmla="*/ 894660 w 1501783"/>
              <a:gd name="connsiteY195" fmla="*/ 81290 h 711174"/>
              <a:gd name="connsiteX196" fmla="*/ 897447 w 1501783"/>
              <a:gd name="connsiteY196" fmla="*/ 85006 h 711174"/>
              <a:gd name="connsiteX197" fmla="*/ 796647 w 1501783"/>
              <a:gd name="connsiteY197" fmla="*/ 371148 h 711174"/>
              <a:gd name="connsiteX198" fmla="*/ 791537 w 1501783"/>
              <a:gd name="connsiteY198" fmla="*/ 374864 h 711174"/>
              <a:gd name="connsiteX199" fmla="*/ 761343 w 1501783"/>
              <a:gd name="connsiteY199" fmla="*/ 374864 h 711174"/>
              <a:gd name="connsiteX200" fmla="*/ 758556 w 1501783"/>
              <a:gd name="connsiteY200" fmla="*/ 371148 h 711174"/>
              <a:gd name="connsiteX201" fmla="*/ 782247 w 1501783"/>
              <a:gd name="connsiteY201" fmla="*/ 305187 h 711174"/>
              <a:gd name="connsiteX202" fmla="*/ 694453 w 1501783"/>
              <a:gd name="connsiteY202" fmla="*/ 84542 h 711174"/>
              <a:gd name="connsiteX203" fmla="*/ 697240 w 1501783"/>
              <a:gd name="connsiteY203" fmla="*/ 81290 h 711174"/>
              <a:gd name="connsiteX204" fmla="*/ 161187 w 1501783"/>
              <a:gd name="connsiteY204" fmla="*/ 80361 h 711174"/>
              <a:gd name="connsiteX205" fmla="*/ 196026 w 1501783"/>
              <a:gd name="connsiteY205" fmla="*/ 80361 h 711174"/>
              <a:gd name="connsiteX206" fmla="*/ 201136 w 1501783"/>
              <a:gd name="connsiteY206" fmla="*/ 84077 h 711174"/>
              <a:gd name="connsiteX207" fmla="*/ 264310 w 1501783"/>
              <a:gd name="connsiteY207" fmla="*/ 270813 h 711174"/>
              <a:gd name="connsiteX208" fmla="*/ 328878 w 1501783"/>
              <a:gd name="connsiteY208" fmla="*/ 84077 h 711174"/>
              <a:gd name="connsiteX209" fmla="*/ 333987 w 1501783"/>
              <a:gd name="connsiteY209" fmla="*/ 80361 h 711174"/>
              <a:gd name="connsiteX210" fmla="*/ 364646 w 1501783"/>
              <a:gd name="connsiteY210" fmla="*/ 80361 h 711174"/>
              <a:gd name="connsiteX211" fmla="*/ 367433 w 1501783"/>
              <a:gd name="connsiteY211" fmla="*/ 83613 h 711174"/>
              <a:gd name="connsiteX212" fmla="*/ 288929 w 1501783"/>
              <a:gd name="connsiteY212" fmla="*/ 301006 h 711174"/>
              <a:gd name="connsiteX213" fmla="*/ 283820 w 1501783"/>
              <a:gd name="connsiteY213" fmla="*/ 304258 h 711174"/>
              <a:gd name="connsiteX214" fmla="*/ 243871 w 1501783"/>
              <a:gd name="connsiteY214" fmla="*/ 304258 h 711174"/>
              <a:gd name="connsiteX215" fmla="*/ 238761 w 1501783"/>
              <a:gd name="connsiteY215" fmla="*/ 301006 h 711174"/>
              <a:gd name="connsiteX216" fmla="*/ 158400 w 1501783"/>
              <a:gd name="connsiteY216" fmla="*/ 83613 h 711174"/>
              <a:gd name="connsiteX217" fmla="*/ 161187 w 1501783"/>
              <a:gd name="connsiteY217" fmla="*/ 80361 h 711174"/>
              <a:gd name="connsiteX218" fmla="*/ 95226 w 1501783"/>
              <a:gd name="connsiteY218" fmla="*/ 79896 h 711174"/>
              <a:gd name="connsiteX219" fmla="*/ 127742 w 1501783"/>
              <a:gd name="connsiteY219" fmla="*/ 79896 h 711174"/>
              <a:gd name="connsiteX220" fmla="*/ 131458 w 1501783"/>
              <a:gd name="connsiteY220" fmla="*/ 83613 h 711174"/>
              <a:gd name="connsiteX221" fmla="*/ 130994 w 1501783"/>
              <a:gd name="connsiteY221" fmla="*/ 188129 h 711174"/>
              <a:gd name="connsiteX222" fmla="*/ 131923 w 1501783"/>
              <a:gd name="connsiteY222" fmla="*/ 300077 h 711174"/>
              <a:gd name="connsiteX223" fmla="*/ 128207 w 1501783"/>
              <a:gd name="connsiteY223" fmla="*/ 303793 h 711174"/>
              <a:gd name="connsiteX224" fmla="*/ 95226 w 1501783"/>
              <a:gd name="connsiteY224" fmla="*/ 303793 h 711174"/>
              <a:gd name="connsiteX225" fmla="*/ 91510 w 1501783"/>
              <a:gd name="connsiteY225" fmla="*/ 300077 h 711174"/>
              <a:gd name="connsiteX226" fmla="*/ 92439 w 1501783"/>
              <a:gd name="connsiteY226" fmla="*/ 188593 h 711174"/>
              <a:gd name="connsiteX227" fmla="*/ 91510 w 1501783"/>
              <a:gd name="connsiteY227" fmla="*/ 83613 h 711174"/>
              <a:gd name="connsiteX228" fmla="*/ 95226 w 1501783"/>
              <a:gd name="connsiteY228" fmla="*/ 79896 h 711174"/>
              <a:gd name="connsiteX229" fmla="*/ 1006608 w 1501783"/>
              <a:gd name="connsiteY229" fmla="*/ 75251 h 711174"/>
              <a:gd name="connsiteX230" fmla="*/ 1112518 w 1501783"/>
              <a:gd name="connsiteY230" fmla="*/ 192309 h 711174"/>
              <a:gd name="connsiteX231" fmla="*/ 1006608 w 1501783"/>
              <a:gd name="connsiteY231" fmla="*/ 309832 h 711174"/>
              <a:gd name="connsiteX232" fmla="*/ 900698 w 1501783"/>
              <a:gd name="connsiteY232" fmla="*/ 193238 h 711174"/>
              <a:gd name="connsiteX233" fmla="*/ 1006608 w 1501783"/>
              <a:gd name="connsiteY233" fmla="*/ 75251 h 711174"/>
              <a:gd name="connsiteX234" fmla="*/ 1485061 w 1501783"/>
              <a:gd name="connsiteY234" fmla="*/ 74322 h 711174"/>
              <a:gd name="connsiteX235" fmla="*/ 1498067 w 1501783"/>
              <a:gd name="connsiteY235" fmla="*/ 75716 h 711174"/>
              <a:gd name="connsiteX236" fmla="*/ 1501783 w 1501783"/>
              <a:gd name="connsiteY236" fmla="*/ 80361 h 711174"/>
              <a:gd name="connsiteX237" fmla="*/ 1501783 w 1501783"/>
              <a:gd name="connsiteY237" fmla="*/ 105445 h 711174"/>
              <a:gd name="connsiteX238" fmla="*/ 1498067 w 1501783"/>
              <a:gd name="connsiteY238" fmla="*/ 108696 h 711174"/>
              <a:gd name="connsiteX239" fmla="*/ 1485525 w 1501783"/>
              <a:gd name="connsiteY239" fmla="*/ 107767 h 711174"/>
              <a:gd name="connsiteX240" fmla="*/ 1410273 w 1501783"/>
              <a:gd name="connsiteY240" fmla="*/ 179767 h 711174"/>
              <a:gd name="connsiteX241" fmla="*/ 1410738 w 1501783"/>
              <a:gd name="connsiteY241" fmla="*/ 297290 h 711174"/>
              <a:gd name="connsiteX242" fmla="*/ 1407022 w 1501783"/>
              <a:gd name="connsiteY242" fmla="*/ 301006 h 711174"/>
              <a:gd name="connsiteX243" fmla="*/ 1374970 w 1501783"/>
              <a:gd name="connsiteY243" fmla="*/ 301006 h 711174"/>
              <a:gd name="connsiteX244" fmla="*/ 1371254 w 1501783"/>
              <a:gd name="connsiteY244" fmla="*/ 297290 h 711174"/>
              <a:gd name="connsiteX245" fmla="*/ 1372647 w 1501783"/>
              <a:gd name="connsiteY245" fmla="*/ 186735 h 711174"/>
              <a:gd name="connsiteX246" fmla="*/ 1371254 w 1501783"/>
              <a:gd name="connsiteY246" fmla="*/ 80825 h 711174"/>
              <a:gd name="connsiteX247" fmla="*/ 1374970 w 1501783"/>
              <a:gd name="connsiteY247" fmla="*/ 77109 h 711174"/>
              <a:gd name="connsiteX248" fmla="*/ 1407022 w 1501783"/>
              <a:gd name="connsiteY248" fmla="*/ 77109 h 711174"/>
              <a:gd name="connsiteX249" fmla="*/ 1410738 w 1501783"/>
              <a:gd name="connsiteY249" fmla="*/ 80825 h 711174"/>
              <a:gd name="connsiteX250" fmla="*/ 1408880 w 1501783"/>
              <a:gd name="connsiteY250" fmla="*/ 118451 h 711174"/>
              <a:gd name="connsiteX251" fmla="*/ 1485061 w 1501783"/>
              <a:gd name="connsiteY251" fmla="*/ 74322 h 711174"/>
              <a:gd name="connsiteX252" fmla="*/ 474736 w 1501783"/>
              <a:gd name="connsiteY252" fmla="*/ 74322 h 711174"/>
              <a:gd name="connsiteX253" fmla="*/ 579252 w 1501783"/>
              <a:gd name="connsiteY253" fmla="*/ 193238 h 711174"/>
              <a:gd name="connsiteX254" fmla="*/ 575536 w 1501783"/>
              <a:gd name="connsiteY254" fmla="*/ 196954 h 711174"/>
              <a:gd name="connsiteX255" fmla="*/ 409703 w 1501783"/>
              <a:gd name="connsiteY255" fmla="*/ 196954 h 711174"/>
              <a:gd name="connsiteX256" fmla="*/ 477058 w 1501783"/>
              <a:gd name="connsiteY256" fmla="*/ 279638 h 711174"/>
              <a:gd name="connsiteX257" fmla="*/ 536517 w 1501783"/>
              <a:gd name="connsiteY257" fmla="*/ 229470 h 711174"/>
              <a:gd name="connsiteX258" fmla="*/ 541162 w 1501783"/>
              <a:gd name="connsiteY258" fmla="*/ 225754 h 711174"/>
              <a:gd name="connsiteX259" fmla="*/ 571820 w 1501783"/>
              <a:gd name="connsiteY259" fmla="*/ 225754 h 711174"/>
              <a:gd name="connsiteX260" fmla="*/ 571820 w 1501783"/>
              <a:gd name="connsiteY260" fmla="*/ 226219 h 711174"/>
              <a:gd name="connsiteX261" fmla="*/ 575072 w 1501783"/>
              <a:gd name="connsiteY261" fmla="*/ 229935 h 711174"/>
              <a:gd name="connsiteX262" fmla="*/ 476594 w 1501783"/>
              <a:gd name="connsiteY262" fmla="*/ 308903 h 711174"/>
              <a:gd name="connsiteX263" fmla="*/ 369755 w 1501783"/>
              <a:gd name="connsiteY263" fmla="*/ 192309 h 711174"/>
              <a:gd name="connsiteX264" fmla="*/ 474736 w 1501783"/>
              <a:gd name="connsiteY264" fmla="*/ 74322 h 711174"/>
              <a:gd name="connsiteX265" fmla="*/ 95226 w 1501783"/>
              <a:gd name="connsiteY265" fmla="*/ 11148 h 711174"/>
              <a:gd name="connsiteX266" fmla="*/ 127742 w 1501783"/>
              <a:gd name="connsiteY266" fmla="*/ 11148 h 711174"/>
              <a:gd name="connsiteX267" fmla="*/ 131458 w 1501783"/>
              <a:gd name="connsiteY267" fmla="*/ 14864 h 711174"/>
              <a:gd name="connsiteX268" fmla="*/ 131458 w 1501783"/>
              <a:gd name="connsiteY268" fmla="*/ 50632 h 711174"/>
              <a:gd name="connsiteX269" fmla="*/ 127742 w 1501783"/>
              <a:gd name="connsiteY269" fmla="*/ 54348 h 711174"/>
              <a:gd name="connsiteX270" fmla="*/ 95226 w 1501783"/>
              <a:gd name="connsiteY270" fmla="*/ 54348 h 711174"/>
              <a:gd name="connsiteX271" fmla="*/ 91510 w 1501783"/>
              <a:gd name="connsiteY271" fmla="*/ 50632 h 711174"/>
              <a:gd name="connsiteX272" fmla="*/ 91510 w 1501783"/>
              <a:gd name="connsiteY272" fmla="*/ 14864 h 711174"/>
              <a:gd name="connsiteX273" fmla="*/ 95226 w 1501783"/>
              <a:gd name="connsiteY273" fmla="*/ 11148 h 711174"/>
              <a:gd name="connsiteX274" fmla="*/ 6038 w 1501783"/>
              <a:gd name="connsiteY274" fmla="*/ 0 h 711174"/>
              <a:gd name="connsiteX275" fmla="*/ 38090 w 1501783"/>
              <a:gd name="connsiteY275" fmla="*/ 0 h 711174"/>
              <a:gd name="connsiteX276" fmla="*/ 41806 w 1501783"/>
              <a:gd name="connsiteY276" fmla="*/ 3716 h 711174"/>
              <a:gd name="connsiteX277" fmla="*/ 39948 w 1501783"/>
              <a:gd name="connsiteY277" fmla="*/ 150039 h 711174"/>
              <a:gd name="connsiteX278" fmla="*/ 41806 w 1501783"/>
              <a:gd name="connsiteY278" fmla="*/ 300542 h 711174"/>
              <a:gd name="connsiteX279" fmla="*/ 38090 w 1501783"/>
              <a:gd name="connsiteY279" fmla="*/ 304258 h 711174"/>
              <a:gd name="connsiteX280" fmla="*/ 6038 w 1501783"/>
              <a:gd name="connsiteY280" fmla="*/ 304258 h 711174"/>
              <a:gd name="connsiteX281" fmla="*/ 6038 w 1501783"/>
              <a:gd name="connsiteY281" fmla="*/ 303794 h 711174"/>
              <a:gd name="connsiteX282" fmla="*/ 2322 w 1501783"/>
              <a:gd name="connsiteY282" fmla="*/ 300077 h 711174"/>
              <a:gd name="connsiteX283" fmla="*/ 4180 w 1501783"/>
              <a:gd name="connsiteY283" fmla="*/ 150039 h 711174"/>
              <a:gd name="connsiteX284" fmla="*/ 2322 w 1501783"/>
              <a:gd name="connsiteY284" fmla="*/ 3716 h 711174"/>
              <a:gd name="connsiteX285" fmla="*/ 6038 w 1501783"/>
              <a:gd name="connsiteY285" fmla="*/ 0 h 711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501783" h="711174">
                <a:moveTo>
                  <a:pt x="100336" y="507251"/>
                </a:moveTo>
                <a:cubicBezTo>
                  <a:pt x="62710" y="507251"/>
                  <a:pt x="38090" y="535586"/>
                  <a:pt x="37626" y="591793"/>
                </a:cubicBezTo>
                <a:cubicBezTo>
                  <a:pt x="37161" y="648464"/>
                  <a:pt x="59923" y="680980"/>
                  <a:pt x="99407" y="680980"/>
                </a:cubicBezTo>
                <a:cubicBezTo>
                  <a:pt x="142607" y="681444"/>
                  <a:pt x="163046" y="646141"/>
                  <a:pt x="163046" y="595974"/>
                </a:cubicBezTo>
                <a:cubicBezTo>
                  <a:pt x="163046" y="543019"/>
                  <a:pt x="143071" y="506786"/>
                  <a:pt x="100336" y="507251"/>
                </a:cubicBezTo>
                <a:close/>
                <a:moveTo>
                  <a:pt x="327484" y="505858"/>
                </a:moveTo>
                <a:cubicBezTo>
                  <a:pt x="290323" y="505858"/>
                  <a:pt x="269420" y="529548"/>
                  <a:pt x="263381" y="571819"/>
                </a:cubicBezTo>
                <a:lnTo>
                  <a:pt x="388801" y="571819"/>
                </a:lnTo>
                <a:cubicBezTo>
                  <a:pt x="387407" y="536051"/>
                  <a:pt x="366968" y="505858"/>
                  <a:pt x="327484" y="505858"/>
                </a:cubicBezTo>
                <a:close/>
                <a:moveTo>
                  <a:pt x="1302505" y="504929"/>
                </a:moveTo>
                <a:cubicBezTo>
                  <a:pt x="1265344" y="504929"/>
                  <a:pt x="1244441" y="528619"/>
                  <a:pt x="1238402" y="570890"/>
                </a:cubicBezTo>
                <a:lnTo>
                  <a:pt x="1363822" y="570890"/>
                </a:lnTo>
                <a:cubicBezTo>
                  <a:pt x="1362428" y="535587"/>
                  <a:pt x="1341989" y="504929"/>
                  <a:pt x="1302505" y="504929"/>
                </a:cubicBezTo>
                <a:close/>
                <a:moveTo>
                  <a:pt x="1005215" y="481703"/>
                </a:moveTo>
                <a:lnTo>
                  <a:pt x="1037731" y="481703"/>
                </a:lnTo>
                <a:cubicBezTo>
                  <a:pt x="1040054" y="481703"/>
                  <a:pt x="1041448" y="483561"/>
                  <a:pt x="1041448" y="485419"/>
                </a:cubicBezTo>
                <a:lnTo>
                  <a:pt x="1040518" y="589935"/>
                </a:lnTo>
                <a:lnTo>
                  <a:pt x="1041448" y="701884"/>
                </a:lnTo>
                <a:cubicBezTo>
                  <a:pt x="1041448" y="704206"/>
                  <a:pt x="1039589" y="705600"/>
                  <a:pt x="1037731" y="705600"/>
                </a:cubicBezTo>
                <a:lnTo>
                  <a:pt x="1005215" y="705600"/>
                </a:lnTo>
                <a:cubicBezTo>
                  <a:pt x="1002893" y="705600"/>
                  <a:pt x="1001499" y="703742"/>
                  <a:pt x="1001499" y="701884"/>
                </a:cubicBezTo>
                <a:lnTo>
                  <a:pt x="1002428" y="590400"/>
                </a:lnTo>
                <a:lnTo>
                  <a:pt x="1001499" y="485419"/>
                </a:lnTo>
                <a:cubicBezTo>
                  <a:pt x="1001499" y="483096"/>
                  <a:pt x="1003357" y="481703"/>
                  <a:pt x="1005215" y="481703"/>
                </a:cubicBezTo>
                <a:close/>
                <a:moveTo>
                  <a:pt x="544878" y="477987"/>
                </a:moveTo>
                <a:cubicBezTo>
                  <a:pt x="596904" y="477987"/>
                  <a:pt x="634994" y="499819"/>
                  <a:pt x="638246" y="546271"/>
                </a:cubicBezTo>
                <a:cubicBezTo>
                  <a:pt x="638246" y="548593"/>
                  <a:pt x="636388" y="549987"/>
                  <a:pt x="634530" y="549987"/>
                </a:cubicBezTo>
                <a:lnTo>
                  <a:pt x="605265" y="549987"/>
                </a:lnTo>
                <a:cubicBezTo>
                  <a:pt x="602943" y="549987"/>
                  <a:pt x="601549" y="548129"/>
                  <a:pt x="601085" y="546271"/>
                </a:cubicBezTo>
                <a:cubicBezTo>
                  <a:pt x="598297" y="517935"/>
                  <a:pt x="576930" y="504929"/>
                  <a:pt x="544413" y="504929"/>
                </a:cubicBezTo>
                <a:cubicBezTo>
                  <a:pt x="513755" y="504929"/>
                  <a:pt x="494246" y="516077"/>
                  <a:pt x="494246" y="541161"/>
                </a:cubicBezTo>
                <a:cubicBezTo>
                  <a:pt x="494246" y="596903"/>
                  <a:pt x="645214" y="548593"/>
                  <a:pt x="645214" y="642426"/>
                </a:cubicBezTo>
                <a:cubicBezTo>
                  <a:pt x="645214" y="685626"/>
                  <a:pt x="604801" y="710710"/>
                  <a:pt x="551381" y="710710"/>
                </a:cubicBezTo>
                <a:cubicBezTo>
                  <a:pt x="491923" y="710710"/>
                  <a:pt x="452904" y="684697"/>
                  <a:pt x="451510" y="632671"/>
                </a:cubicBezTo>
                <a:cubicBezTo>
                  <a:pt x="451510" y="630348"/>
                  <a:pt x="453368" y="628955"/>
                  <a:pt x="455226" y="628955"/>
                </a:cubicBezTo>
                <a:lnTo>
                  <a:pt x="485884" y="628955"/>
                </a:lnTo>
                <a:cubicBezTo>
                  <a:pt x="488207" y="628955"/>
                  <a:pt x="489600" y="630813"/>
                  <a:pt x="489600" y="632671"/>
                </a:cubicBezTo>
                <a:cubicBezTo>
                  <a:pt x="491459" y="667974"/>
                  <a:pt x="512826" y="683768"/>
                  <a:pt x="552775" y="683768"/>
                </a:cubicBezTo>
                <a:cubicBezTo>
                  <a:pt x="585755" y="683768"/>
                  <a:pt x="607588" y="669832"/>
                  <a:pt x="607588" y="645213"/>
                </a:cubicBezTo>
                <a:cubicBezTo>
                  <a:pt x="607588" y="586684"/>
                  <a:pt x="456620" y="634064"/>
                  <a:pt x="456620" y="543484"/>
                </a:cubicBezTo>
                <a:cubicBezTo>
                  <a:pt x="456620" y="500284"/>
                  <a:pt x="491923" y="477987"/>
                  <a:pt x="544878" y="477987"/>
                </a:cubicBezTo>
                <a:close/>
                <a:moveTo>
                  <a:pt x="327020" y="476593"/>
                </a:moveTo>
                <a:cubicBezTo>
                  <a:pt x="391588" y="476593"/>
                  <a:pt x="430143" y="520722"/>
                  <a:pt x="431536" y="595509"/>
                </a:cubicBezTo>
                <a:cubicBezTo>
                  <a:pt x="431536" y="597832"/>
                  <a:pt x="429678" y="599225"/>
                  <a:pt x="427820" y="599225"/>
                </a:cubicBezTo>
                <a:lnTo>
                  <a:pt x="262452" y="599225"/>
                </a:lnTo>
                <a:cubicBezTo>
                  <a:pt x="263846" y="653109"/>
                  <a:pt x="286142" y="681909"/>
                  <a:pt x="329807" y="681909"/>
                </a:cubicBezTo>
                <a:cubicBezTo>
                  <a:pt x="362788" y="681909"/>
                  <a:pt x="382762" y="664722"/>
                  <a:pt x="389265" y="631741"/>
                </a:cubicBezTo>
                <a:cubicBezTo>
                  <a:pt x="389730" y="629419"/>
                  <a:pt x="392052" y="628025"/>
                  <a:pt x="393910" y="628025"/>
                </a:cubicBezTo>
                <a:lnTo>
                  <a:pt x="424104" y="628025"/>
                </a:lnTo>
                <a:lnTo>
                  <a:pt x="424104" y="628490"/>
                </a:lnTo>
                <a:cubicBezTo>
                  <a:pt x="426427" y="628490"/>
                  <a:pt x="427356" y="630348"/>
                  <a:pt x="427356" y="632206"/>
                </a:cubicBezTo>
                <a:cubicBezTo>
                  <a:pt x="420388" y="677729"/>
                  <a:pt x="386478" y="711174"/>
                  <a:pt x="328878" y="711174"/>
                </a:cubicBezTo>
                <a:cubicBezTo>
                  <a:pt x="259200" y="711174"/>
                  <a:pt x="222039" y="662864"/>
                  <a:pt x="222039" y="594580"/>
                </a:cubicBezTo>
                <a:cubicBezTo>
                  <a:pt x="222039" y="524438"/>
                  <a:pt x="261987" y="476593"/>
                  <a:pt x="327020" y="476593"/>
                </a:cubicBezTo>
                <a:close/>
                <a:moveTo>
                  <a:pt x="1302041" y="475664"/>
                </a:moveTo>
                <a:cubicBezTo>
                  <a:pt x="1366609" y="475664"/>
                  <a:pt x="1405164" y="519793"/>
                  <a:pt x="1406557" y="594580"/>
                </a:cubicBezTo>
                <a:cubicBezTo>
                  <a:pt x="1406557" y="596903"/>
                  <a:pt x="1404699" y="598296"/>
                  <a:pt x="1402841" y="598296"/>
                </a:cubicBezTo>
                <a:lnTo>
                  <a:pt x="1237473" y="598296"/>
                </a:lnTo>
                <a:cubicBezTo>
                  <a:pt x="1238867" y="652180"/>
                  <a:pt x="1261163" y="680980"/>
                  <a:pt x="1304828" y="680980"/>
                </a:cubicBezTo>
                <a:cubicBezTo>
                  <a:pt x="1337809" y="680980"/>
                  <a:pt x="1357783" y="663793"/>
                  <a:pt x="1364286" y="630812"/>
                </a:cubicBezTo>
                <a:cubicBezTo>
                  <a:pt x="1364751" y="628490"/>
                  <a:pt x="1367073" y="627096"/>
                  <a:pt x="1368931" y="627096"/>
                </a:cubicBezTo>
                <a:lnTo>
                  <a:pt x="1399125" y="627096"/>
                </a:lnTo>
                <a:lnTo>
                  <a:pt x="1399125" y="627561"/>
                </a:lnTo>
                <a:cubicBezTo>
                  <a:pt x="1401448" y="627561"/>
                  <a:pt x="1402377" y="629419"/>
                  <a:pt x="1402377" y="631277"/>
                </a:cubicBezTo>
                <a:cubicBezTo>
                  <a:pt x="1395409" y="676800"/>
                  <a:pt x="1361499" y="710245"/>
                  <a:pt x="1303899" y="710245"/>
                </a:cubicBezTo>
                <a:cubicBezTo>
                  <a:pt x="1234221" y="710245"/>
                  <a:pt x="1197060" y="661935"/>
                  <a:pt x="1197060" y="593651"/>
                </a:cubicBezTo>
                <a:cubicBezTo>
                  <a:pt x="1197060" y="523509"/>
                  <a:pt x="1237009" y="475664"/>
                  <a:pt x="1302041" y="475664"/>
                </a:cubicBezTo>
                <a:close/>
                <a:moveTo>
                  <a:pt x="679124" y="426426"/>
                </a:moveTo>
                <a:lnTo>
                  <a:pt x="711176" y="426426"/>
                </a:lnTo>
                <a:cubicBezTo>
                  <a:pt x="713498" y="426426"/>
                  <a:pt x="714892" y="428284"/>
                  <a:pt x="714892" y="430142"/>
                </a:cubicBezTo>
                <a:lnTo>
                  <a:pt x="714428" y="482168"/>
                </a:lnTo>
                <a:lnTo>
                  <a:pt x="765524" y="482168"/>
                </a:lnTo>
                <a:cubicBezTo>
                  <a:pt x="767847" y="482168"/>
                  <a:pt x="769240" y="484026"/>
                  <a:pt x="769240" y="485884"/>
                </a:cubicBezTo>
                <a:lnTo>
                  <a:pt x="769240" y="509110"/>
                </a:lnTo>
                <a:cubicBezTo>
                  <a:pt x="769240" y="511432"/>
                  <a:pt x="767382" y="512826"/>
                  <a:pt x="765524" y="512826"/>
                </a:cubicBezTo>
                <a:lnTo>
                  <a:pt x="714428" y="512826"/>
                </a:lnTo>
                <a:lnTo>
                  <a:pt x="714428" y="643355"/>
                </a:lnTo>
                <a:cubicBezTo>
                  <a:pt x="714428" y="670297"/>
                  <a:pt x="723718" y="678658"/>
                  <a:pt x="742763" y="678658"/>
                </a:cubicBezTo>
                <a:cubicBezTo>
                  <a:pt x="751589" y="678658"/>
                  <a:pt x="759486" y="677265"/>
                  <a:pt x="765989" y="675871"/>
                </a:cubicBezTo>
                <a:cubicBezTo>
                  <a:pt x="768311" y="674942"/>
                  <a:pt x="769705" y="676800"/>
                  <a:pt x="769705" y="678658"/>
                </a:cubicBezTo>
                <a:lnTo>
                  <a:pt x="769705" y="699561"/>
                </a:lnTo>
                <a:lnTo>
                  <a:pt x="770170" y="699561"/>
                </a:lnTo>
                <a:cubicBezTo>
                  <a:pt x="770170" y="701884"/>
                  <a:pt x="768311" y="703742"/>
                  <a:pt x="766453" y="704671"/>
                </a:cubicBezTo>
                <a:cubicBezTo>
                  <a:pt x="757628" y="707458"/>
                  <a:pt x="746479" y="709781"/>
                  <a:pt x="735795" y="709781"/>
                </a:cubicBezTo>
                <a:cubicBezTo>
                  <a:pt x="703279" y="709781"/>
                  <a:pt x="675873" y="693058"/>
                  <a:pt x="675873" y="644284"/>
                </a:cubicBezTo>
                <a:lnTo>
                  <a:pt x="675873" y="512826"/>
                </a:lnTo>
                <a:lnTo>
                  <a:pt x="651253" y="512826"/>
                </a:lnTo>
                <a:cubicBezTo>
                  <a:pt x="648931" y="512826"/>
                  <a:pt x="647537" y="510968"/>
                  <a:pt x="647537" y="509110"/>
                </a:cubicBezTo>
                <a:lnTo>
                  <a:pt x="647537" y="485884"/>
                </a:lnTo>
                <a:cubicBezTo>
                  <a:pt x="647537" y="483561"/>
                  <a:pt x="649395" y="482168"/>
                  <a:pt x="651253" y="482168"/>
                </a:cubicBezTo>
                <a:lnTo>
                  <a:pt x="675873" y="482168"/>
                </a:lnTo>
                <a:lnTo>
                  <a:pt x="675408" y="430142"/>
                </a:lnTo>
                <a:cubicBezTo>
                  <a:pt x="675408" y="427819"/>
                  <a:pt x="677266" y="426426"/>
                  <a:pt x="679124" y="426426"/>
                </a:cubicBezTo>
                <a:close/>
                <a:moveTo>
                  <a:pt x="1005215" y="412490"/>
                </a:moveTo>
                <a:lnTo>
                  <a:pt x="1037731" y="412490"/>
                </a:lnTo>
                <a:cubicBezTo>
                  <a:pt x="1040054" y="412490"/>
                  <a:pt x="1041448" y="414348"/>
                  <a:pt x="1041448" y="416206"/>
                </a:cubicBezTo>
                <a:lnTo>
                  <a:pt x="1041448" y="451974"/>
                </a:lnTo>
                <a:cubicBezTo>
                  <a:pt x="1041448" y="454296"/>
                  <a:pt x="1039589" y="455690"/>
                  <a:pt x="1037731" y="455690"/>
                </a:cubicBezTo>
                <a:lnTo>
                  <a:pt x="1005215" y="455690"/>
                </a:lnTo>
                <a:cubicBezTo>
                  <a:pt x="1002893" y="455690"/>
                  <a:pt x="1001499" y="453832"/>
                  <a:pt x="1001499" y="451974"/>
                </a:cubicBezTo>
                <a:lnTo>
                  <a:pt x="1001499" y="416206"/>
                </a:lnTo>
                <a:cubicBezTo>
                  <a:pt x="1001499" y="413883"/>
                  <a:pt x="1003357" y="412490"/>
                  <a:pt x="1005215" y="412490"/>
                </a:cubicBezTo>
                <a:close/>
                <a:moveTo>
                  <a:pt x="3716" y="409238"/>
                </a:moveTo>
                <a:lnTo>
                  <a:pt x="36232" y="409238"/>
                </a:lnTo>
                <a:cubicBezTo>
                  <a:pt x="38555" y="409238"/>
                  <a:pt x="39948" y="411096"/>
                  <a:pt x="39948" y="412954"/>
                </a:cubicBezTo>
                <a:lnTo>
                  <a:pt x="39019" y="517006"/>
                </a:lnTo>
                <a:cubicBezTo>
                  <a:pt x="54349" y="492851"/>
                  <a:pt x="78039" y="477986"/>
                  <a:pt x="110091" y="477986"/>
                </a:cubicBezTo>
                <a:cubicBezTo>
                  <a:pt x="170478" y="477986"/>
                  <a:pt x="202529" y="528619"/>
                  <a:pt x="202529" y="593651"/>
                </a:cubicBezTo>
                <a:cubicBezTo>
                  <a:pt x="202994" y="658219"/>
                  <a:pt x="169084" y="710244"/>
                  <a:pt x="109626" y="710244"/>
                </a:cubicBezTo>
                <a:cubicBezTo>
                  <a:pt x="77574" y="710244"/>
                  <a:pt x="53419" y="696774"/>
                  <a:pt x="38555" y="671225"/>
                </a:cubicBezTo>
                <a:lnTo>
                  <a:pt x="39484" y="701883"/>
                </a:lnTo>
                <a:cubicBezTo>
                  <a:pt x="39484" y="704206"/>
                  <a:pt x="37626" y="705599"/>
                  <a:pt x="35768" y="705599"/>
                </a:cubicBezTo>
                <a:lnTo>
                  <a:pt x="3716" y="705599"/>
                </a:lnTo>
                <a:cubicBezTo>
                  <a:pt x="1394" y="705599"/>
                  <a:pt x="0" y="703741"/>
                  <a:pt x="0" y="701883"/>
                </a:cubicBezTo>
                <a:lnTo>
                  <a:pt x="1394" y="538838"/>
                </a:lnTo>
                <a:lnTo>
                  <a:pt x="0" y="412954"/>
                </a:lnTo>
                <a:cubicBezTo>
                  <a:pt x="0" y="410632"/>
                  <a:pt x="1858" y="409238"/>
                  <a:pt x="3716" y="409238"/>
                </a:cubicBezTo>
                <a:close/>
                <a:moveTo>
                  <a:pt x="919279" y="401806"/>
                </a:moveTo>
                <a:lnTo>
                  <a:pt x="951331" y="401806"/>
                </a:lnTo>
                <a:cubicBezTo>
                  <a:pt x="953653" y="401806"/>
                  <a:pt x="955047" y="403664"/>
                  <a:pt x="955047" y="405522"/>
                </a:cubicBezTo>
                <a:lnTo>
                  <a:pt x="953189" y="551845"/>
                </a:lnTo>
                <a:lnTo>
                  <a:pt x="955047" y="702348"/>
                </a:lnTo>
                <a:cubicBezTo>
                  <a:pt x="955047" y="704671"/>
                  <a:pt x="953189" y="706064"/>
                  <a:pt x="951331" y="706064"/>
                </a:cubicBezTo>
                <a:lnTo>
                  <a:pt x="919279" y="706064"/>
                </a:lnTo>
                <a:lnTo>
                  <a:pt x="919279" y="705600"/>
                </a:lnTo>
                <a:cubicBezTo>
                  <a:pt x="916957" y="705600"/>
                  <a:pt x="915563" y="703741"/>
                  <a:pt x="915563" y="701883"/>
                </a:cubicBezTo>
                <a:lnTo>
                  <a:pt x="917421" y="551845"/>
                </a:lnTo>
                <a:lnTo>
                  <a:pt x="915563" y="405522"/>
                </a:lnTo>
                <a:cubicBezTo>
                  <a:pt x="915563" y="403200"/>
                  <a:pt x="917421" y="401806"/>
                  <a:pt x="919279" y="401806"/>
                </a:cubicBezTo>
                <a:close/>
                <a:moveTo>
                  <a:pt x="1165473" y="396232"/>
                </a:moveTo>
                <a:cubicBezTo>
                  <a:pt x="1175692" y="396232"/>
                  <a:pt x="1186841" y="397625"/>
                  <a:pt x="1194738" y="399484"/>
                </a:cubicBezTo>
                <a:cubicBezTo>
                  <a:pt x="1197060" y="399948"/>
                  <a:pt x="1198454" y="402271"/>
                  <a:pt x="1198454" y="404129"/>
                </a:cubicBezTo>
                <a:lnTo>
                  <a:pt x="1198454" y="426426"/>
                </a:lnTo>
                <a:cubicBezTo>
                  <a:pt x="1198454" y="428284"/>
                  <a:pt x="1196596" y="429677"/>
                  <a:pt x="1194738" y="429677"/>
                </a:cubicBezTo>
                <a:cubicBezTo>
                  <a:pt x="1188699" y="427819"/>
                  <a:pt x="1181731" y="426890"/>
                  <a:pt x="1174299" y="426890"/>
                </a:cubicBezTo>
                <a:cubicBezTo>
                  <a:pt x="1156647" y="426890"/>
                  <a:pt x="1145499" y="437574"/>
                  <a:pt x="1145499" y="465909"/>
                </a:cubicBezTo>
                <a:lnTo>
                  <a:pt x="1145499" y="482632"/>
                </a:lnTo>
                <a:lnTo>
                  <a:pt x="1194273" y="482632"/>
                </a:lnTo>
                <a:cubicBezTo>
                  <a:pt x="1196596" y="482632"/>
                  <a:pt x="1197989" y="484490"/>
                  <a:pt x="1197989" y="486348"/>
                </a:cubicBezTo>
                <a:lnTo>
                  <a:pt x="1197989" y="509109"/>
                </a:lnTo>
                <a:cubicBezTo>
                  <a:pt x="1197989" y="511432"/>
                  <a:pt x="1196131" y="512826"/>
                  <a:pt x="1194273" y="512826"/>
                </a:cubicBezTo>
                <a:lnTo>
                  <a:pt x="1145499" y="512826"/>
                </a:lnTo>
                <a:lnTo>
                  <a:pt x="1145499" y="604800"/>
                </a:lnTo>
                <a:lnTo>
                  <a:pt x="1145034" y="604800"/>
                </a:lnTo>
                <a:lnTo>
                  <a:pt x="1146428" y="701884"/>
                </a:lnTo>
                <a:cubicBezTo>
                  <a:pt x="1146428" y="704206"/>
                  <a:pt x="1144570" y="705600"/>
                  <a:pt x="1142712" y="705600"/>
                </a:cubicBezTo>
                <a:lnTo>
                  <a:pt x="1109266" y="705600"/>
                </a:lnTo>
                <a:cubicBezTo>
                  <a:pt x="1106944" y="705600"/>
                  <a:pt x="1105550" y="703742"/>
                  <a:pt x="1105550" y="701884"/>
                </a:cubicBezTo>
                <a:lnTo>
                  <a:pt x="1106944" y="604800"/>
                </a:lnTo>
                <a:lnTo>
                  <a:pt x="1106944" y="512361"/>
                </a:lnTo>
                <a:lnTo>
                  <a:pt x="1075821" y="512361"/>
                </a:lnTo>
                <a:cubicBezTo>
                  <a:pt x="1073498" y="512361"/>
                  <a:pt x="1072105" y="510503"/>
                  <a:pt x="1072105" y="508645"/>
                </a:cubicBezTo>
                <a:lnTo>
                  <a:pt x="1072105" y="485884"/>
                </a:lnTo>
                <a:cubicBezTo>
                  <a:pt x="1072105" y="483561"/>
                  <a:pt x="1073963" y="482167"/>
                  <a:pt x="1075821" y="482167"/>
                </a:cubicBezTo>
                <a:lnTo>
                  <a:pt x="1106944" y="482167"/>
                </a:lnTo>
                <a:lnTo>
                  <a:pt x="1106944" y="462658"/>
                </a:lnTo>
                <a:cubicBezTo>
                  <a:pt x="1106944" y="413419"/>
                  <a:pt x="1137137" y="396232"/>
                  <a:pt x="1165473" y="396232"/>
                </a:cubicBezTo>
                <a:close/>
                <a:moveTo>
                  <a:pt x="1006608" y="104516"/>
                </a:moveTo>
                <a:cubicBezTo>
                  <a:pt x="962479" y="104980"/>
                  <a:pt x="941111" y="137032"/>
                  <a:pt x="941111" y="193238"/>
                </a:cubicBezTo>
                <a:cubicBezTo>
                  <a:pt x="941111" y="249445"/>
                  <a:pt x="962943" y="280567"/>
                  <a:pt x="1006608" y="280567"/>
                </a:cubicBezTo>
                <a:cubicBezTo>
                  <a:pt x="1050737" y="280567"/>
                  <a:pt x="1071640" y="249445"/>
                  <a:pt x="1071640" y="193238"/>
                </a:cubicBezTo>
                <a:cubicBezTo>
                  <a:pt x="1071640" y="137032"/>
                  <a:pt x="1049808" y="104516"/>
                  <a:pt x="1006608" y="104516"/>
                </a:cubicBezTo>
                <a:close/>
                <a:moveTo>
                  <a:pt x="475200" y="103586"/>
                </a:moveTo>
                <a:cubicBezTo>
                  <a:pt x="438039" y="103586"/>
                  <a:pt x="417136" y="127277"/>
                  <a:pt x="411097" y="169548"/>
                </a:cubicBezTo>
                <a:lnTo>
                  <a:pt x="536517" y="169548"/>
                </a:lnTo>
                <a:cubicBezTo>
                  <a:pt x="535123" y="133780"/>
                  <a:pt x="514684" y="103586"/>
                  <a:pt x="475200" y="103586"/>
                </a:cubicBezTo>
                <a:close/>
                <a:moveTo>
                  <a:pt x="1141318" y="81290"/>
                </a:moveTo>
                <a:lnTo>
                  <a:pt x="1173834" y="81290"/>
                </a:lnTo>
                <a:cubicBezTo>
                  <a:pt x="1176157" y="81290"/>
                  <a:pt x="1177550" y="83148"/>
                  <a:pt x="1177550" y="85006"/>
                </a:cubicBezTo>
                <a:lnTo>
                  <a:pt x="1176621" y="176516"/>
                </a:lnTo>
                <a:lnTo>
                  <a:pt x="1176621" y="219716"/>
                </a:lnTo>
                <a:cubicBezTo>
                  <a:pt x="1176621" y="260129"/>
                  <a:pt x="1195667" y="278245"/>
                  <a:pt x="1224002" y="278245"/>
                </a:cubicBezTo>
                <a:cubicBezTo>
                  <a:pt x="1253267" y="278245"/>
                  <a:pt x="1276957" y="254555"/>
                  <a:pt x="1285783" y="210425"/>
                </a:cubicBezTo>
                <a:lnTo>
                  <a:pt x="1285783" y="176516"/>
                </a:lnTo>
                <a:lnTo>
                  <a:pt x="1284854" y="85006"/>
                </a:lnTo>
                <a:cubicBezTo>
                  <a:pt x="1284854" y="82684"/>
                  <a:pt x="1286712" y="81290"/>
                  <a:pt x="1288570" y="81290"/>
                </a:cubicBezTo>
                <a:lnTo>
                  <a:pt x="1321551" y="81290"/>
                </a:lnTo>
                <a:cubicBezTo>
                  <a:pt x="1323873" y="81290"/>
                  <a:pt x="1325267" y="83148"/>
                  <a:pt x="1325267" y="85006"/>
                </a:cubicBezTo>
                <a:lnTo>
                  <a:pt x="1324802" y="183019"/>
                </a:lnTo>
                <a:lnTo>
                  <a:pt x="1325731" y="301006"/>
                </a:lnTo>
                <a:cubicBezTo>
                  <a:pt x="1325731" y="303329"/>
                  <a:pt x="1323873" y="304722"/>
                  <a:pt x="1322015" y="304722"/>
                </a:cubicBezTo>
                <a:lnTo>
                  <a:pt x="1291357" y="304722"/>
                </a:lnTo>
                <a:cubicBezTo>
                  <a:pt x="1289034" y="304722"/>
                  <a:pt x="1287641" y="302864"/>
                  <a:pt x="1287641" y="301006"/>
                </a:cubicBezTo>
                <a:lnTo>
                  <a:pt x="1288570" y="266632"/>
                </a:lnTo>
                <a:cubicBezTo>
                  <a:pt x="1274635" y="289393"/>
                  <a:pt x="1249086" y="309832"/>
                  <a:pt x="1213783" y="309832"/>
                </a:cubicBezTo>
                <a:cubicBezTo>
                  <a:pt x="1167796" y="309832"/>
                  <a:pt x="1138531" y="279174"/>
                  <a:pt x="1138531" y="220645"/>
                </a:cubicBezTo>
                <a:lnTo>
                  <a:pt x="1138531" y="176516"/>
                </a:lnTo>
                <a:lnTo>
                  <a:pt x="1137602" y="85006"/>
                </a:lnTo>
                <a:cubicBezTo>
                  <a:pt x="1137602" y="82684"/>
                  <a:pt x="1139460" y="81290"/>
                  <a:pt x="1141318" y="81290"/>
                </a:cubicBezTo>
                <a:close/>
                <a:moveTo>
                  <a:pt x="697240" y="81290"/>
                </a:moveTo>
                <a:lnTo>
                  <a:pt x="734401" y="81290"/>
                </a:lnTo>
                <a:cubicBezTo>
                  <a:pt x="736724" y="81290"/>
                  <a:pt x="738582" y="83148"/>
                  <a:pt x="739511" y="84542"/>
                </a:cubicBezTo>
                <a:lnTo>
                  <a:pt x="803150" y="253625"/>
                </a:lnTo>
                <a:lnTo>
                  <a:pt x="856570" y="85006"/>
                </a:lnTo>
                <a:cubicBezTo>
                  <a:pt x="857499" y="82684"/>
                  <a:pt x="859821" y="81290"/>
                  <a:pt x="861679" y="81290"/>
                </a:cubicBezTo>
                <a:lnTo>
                  <a:pt x="894660" y="81290"/>
                </a:lnTo>
                <a:cubicBezTo>
                  <a:pt x="896982" y="81290"/>
                  <a:pt x="897912" y="83148"/>
                  <a:pt x="897447" y="85006"/>
                </a:cubicBezTo>
                <a:lnTo>
                  <a:pt x="796647" y="371148"/>
                </a:lnTo>
                <a:cubicBezTo>
                  <a:pt x="795718" y="373471"/>
                  <a:pt x="793395" y="374864"/>
                  <a:pt x="791537" y="374864"/>
                </a:cubicBezTo>
                <a:lnTo>
                  <a:pt x="761343" y="374864"/>
                </a:lnTo>
                <a:cubicBezTo>
                  <a:pt x="759485" y="374864"/>
                  <a:pt x="758092" y="373006"/>
                  <a:pt x="758556" y="371148"/>
                </a:cubicBezTo>
                <a:lnTo>
                  <a:pt x="782247" y="305187"/>
                </a:lnTo>
                <a:lnTo>
                  <a:pt x="694453" y="84542"/>
                </a:lnTo>
                <a:cubicBezTo>
                  <a:pt x="693988" y="82684"/>
                  <a:pt x="695382" y="81290"/>
                  <a:pt x="697240" y="81290"/>
                </a:cubicBezTo>
                <a:close/>
                <a:moveTo>
                  <a:pt x="161187" y="80361"/>
                </a:moveTo>
                <a:lnTo>
                  <a:pt x="196026" y="80361"/>
                </a:lnTo>
                <a:cubicBezTo>
                  <a:pt x="198348" y="80361"/>
                  <a:pt x="200207" y="82219"/>
                  <a:pt x="201136" y="84077"/>
                </a:cubicBezTo>
                <a:lnTo>
                  <a:pt x="264310" y="270813"/>
                </a:lnTo>
                <a:lnTo>
                  <a:pt x="328878" y="84077"/>
                </a:lnTo>
                <a:cubicBezTo>
                  <a:pt x="329807" y="81755"/>
                  <a:pt x="332129" y="80361"/>
                  <a:pt x="333987" y="80361"/>
                </a:cubicBezTo>
                <a:lnTo>
                  <a:pt x="364646" y="80361"/>
                </a:lnTo>
                <a:cubicBezTo>
                  <a:pt x="366968" y="80361"/>
                  <a:pt x="367897" y="82219"/>
                  <a:pt x="367433" y="83613"/>
                </a:cubicBezTo>
                <a:lnTo>
                  <a:pt x="288929" y="301006"/>
                </a:lnTo>
                <a:cubicBezTo>
                  <a:pt x="288000" y="302864"/>
                  <a:pt x="285678" y="304258"/>
                  <a:pt x="283820" y="304258"/>
                </a:cubicBezTo>
                <a:lnTo>
                  <a:pt x="243871" y="304258"/>
                </a:lnTo>
                <a:cubicBezTo>
                  <a:pt x="241549" y="304258"/>
                  <a:pt x="239691" y="302400"/>
                  <a:pt x="238761" y="301006"/>
                </a:cubicBezTo>
                <a:lnTo>
                  <a:pt x="158400" y="83613"/>
                </a:lnTo>
                <a:cubicBezTo>
                  <a:pt x="157936" y="81755"/>
                  <a:pt x="159329" y="80361"/>
                  <a:pt x="161187" y="80361"/>
                </a:cubicBezTo>
                <a:close/>
                <a:moveTo>
                  <a:pt x="95226" y="79896"/>
                </a:moveTo>
                <a:lnTo>
                  <a:pt x="127742" y="79896"/>
                </a:lnTo>
                <a:cubicBezTo>
                  <a:pt x="130065" y="79896"/>
                  <a:pt x="131458" y="81754"/>
                  <a:pt x="131458" y="83613"/>
                </a:cubicBezTo>
                <a:lnTo>
                  <a:pt x="130994" y="188129"/>
                </a:lnTo>
                <a:lnTo>
                  <a:pt x="131923" y="300077"/>
                </a:lnTo>
                <a:cubicBezTo>
                  <a:pt x="131923" y="302400"/>
                  <a:pt x="130065" y="303793"/>
                  <a:pt x="128207" y="303793"/>
                </a:cubicBezTo>
                <a:lnTo>
                  <a:pt x="95226" y="303793"/>
                </a:lnTo>
                <a:cubicBezTo>
                  <a:pt x="92904" y="303793"/>
                  <a:pt x="91510" y="301935"/>
                  <a:pt x="91510" y="300077"/>
                </a:cubicBezTo>
                <a:lnTo>
                  <a:pt x="92439" y="188593"/>
                </a:lnTo>
                <a:lnTo>
                  <a:pt x="91510" y="83613"/>
                </a:lnTo>
                <a:cubicBezTo>
                  <a:pt x="91510" y="81290"/>
                  <a:pt x="93368" y="79896"/>
                  <a:pt x="95226" y="79896"/>
                </a:cubicBezTo>
                <a:close/>
                <a:moveTo>
                  <a:pt x="1006608" y="75251"/>
                </a:moveTo>
                <a:cubicBezTo>
                  <a:pt x="1074892" y="75251"/>
                  <a:pt x="1112518" y="121703"/>
                  <a:pt x="1112518" y="192309"/>
                </a:cubicBezTo>
                <a:cubicBezTo>
                  <a:pt x="1112518" y="262916"/>
                  <a:pt x="1074892" y="309832"/>
                  <a:pt x="1006608" y="309832"/>
                </a:cubicBezTo>
                <a:cubicBezTo>
                  <a:pt x="938788" y="309832"/>
                  <a:pt x="900698" y="263845"/>
                  <a:pt x="900698" y="193238"/>
                </a:cubicBezTo>
                <a:cubicBezTo>
                  <a:pt x="900698" y="122167"/>
                  <a:pt x="938788" y="75251"/>
                  <a:pt x="1006608" y="75251"/>
                </a:cubicBezTo>
                <a:close/>
                <a:moveTo>
                  <a:pt x="1485061" y="74322"/>
                </a:moveTo>
                <a:cubicBezTo>
                  <a:pt x="1489706" y="74322"/>
                  <a:pt x="1494351" y="74787"/>
                  <a:pt x="1498067" y="75716"/>
                </a:cubicBezTo>
                <a:cubicBezTo>
                  <a:pt x="1500390" y="76180"/>
                  <a:pt x="1501783" y="78503"/>
                  <a:pt x="1501783" y="80361"/>
                </a:cubicBezTo>
                <a:lnTo>
                  <a:pt x="1501783" y="105445"/>
                </a:lnTo>
                <a:cubicBezTo>
                  <a:pt x="1501783" y="107303"/>
                  <a:pt x="1499925" y="108696"/>
                  <a:pt x="1498067" y="108696"/>
                </a:cubicBezTo>
                <a:cubicBezTo>
                  <a:pt x="1494816" y="108232"/>
                  <a:pt x="1490170" y="107767"/>
                  <a:pt x="1485525" y="107767"/>
                </a:cubicBezTo>
                <a:cubicBezTo>
                  <a:pt x="1447899" y="107767"/>
                  <a:pt x="1414919" y="130993"/>
                  <a:pt x="1410273" y="179767"/>
                </a:cubicBezTo>
                <a:lnTo>
                  <a:pt x="1410738" y="297290"/>
                </a:lnTo>
                <a:cubicBezTo>
                  <a:pt x="1410738" y="299612"/>
                  <a:pt x="1408880" y="301006"/>
                  <a:pt x="1407022" y="301006"/>
                </a:cubicBezTo>
                <a:lnTo>
                  <a:pt x="1374970" y="301006"/>
                </a:lnTo>
                <a:cubicBezTo>
                  <a:pt x="1372647" y="301006"/>
                  <a:pt x="1371254" y="299148"/>
                  <a:pt x="1371254" y="297290"/>
                </a:cubicBezTo>
                <a:lnTo>
                  <a:pt x="1372647" y="186735"/>
                </a:lnTo>
                <a:lnTo>
                  <a:pt x="1371254" y="80825"/>
                </a:lnTo>
                <a:cubicBezTo>
                  <a:pt x="1371254" y="78503"/>
                  <a:pt x="1373112" y="77109"/>
                  <a:pt x="1374970" y="77109"/>
                </a:cubicBezTo>
                <a:lnTo>
                  <a:pt x="1407022" y="77109"/>
                </a:lnTo>
                <a:cubicBezTo>
                  <a:pt x="1409344" y="77109"/>
                  <a:pt x="1410738" y="78967"/>
                  <a:pt x="1410738" y="80825"/>
                </a:cubicBezTo>
                <a:lnTo>
                  <a:pt x="1408880" y="118451"/>
                </a:lnTo>
                <a:cubicBezTo>
                  <a:pt x="1425138" y="89651"/>
                  <a:pt x="1453474" y="74322"/>
                  <a:pt x="1485061" y="74322"/>
                </a:cubicBezTo>
                <a:close/>
                <a:moveTo>
                  <a:pt x="474736" y="74322"/>
                </a:moveTo>
                <a:cubicBezTo>
                  <a:pt x="539304" y="74322"/>
                  <a:pt x="577859" y="118451"/>
                  <a:pt x="579252" y="193238"/>
                </a:cubicBezTo>
                <a:cubicBezTo>
                  <a:pt x="579252" y="195561"/>
                  <a:pt x="577394" y="196954"/>
                  <a:pt x="575536" y="196954"/>
                </a:cubicBezTo>
                <a:lnTo>
                  <a:pt x="409703" y="196954"/>
                </a:lnTo>
                <a:cubicBezTo>
                  <a:pt x="411097" y="250838"/>
                  <a:pt x="433394" y="279638"/>
                  <a:pt x="477058" y="279638"/>
                </a:cubicBezTo>
                <a:cubicBezTo>
                  <a:pt x="510039" y="279638"/>
                  <a:pt x="530013" y="262451"/>
                  <a:pt x="536517" y="229470"/>
                </a:cubicBezTo>
                <a:cubicBezTo>
                  <a:pt x="536981" y="227148"/>
                  <a:pt x="539304" y="225754"/>
                  <a:pt x="541162" y="225754"/>
                </a:cubicBezTo>
                <a:lnTo>
                  <a:pt x="571820" y="225754"/>
                </a:lnTo>
                <a:lnTo>
                  <a:pt x="571820" y="226219"/>
                </a:lnTo>
                <a:cubicBezTo>
                  <a:pt x="574143" y="226219"/>
                  <a:pt x="575072" y="228077"/>
                  <a:pt x="575072" y="229935"/>
                </a:cubicBezTo>
                <a:cubicBezTo>
                  <a:pt x="568104" y="275457"/>
                  <a:pt x="534194" y="308903"/>
                  <a:pt x="476594" y="308903"/>
                </a:cubicBezTo>
                <a:cubicBezTo>
                  <a:pt x="406916" y="308903"/>
                  <a:pt x="369755" y="260593"/>
                  <a:pt x="369755" y="192309"/>
                </a:cubicBezTo>
                <a:cubicBezTo>
                  <a:pt x="369755" y="122167"/>
                  <a:pt x="409703" y="74322"/>
                  <a:pt x="474736" y="74322"/>
                </a:cubicBezTo>
                <a:close/>
                <a:moveTo>
                  <a:pt x="95226" y="11148"/>
                </a:moveTo>
                <a:lnTo>
                  <a:pt x="127742" y="11148"/>
                </a:lnTo>
                <a:cubicBezTo>
                  <a:pt x="130065" y="11148"/>
                  <a:pt x="131458" y="13006"/>
                  <a:pt x="131458" y="14864"/>
                </a:cubicBezTo>
                <a:lnTo>
                  <a:pt x="131458" y="50632"/>
                </a:lnTo>
                <a:cubicBezTo>
                  <a:pt x="131458" y="52954"/>
                  <a:pt x="129600" y="54348"/>
                  <a:pt x="127742" y="54348"/>
                </a:cubicBezTo>
                <a:lnTo>
                  <a:pt x="95226" y="54348"/>
                </a:lnTo>
                <a:cubicBezTo>
                  <a:pt x="92904" y="54348"/>
                  <a:pt x="91510" y="52490"/>
                  <a:pt x="91510" y="50632"/>
                </a:cubicBezTo>
                <a:lnTo>
                  <a:pt x="91510" y="14864"/>
                </a:lnTo>
                <a:cubicBezTo>
                  <a:pt x="91510" y="12542"/>
                  <a:pt x="93368" y="11148"/>
                  <a:pt x="95226" y="11148"/>
                </a:cubicBezTo>
                <a:close/>
                <a:moveTo>
                  <a:pt x="6038" y="0"/>
                </a:moveTo>
                <a:lnTo>
                  <a:pt x="38090" y="0"/>
                </a:lnTo>
                <a:cubicBezTo>
                  <a:pt x="40412" y="0"/>
                  <a:pt x="41806" y="1858"/>
                  <a:pt x="41806" y="3716"/>
                </a:cubicBezTo>
                <a:lnTo>
                  <a:pt x="39948" y="150039"/>
                </a:lnTo>
                <a:lnTo>
                  <a:pt x="41806" y="300542"/>
                </a:lnTo>
                <a:cubicBezTo>
                  <a:pt x="41806" y="302865"/>
                  <a:pt x="39948" y="304258"/>
                  <a:pt x="38090" y="304258"/>
                </a:cubicBezTo>
                <a:lnTo>
                  <a:pt x="6038" y="304258"/>
                </a:lnTo>
                <a:lnTo>
                  <a:pt x="6038" y="303794"/>
                </a:lnTo>
                <a:cubicBezTo>
                  <a:pt x="3716" y="303794"/>
                  <a:pt x="2322" y="301936"/>
                  <a:pt x="2322" y="300077"/>
                </a:cubicBezTo>
                <a:lnTo>
                  <a:pt x="4180" y="150039"/>
                </a:lnTo>
                <a:lnTo>
                  <a:pt x="2322" y="3716"/>
                </a:lnTo>
                <a:cubicBezTo>
                  <a:pt x="2322" y="1394"/>
                  <a:pt x="4180" y="0"/>
                  <a:pt x="6038" y="0"/>
                </a:cubicBezTo>
                <a:close/>
              </a:path>
            </a:pathLst>
          </a:custGeom>
          <a:solidFill>
            <a:schemeClr val="tx1"/>
          </a:solidFill>
        </p:spPr>
        <p:txBody>
          <a:bodyPr wrap="square">
            <a:noAutofit/>
          </a:bodyPr>
          <a:lstStyle/>
          <a:p>
            <a:pPr lvl="0"/>
            <a:r>
              <a:rPr lang="en-US"/>
              <a:t> </a:t>
            </a:r>
          </a:p>
        </p:txBody>
      </p:sp>
      <p:sp>
        <p:nvSpPr>
          <p:cNvPr id="11" name="LYBL 1" descr="live your best life tagline graphic">
            <a:extLst>
              <a:ext uri="{FF2B5EF4-FFF2-40B4-BE49-F238E27FC236}">
                <a16:creationId xmlns:a16="http://schemas.microsoft.com/office/drawing/2014/main" id="{8B848369-B4E0-1C37-12AC-4CCED5B63508}"/>
              </a:ext>
            </a:extLst>
          </p:cNvPr>
          <p:cNvSpPr>
            <a:spLocks noGrp="1"/>
          </p:cNvSpPr>
          <p:nvPr>
            <p:ph type="body" sz="quarter" idx="22" hasCustomPrompt="1"/>
          </p:nvPr>
        </p:nvSpPr>
        <p:spPr>
          <a:xfrm>
            <a:off x="13940543" y="1088687"/>
            <a:ext cx="783622" cy="1440313"/>
          </a:xfrm>
          <a:custGeom>
            <a:avLst/>
            <a:gdLst>
              <a:gd name="connsiteX0" fmla="*/ 402004 w 783622"/>
              <a:gd name="connsiteY0" fmla="*/ 1240933 h 1440313"/>
              <a:gd name="connsiteX1" fmla="*/ 339754 w 783622"/>
              <a:gd name="connsiteY1" fmla="*/ 1304987 h 1440313"/>
              <a:gd name="connsiteX2" fmla="*/ 461547 w 783622"/>
              <a:gd name="connsiteY2" fmla="*/ 1304987 h 1440313"/>
              <a:gd name="connsiteX3" fmla="*/ 402004 w 783622"/>
              <a:gd name="connsiteY3" fmla="*/ 1240933 h 1440313"/>
              <a:gd name="connsiteX4" fmla="*/ 112860 w 783622"/>
              <a:gd name="connsiteY4" fmla="*/ 1218379 h 1440313"/>
              <a:gd name="connsiteX5" fmla="*/ 144436 w 783622"/>
              <a:gd name="connsiteY5" fmla="*/ 1218379 h 1440313"/>
              <a:gd name="connsiteX6" fmla="*/ 148044 w 783622"/>
              <a:gd name="connsiteY6" fmla="*/ 1221987 h 1440313"/>
              <a:gd name="connsiteX7" fmla="*/ 147142 w 783622"/>
              <a:gd name="connsiteY7" fmla="*/ 1323481 h 1440313"/>
              <a:gd name="connsiteX8" fmla="*/ 148044 w 783622"/>
              <a:gd name="connsiteY8" fmla="*/ 1432193 h 1440313"/>
              <a:gd name="connsiteX9" fmla="*/ 144436 w 783622"/>
              <a:gd name="connsiteY9" fmla="*/ 1435801 h 1440313"/>
              <a:gd name="connsiteX10" fmla="*/ 112860 w 783622"/>
              <a:gd name="connsiteY10" fmla="*/ 1435801 h 1440313"/>
              <a:gd name="connsiteX11" fmla="*/ 109251 w 783622"/>
              <a:gd name="connsiteY11" fmla="*/ 1432193 h 1440313"/>
              <a:gd name="connsiteX12" fmla="*/ 110153 w 783622"/>
              <a:gd name="connsiteY12" fmla="*/ 1323932 h 1440313"/>
              <a:gd name="connsiteX13" fmla="*/ 109251 w 783622"/>
              <a:gd name="connsiteY13" fmla="*/ 1221987 h 1440313"/>
              <a:gd name="connsiteX14" fmla="*/ 112860 w 783622"/>
              <a:gd name="connsiteY14" fmla="*/ 1218379 h 1440313"/>
              <a:gd name="connsiteX15" fmla="*/ 401553 w 783622"/>
              <a:gd name="connsiteY15" fmla="*/ 1212515 h 1440313"/>
              <a:gd name="connsiteX16" fmla="*/ 503047 w 783622"/>
              <a:gd name="connsiteY16" fmla="*/ 1327993 h 1440313"/>
              <a:gd name="connsiteX17" fmla="*/ 499438 w 783622"/>
              <a:gd name="connsiteY17" fmla="*/ 1331601 h 1440313"/>
              <a:gd name="connsiteX18" fmla="*/ 338852 w 783622"/>
              <a:gd name="connsiteY18" fmla="*/ 1331601 h 1440313"/>
              <a:gd name="connsiteX19" fmla="*/ 404260 w 783622"/>
              <a:gd name="connsiteY19" fmla="*/ 1411894 h 1440313"/>
              <a:gd name="connsiteX20" fmla="*/ 461998 w 783622"/>
              <a:gd name="connsiteY20" fmla="*/ 1363177 h 1440313"/>
              <a:gd name="connsiteX21" fmla="*/ 466509 w 783622"/>
              <a:gd name="connsiteY21" fmla="*/ 1359569 h 1440313"/>
              <a:gd name="connsiteX22" fmla="*/ 495830 w 783622"/>
              <a:gd name="connsiteY22" fmla="*/ 1359569 h 1440313"/>
              <a:gd name="connsiteX23" fmla="*/ 495830 w 783622"/>
              <a:gd name="connsiteY23" fmla="*/ 1360020 h 1440313"/>
              <a:gd name="connsiteX24" fmla="*/ 498987 w 783622"/>
              <a:gd name="connsiteY24" fmla="*/ 1363628 h 1440313"/>
              <a:gd name="connsiteX25" fmla="*/ 403357 w 783622"/>
              <a:gd name="connsiteY25" fmla="*/ 1440313 h 1440313"/>
              <a:gd name="connsiteX26" fmla="*/ 299608 w 783622"/>
              <a:gd name="connsiteY26" fmla="*/ 1327090 h 1440313"/>
              <a:gd name="connsiteX27" fmla="*/ 401553 w 783622"/>
              <a:gd name="connsiteY27" fmla="*/ 1212515 h 1440313"/>
              <a:gd name="connsiteX28" fmla="*/ 112860 w 783622"/>
              <a:gd name="connsiteY28" fmla="*/ 1151167 h 1440313"/>
              <a:gd name="connsiteX29" fmla="*/ 144436 w 783622"/>
              <a:gd name="connsiteY29" fmla="*/ 1151167 h 1440313"/>
              <a:gd name="connsiteX30" fmla="*/ 148044 w 783622"/>
              <a:gd name="connsiteY30" fmla="*/ 1154776 h 1440313"/>
              <a:gd name="connsiteX31" fmla="*/ 148044 w 783622"/>
              <a:gd name="connsiteY31" fmla="*/ 1189509 h 1440313"/>
              <a:gd name="connsiteX32" fmla="*/ 144436 w 783622"/>
              <a:gd name="connsiteY32" fmla="*/ 1193118 h 1440313"/>
              <a:gd name="connsiteX33" fmla="*/ 112860 w 783622"/>
              <a:gd name="connsiteY33" fmla="*/ 1193118 h 1440313"/>
              <a:gd name="connsiteX34" fmla="*/ 109251 w 783622"/>
              <a:gd name="connsiteY34" fmla="*/ 1189509 h 1440313"/>
              <a:gd name="connsiteX35" fmla="*/ 109251 w 783622"/>
              <a:gd name="connsiteY35" fmla="*/ 1154776 h 1440313"/>
              <a:gd name="connsiteX36" fmla="*/ 112860 w 783622"/>
              <a:gd name="connsiteY36" fmla="*/ 1151167 h 1440313"/>
              <a:gd name="connsiteX37" fmla="*/ 29860 w 783622"/>
              <a:gd name="connsiteY37" fmla="*/ 1140793 h 1440313"/>
              <a:gd name="connsiteX38" fmla="*/ 60984 w 783622"/>
              <a:gd name="connsiteY38" fmla="*/ 1140793 h 1440313"/>
              <a:gd name="connsiteX39" fmla="*/ 64593 w 783622"/>
              <a:gd name="connsiteY39" fmla="*/ 1144402 h 1440313"/>
              <a:gd name="connsiteX40" fmla="*/ 62789 w 783622"/>
              <a:gd name="connsiteY40" fmla="*/ 1286493 h 1440313"/>
              <a:gd name="connsiteX41" fmla="*/ 64593 w 783622"/>
              <a:gd name="connsiteY41" fmla="*/ 1432644 h 1440313"/>
              <a:gd name="connsiteX42" fmla="*/ 60984 w 783622"/>
              <a:gd name="connsiteY42" fmla="*/ 1436253 h 1440313"/>
              <a:gd name="connsiteX43" fmla="*/ 29860 w 783622"/>
              <a:gd name="connsiteY43" fmla="*/ 1436253 h 1440313"/>
              <a:gd name="connsiteX44" fmla="*/ 29860 w 783622"/>
              <a:gd name="connsiteY44" fmla="*/ 1435802 h 1440313"/>
              <a:gd name="connsiteX45" fmla="*/ 26251 w 783622"/>
              <a:gd name="connsiteY45" fmla="*/ 1432193 h 1440313"/>
              <a:gd name="connsiteX46" fmla="*/ 28055 w 783622"/>
              <a:gd name="connsiteY46" fmla="*/ 1286493 h 1440313"/>
              <a:gd name="connsiteX47" fmla="*/ 26251 w 783622"/>
              <a:gd name="connsiteY47" fmla="*/ 1144402 h 1440313"/>
              <a:gd name="connsiteX48" fmla="*/ 29860 w 783622"/>
              <a:gd name="connsiteY48" fmla="*/ 1140793 h 1440313"/>
              <a:gd name="connsiteX49" fmla="*/ 268483 w 783622"/>
              <a:gd name="connsiteY49" fmla="*/ 1134928 h 1440313"/>
              <a:gd name="connsiteX50" fmla="*/ 296901 w 783622"/>
              <a:gd name="connsiteY50" fmla="*/ 1138086 h 1440313"/>
              <a:gd name="connsiteX51" fmla="*/ 300510 w 783622"/>
              <a:gd name="connsiteY51" fmla="*/ 1142596 h 1440313"/>
              <a:gd name="connsiteX52" fmla="*/ 300510 w 783622"/>
              <a:gd name="connsiteY52" fmla="*/ 1164248 h 1440313"/>
              <a:gd name="connsiteX53" fmla="*/ 296901 w 783622"/>
              <a:gd name="connsiteY53" fmla="*/ 1167406 h 1440313"/>
              <a:gd name="connsiteX54" fmla="*/ 277054 w 783622"/>
              <a:gd name="connsiteY54" fmla="*/ 1164700 h 1440313"/>
              <a:gd name="connsiteX55" fmla="*/ 249086 w 783622"/>
              <a:gd name="connsiteY55" fmla="*/ 1202591 h 1440313"/>
              <a:gd name="connsiteX56" fmla="*/ 249086 w 783622"/>
              <a:gd name="connsiteY56" fmla="*/ 1218830 h 1440313"/>
              <a:gd name="connsiteX57" fmla="*/ 296450 w 783622"/>
              <a:gd name="connsiteY57" fmla="*/ 1218830 h 1440313"/>
              <a:gd name="connsiteX58" fmla="*/ 300059 w 783622"/>
              <a:gd name="connsiteY58" fmla="*/ 1222438 h 1440313"/>
              <a:gd name="connsiteX59" fmla="*/ 300059 w 783622"/>
              <a:gd name="connsiteY59" fmla="*/ 1244542 h 1440313"/>
              <a:gd name="connsiteX60" fmla="*/ 296450 w 783622"/>
              <a:gd name="connsiteY60" fmla="*/ 1248150 h 1440313"/>
              <a:gd name="connsiteX61" fmla="*/ 248635 w 783622"/>
              <a:gd name="connsiteY61" fmla="*/ 1248150 h 1440313"/>
              <a:gd name="connsiteX62" fmla="*/ 248635 w 783622"/>
              <a:gd name="connsiteY62" fmla="*/ 1337465 h 1440313"/>
              <a:gd name="connsiteX63" fmla="*/ 249988 w 783622"/>
              <a:gd name="connsiteY63" fmla="*/ 1431742 h 1440313"/>
              <a:gd name="connsiteX64" fmla="*/ 246380 w 783622"/>
              <a:gd name="connsiteY64" fmla="*/ 1435350 h 1440313"/>
              <a:gd name="connsiteX65" fmla="*/ 213902 w 783622"/>
              <a:gd name="connsiteY65" fmla="*/ 1435350 h 1440313"/>
              <a:gd name="connsiteX66" fmla="*/ 210293 w 783622"/>
              <a:gd name="connsiteY66" fmla="*/ 1431742 h 1440313"/>
              <a:gd name="connsiteX67" fmla="*/ 211646 w 783622"/>
              <a:gd name="connsiteY67" fmla="*/ 1337465 h 1440313"/>
              <a:gd name="connsiteX68" fmla="*/ 211646 w 783622"/>
              <a:gd name="connsiteY68" fmla="*/ 1247699 h 1440313"/>
              <a:gd name="connsiteX69" fmla="*/ 181424 w 783622"/>
              <a:gd name="connsiteY69" fmla="*/ 1247699 h 1440313"/>
              <a:gd name="connsiteX70" fmla="*/ 177815 w 783622"/>
              <a:gd name="connsiteY70" fmla="*/ 1244090 h 1440313"/>
              <a:gd name="connsiteX71" fmla="*/ 177815 w 783622"/>
              <a:gd name="connsiteY71" fmla="*/ 1221987 h 1440313"/>
              <a:gd name="connsiteX72" fmla="*/ 181424 w 783622"/>
              <a:gd name="connsiteY72" fmla="*/ 1218379 h 1440313"/>
              <a:gd name="connsiteX73" fmla="*/ 211646 w 783622"/>
              <a:gd name="connsiteY73" fmla="*/ 1218379 h 1440313"/>
              <a:gd name="connsiteX74" fmla="*/ 211646 w 783622"/>
              <a:gd name="connsiteY74" fmla="*/ 1199433 h 1440313"/>
              <a:gd name="connsiteX75" fmla="*/ 268483 w 783622"/>
              <a:gd name="connsiteY75" fmla="*/ 1134928 h 1440313"/>
              <a:gd name="connsiteX76" fmla="*/ 121430 w 783622"/>
              <a:gd name="connsiteY76" fmla="*/ 828191 h 1440313"/>
              <a:gd name="connsiteX77" fmla="*/ 60534 w 783622"/>
              <a:gd name="connsiteY77" fmla="*/ 910288 h 1440313"/>
              <a:gd name="connsiteX78" fmla="*/ 120528 w 783622"/>
              <a:gd name="connsiteY78" fmla="*/ 996897 h 1440313"/>
              <a:gd name="connsiteX79" fmla="*/ 182327 w 783622"/>
              <a:gd name="connsiteY79" fmla="*/ 914348 h 1440313"/>
              <a:gd name="connsiteX80" fmla="*/ 121430 w 783622"/>
              <a:gd name="connsiteY80" fmla="*/ 828191 h 1440313"/>
              <a:gd name="connsiteX81" fmla="*/ 345619 w 783622"/>
              <a:gd name="connsiteY81" fmla="*/ 826838 h 1440313"/>
              <a:gd name="connsiteX82" fmla="*/ 283369 w 783622"/>
              <a:gd name="connsiteY82" fmla="*/ 890892 h 1440313"/>
              <a:gd name="connsiteX83" fmla="*/ 405162 w 783622"/>
              <a:gd name="connsiteY83" fmla="*/ 890892 h 1440313"/>
              <a:gd name="connsiteX84" fmla="*/ 345619 w 783622"/>
              <a:gd name="connsiteY84" fmla="*/ 826838 h 1440313"/>
              <a:gd name="connsiteX85" fmla="*/ 556726 w 783622"/>
              <a:gd name="connsiteY85" fmla="*/ 800224 h 1440313"/>
              <a:gd name="connsiteX86" fmla="*/ 647394 w 783622"/>
              <a:gd name="connsiteY86" fmla="*/ 866533 h 1440313"/>
              <a:gd name="connsiteX87" fmla="*/ 643785 w 783622"/>
              <a:gd name="connsiteY87" fmla="*/ 870142 h 1440313"/>
              <a:gd name="connsiteX88" fmla="*/ 615367 w 783622"/>
              <a:gd name="connsiteY88" fmla="*/ 870142 h 1440313"/>
              <a:gd name="connsiteX89" fmla="*/ 611307 w 783622"/>
              <a:gd name="connsiteY89" fmla="*/ 866533 h 1440313"/>
              <a:gd name="connsiteX90" fmla="*/ 556275 w 783622"/>
              <a:gd name="connsiteY90" fmla="*/ 826387 h 1440313"/>
              <a:gd name="connsiteX91" fmla="*/ 507558 w 783622"/>
              <a:gd name="connsiteY91" fmla="*/ 861571 h 1440313"/>
              <a:gd name="connsiteX92" fmla="*/ 654160 w 783622"/>
              <a:gd name="connsiteY92" fmla="*/ 959908 h 1440313"/>
              <a:gd name="connsiteX93" fmla="*/ 563041 w 783622"/>
              <a:gd name="connsiteY93" fmla="*/ 1026217 h 1440313"/>
              <a:gd name="connsiteX94" fmla="*/ 466058 w 783622"/>
              <a:gd name="connsiteY94" fmla="*/ 950435 h 1440313"/>
              <a:gd name="connsiteX95" fmla="*/ 469667 w 783622"/>
              <a:gd name="connsiteY95" fmla="*/ 946826 h 1440313"/>
              <a:gd name="connsiteX96" fmla="*/ 499438 w 783622"/>
              <a:gd name="connsiteY96" fmla="*/ 946826 h 1440313"/>
              <a:gd name="connsiteX97" fmla="*/ 503047 w 783622"/>
              <a:gd name="connsiteY97" fmla="*/ 950435 h 1440313"/>
              <a:gd name="connsiteX98" fmla="*/ 564394 w 783622"/>
              <a:gd name="connsiteY98" fmla="*/ 1000054 h 1440313"/>
              <a:gd name="connsiteX99" fmla="*/ 617622 w 783622"/>
              <a:gd name="connsiteY99" fmla="*/ 962614 h 1440313"/>
              <a:gd name="connsiteX100" fmla="*/ 471020 w 783622"/>
              <a:gd name="connsiteY100" fmla="*/ 863827 h 1440313"/>
              <a:gd name="connsiteX101" fmla="*/ 556726 w 783622"/>
              <a:gd name="connsiteY101" fmla="*/ 800224 h 1440313"/>
              <a:gd name="connsiteX102" fmla="*/ 345168 w 783622"/>
              <a:gd name="connsiteY102" fmla="*/ 798420 h 1440313"/>
              <a:gd name="connsiteX103" fmla="*/ 446662 w 783622"/>
              <a:gd name="connsiteY103" fmla="*/ 913898 h 1440313"/>
              <a:gd name="connsiteX104" fmla="*/ 443053 w 783622"/>
              <a:gd name="connsiteY104" fmla="*/ 917506 h 1440313"/>
              <a:gd name="connsiteX105" fmla="*/ 282467 w 783622"/>
              <a:gd name="connsiteY105" fmla="*/ 917506 h 1440313"/>
              <a:gd name="connsiteX106" fmla="*/ 347875 w 783622"/>
              <a:gd name="connsiteY106" fmla="*/ 997799 h 1440313"/>
              <a:gd name="connsiteX107" fmla="*/ 405613 w 783622"/>
              <a:gd name="connsiteY107" fmla="*/ 949082 h 1440313"/>
              <a:gd name="connsiteX108" fmla="*/ 410124 w 783622"/>
              <a:gd name="connsiteY108" fmla="*/ 945473 h 1440313"/>
              <a:gd name="connsiteX109" fmla="*/ 439445 w 783622"/>
              <a:gd name="connsiteY109" fmla="*/ 945473 h 1440313"/>
              <a:gd name="connsiteX110" fmla="*/ 439445 w 783622"/>
              <a:gd name="connsiteY110" fmla="*/ 945925 h 1440313"/>
              <a:gd name="connsiteX111" fmla="*/ 442602 w 783622"/>
              <a:gd name="connsiteY111" fmla="*/ 949533 h 1440313"/>
              <a:gd name="connsiteX112" fmla="*/ 346972 w 783622"/>
              <a:gd name="connsiteY112" fmla="*/ 1026218 h 1440313"/>
              <a:gd name="connsiteX113" fmla="*/ 243223 w 783622"/>
              <a:gd name="connsiteY113" fmla="*/ 912995 h 1440313"/>
              <a:gd name="connsiteX114" fmla="*/ 345168 w 783622"/>
              <a:gd name="connsiteY114" fmla="*/ 798420 h 1440313"/>
              <a:gd name="connsiteX115" fmla="*/ 691149 w 783622"/>
              <a:gd name="connsiteY115" fmla="*/ 749702 h 1440313"/>
              <a:gd name="connsiteX116" fmla="*/ 722274 w 783622"/>
              <a:gd name="connsiteY116" fmla="*/ 749702 h 1440313"/>
              <a:gd name="connsiteX117" fmla="*/ 725882 w 783622"/>
              <a:gd name="connsiteY117" fmla="*/ 753311 h 1440313"/>
              <a:gd name="connsiteX118" fmla="*/ 725431 w 783622"/>
              <a:gd name="connsiteY118" fmla="*/ 803832 h 1440313"/>
              <a:gd name="connsiteX119" fmla="*/ 775050 w 783622"/>
              <a:gd name="connsiteY119" fmla="*/ 803832 h 1440313"/>
              <a:gd name="connsiteX120" fmla="*/ 778659 w 783622"/>
              <a:gd name="connsiteY120" fmla="*/ 807441 h 1440313"/>
              <a:gd name="connsiteX121" fmla="*/ 778659 w 783622"/>
              <a:gd name="connsiteY121" fmla="*/ 829995 h 1440313"/>
              <a:gd name="connsiteX122" fmla="*/ 775050 w 783622"/>
              <a:gd name="connsiteY122" fmla="*/ 833604 h 1440313"/>
              <a:gd name="connsiteX123" fmla="*/ 725431 w 783622"/>
              <a:gd name="connsiteY123" fmla="*/ 833604 h 1440313"/>
              <a:gd name="connsiteX124" fmla="*/ 725431 w 783622"/>
              <a:gd name="connsiteY124" fmla="*/ 960358 h 1440313"/>
              <a:gd name="connsiteX125" fmla="*/ 752947 w 783622"/>
              <a:gd name="connsiteY125" fmla="*/ 994641 h 1440313"/>
              <a:gd name="connsiteX126" fmla="*/ 775501 w 783622"/>
              <a:gd name="connsiteY126" fmla="*/ 991934 h 1440313"/>
              <a:gd name="connsiteX127" fmla="*/ 779110 w 783622"/>
              <a:gd name="connsiteY127" fmla="*/ 994641 h 1440313"/>
              <a:gd name="connsiteX128" fmla="*/ 779110 w 783622"/>
              <a:gd name="connsiteY128" fmla="*/ 1014940 h 1440313"/>
              <a:gd name="connsiteX129" fmla="*/ 779561 w 783622"/>
              <a:gd name="connsiteY129" fmla="*/ 1014940 h 1440313"/>
              <a:gd name="connsiteX130" fmla="*/ 775953 w 783622"/>
              <a:gd name="connsiteY130" fmla="*/ 1019902 h 1440313"/>
              <a:gd name="connsiteX131" fmla="*/ 746181 w 783622"/>
              <a:gd name="connsiteY131" fmla="*/ 1024863 h 1440313"/>
              <a:gd name="connsiteX132" fmla="*/ 687991 w 783622"/>
              <a:gd name="connsiteY132" fmla="*/ 961261 h 1440313"/>
              <a:gd name="connsiteX133" fmla="*/ 687991 w 783622"/>
              <a:gd name="connsiteY133" fmla="*/ 833604 h 1440313"/>
              <a:gd name="connsiteX134" fmla="*/ 664084 w 783622"/>
              <a:gd name="connsiteY134" fmla="*/ 833604 h 1440313"/>
              <a:gd name="connsiteX135" fmla="*/ 660475 w 783622"/>
              <a:gd name="connsiteY135" fmla="*/ 829995 h 1440313"/>
              <a:gd name="connsiteX136" fmla="*/ 660475 w 783622"/>
              <a:gd name="connsiteY136" fmla="*/ 807441 h 1440313"/>
              <a:gd name="connsiteX137" fmla="*/ 664084 w 783622"/>
              <a:gd name="connsiteY137" fmla="*/ 803832 h 1440313"/>
              <a:gd name="connsiteX138" fmla="*/ 687991 w 783622"/>
              <a:gd name="connsiteY138" fmla="*/ 803832 h 1440313"/>
              <a:gd name="connsiteX139" fmla="*/ 687540 w 783622"/>
              <a:gd name="connsiteY139" fmla="*/ 753311 h 1440313"/>
              <a:gd name="connsiteX140" fmla="*/ 691149 w 783622"/>
              <a:gd name="connsiteY140" fmla="*/ 749702 h 1440313"/>
              <a:gd name="connsiteX141" fmla="*/ 27605 w 783622"/>
              <a:gd name="connsiteY141" fmla="*/ 737072 h 1440313"/>
              <a:gd name="connsiteX142" fmla="*/ 59181 w 783622"/>
              <a:gd name="connsiteY142" fmla="*/ 737072 h 1440313"/>
              <a:gd name="connsiteX143" fmla="*/ 62789 w 783622"/>
              <a:gd name="connsiteY143" fmla="*/ 740681 h 1440313"/>
              <a:gd name="connsiteX144" fmla="*/ 62338 w 783622"/>
              <a:gd name="connsiteY144" fmla="*/ 837664 h 1440313"/>
              <a:gd name="connsiteX145" fmla="*/ 131354 w 783622"/>
              <a:gd name="connsiteY145" fmla="*/ 799773 h 1440313"/>
              <a:gd name="connsiteX146" fmla="*/ 221120 w 783622"/>
              <a:gd name="connsiteY146" fmla="*/ 912093 h 1440313"/>
              <a:gd name="connsiteX147" fmla="*/ 130452 w 783622"/>
              <a:gd name="connsiteY147" fmla="*/ 1025766 h 1440313"/>
              <a:gd name="connsiteX148" fmla="*/ 61436 w 783622"/>
              <a:gd name="connsiteY148" fmla="*/ 987875 h 1440313"/>
              <a:gd name="connsiteX149" fmla="*/ 62338 w 783622"/>
              <a:gd name="connsiteY149" fmla="*/ 1017646 h 1440313"/>
              <a:gd name="connsiteX150" fmla="*/ 58729 w 783622"/>
              <a:gd name="connsiteY150" fmla="*/ 1021255 h 1440313"/>
              <a:gd name="connsiteX151" fmla="*/ 27605 w 783622"/>
              <a:gd name="connsiteY151" fmla="*/ 1021255 h 1440313"/>
              <a:gd name="connsiteX152" fmla="*/ 23996 w 783622"/>
              <a:gd name="connsiteY152" fmla="*/ 1017646 h 1440313"/>
              <a:gd name="connsiteX153" fmla="*/ 25349 w 783622"/>
              <a:gd name="connsiteY153" fmla="*/ 859316 h 1440313"/>
              <a:gd name="connsiteX154" fmla="*/ 23996 w 783622"/>
              <a:gd name="connsiteY154" fmla="*/ 740681 h 1440313"/>
              <a:gd name="connsiteX155" fmla="*/ 27605 w 783622"/>
              <a:gd name="connsiteY155" fmla="*/ 737072 h 1440313"/>
              <a:gd name="connsiteX156" fmla="*/ 302766 w 783622"/>
              <a:gd name="connsiteY156" fmla="*/ 438003 h 1440313"/>
              <a:gd name="connsiteX157" fmla="*/ 239163 w 783622"/>
              <a:gd name="connsiteY157" fmla="*/ 524160 h 1440313"/>
              <a:gd name="connsiteX158" fmla="*/ 302766 w 783622"/>
              <a:gd name="connsiteY158" fmla="*/ 608964 h 1440313"/>
              <a:gd name="connsiteX159" fmla="*/ 365918 w 783622"/>
              <a:gd name="connsiteY159" fmla="*/ 524160 h 1440313"/>
              <a:gd name="connsiteX160" fmla="*/ 302766 w 783622"/>
              <a:gd name="connsiteY160" fmla="*/ 438003 h 1440313"/>
              <a:gd name="connsiteX161" fmla="*/ 433129 w 783622"/>
              <a:gd name="connsiteY161" fmla="*/ 415449 h 1440313"/>
              <a:gd name="connsiteX162" fmla="*/ 464705 w 783622"/>
              <a:gd name="connsiteY162" fmla="*/ 415449 h 1440313"/>
              <a:gd name="connsiteX163" fmla="*/ 468313 w 783622"/>
              <a:gd name="connsiteY163" fmla="*/ 419058 h 1440313"/>
              <a:gd name="connsiteX164" fmla="*/ 467411 w 783622"/>
              <a:gd name="connsiteY164" fmla="*/ 507921 h 1440313"/>
              <a:gd name="connsiteX165" fmla="*/ 467411 w 783622"/>
              <a:gd name="connsiteY165" fmla="*/ 549872 h 1440313"/>
              <a:gd name="connsiteX166" fmla="*/ 513422 w 783622"/>
              <a:gd name="connsiteY166" fmla="*/ 606709 h 1440313"/>
              <a:gd name="connsiteX167" fmla="*/ 573416 w 783622"/>
              <a:gd name="connsiteY167" fmla="*/ 540850 h 1440313"/>
              <a:gd name="connsiteX168" fmla="*/ 573416 w 783622"/>
              <a:gd name="connsiteY168" fmla="*/ 507921 h 1440313"/>
              <a:gd name="connsiteX169" fmla="*/ 572514 w 783622"/>
              <a:gd name="connsiteY169" fmla="*/ 419058 h 1440313"/>
              <a:gd name="connsiteX170" fmla="*/ 576122 w 783622"/>
              <a:gd name="connsiteY170" fmla="*/ 415449 h 1440313"/>
              <a:gd name="connsiteX171" fmla="*/ 608149 w 783622"/>
              <a:gd name="connsiteY171" fmla="*/ 415449 h 1440313"/>
              <a:gd name="connsiteX172" fmla="*/ 611758 w 783622"/>
              <a:gd name="connsiteY172" fmla="*/ 419058 h 1440313"/>
              <a:gd name="connsiteX173" fmla="*/ 610405 w 783622"/>
              <a:gd name="connsiteY173" fmla="*/ 514688 h 1440313"/>
              <a:gd name="connsiteX174" fmla="*/ 611307 w 783622"/>
              <a:gd name="connsiteY174" fmla="*/ 629263 h 1440313"/>
              <a:gd name="connsiteX175" fmla="*/ 607698 w 783622"/>
              <a:gd name="connsiteY175" fmla="*/ 632872 h 1440313"/>
              <a:gd name="connsiteX176" fmla="*/ 577927 w 783622"/>
              <a:gd name="connsiteY176" fmla="*/ 632872 h 1440313"/>
              <a:gd name="connsiteX177" fmla="*/ 574318 w 783622"/>
              <a:gd name="connsiteY177" fmla="*/ 629263 h 1440313"/>
              <a:gd name="connsiteX178" fmla="*/ 575220 w 783622"/>
              <a:gd name="connsiteY178" fmla="*/ 595883 h 1440313"/>
              <a:gd name="connsiteX179" fmla="*/ 503498 w 783622"/>
              <a:gd name="connsiteY179" fmla="*/ 637383 h 1440313"/>
              <a:gd name="connsiteX180" fmla="*/ 430422 w 783622"/>
              <a:gd name="connsiteY180" fmla="*/ 550774 h 1440313"/>
              <a:gd name="connsiteX181" fmla="*/ 430422 w 783622"/>
              <a:gd name="connsiteY181" fmla="*/ 507921 h 1440313"/>
              <a:gd name="connsiteX182" fmla="*/ 429520 w 783622"/>
              <a:gd name="connsiteY182" fmla="*/ 419058 h 1440313"/>
              <a:gd name="connsiteX183" fmla="*/ 433129 w 783622"/>
              <a:gd name="connsiteY183" fmla="*/ 415449 h 1440313"/>
              <a:gd name="connsiteX184" fmla="*/ 2795 w 783622"/>
              <a:gd name="connsiteY184" fmla="*/ 414998 h 1440313"/>
              <a:gd name="connsiteX185" fmla="*/ 38882 w 783622"/>
              <a:gd name="connsiteY185" fmla="*/ 414998 h 1440313"/>
              <a:gd name="connsiteX186" fmla="*/ 43844 w 783622"/>
              <a:gd name="connsiteY186" fmla="*/ 418156 h 1440313"/>
              <a:gd name="connsiteX187" fmla="*/ 105642 w 783622"/>
              <a:gd name="connsiteY187" fmla="*/ 582350 h 1440313"/>
              <a:gd name="connsiteX188" fmla="*/ 157517 w 783622"/>
              <a:gd name="connsiteY188" fmla="*/ 418607 h 1440313"/>
              <a:gd name="connsiteX189" fmla="*/ 162479 w 783622"/>
              <a:gd name="connsiteY189" fmla="*/ 414998 h 1440313"/>
              <a:gd name="connsiteX190" fmla="*/ 194506 w 783622"/>
              <a:gd name="connsiteY190" fmla="*/ 414998 h 1440313"/>
              <a:gd name="connsiteX191" fmla="*/ 197212 w 783622"/>
              <a:gd name="connsiteY191" fmla="*/ 418607 h 1440313"/>
              <a:gd name="connsiteX192" fmla="*/ 98876 w 783622"/>
              <a:gd name="connsiteY192" fmla="*/ 696475 h 1440313"/>
              <a:gd name="connsiteX193" fmla="*/ 93914 w 783622"/>
              <a:gd name="connsiteY193" fmla="*/ 700083 h 1440313"/>
              <a:gd name="connsiteX194" fmla="*/ 64593 w 783622"/>
              <a:gd name="connsiteY194" fmla="*/ 700083 h 1440313"/>
              <a:gd name="connsiteX195" fmla="*/ 61887 w 783622"/>
              <a:gd name="connsiteY195" fmla="*/ 696475 h 1440313"/>
              <a:gd name="connsiteX196" fmla="*/ 84892 w 783622"/>
              <a:gd name="connsiteY196" fmla="*/ 632421 h 1440313"/>
              <a:gd name="connsiteX197" fmla="*/ 88 w 783622"/>
              <a:gd name="connsiteY197" fmla="*/ 418156 h 1440313"/>
              <a:gd name="connsiteX198" fmla="*/ 2795 w 783622"/>
              <a:gd name="connsiteY198" fmla="*/ 414998 h 1440313"/>
              <a:gd name="connsiteX199" fmla="*/ 302766 w 783622"/>
              <a:gd name="connsiteY199" fmla="*/ 409585 h 1440313"/>
              <a:gd name="connsiteX200" fmla="*/ 405613 w 783622"/>
              <a:gd name="connsiteY200" fmla="*/ 523258 h 1440313"/>
              <a:gd name="connsiteX201" fmla="*/ 302766 w 783622"/>
              <a:gd name="connsiteY201" fmla="*/ 637383 h 1440313"/>
              <a:gd name="connsiteX202" fmla="*/ 199919 w 783622"/>
              <a:gd name="connsiteY202" fmla="*/ 524160 h 1440313"/>
              <a:gd name="connsiteX203" fmla="*/ 302766 w 783622"/>
              <a:gd name="connsiteY203" fmla="*/ 409585 h 1440313"/>
              <a:gd name="connsiteX204" fmla="*/ 767383 w 783622"/>
              <a:gd name="connsiteY204" fmla="*/ 408683 h 1440313"/>
              <a:gd name="connsiteX205" fmla="*/ 780013 w 783622"/>
              <a:gd name="connsiteY205" fmla="*/ 410036 h 1440313"/>
              <a:gd name="connsiteX206" fmla="*/ 783622 w 783622"/>
              <a:gd name="connsiteY206" fmla="*/ 414547 h 1440313"/>
              <a:gd name="connsiteX207" fmla="*/ 783622 w 783622"/>
              <a:gd name="connsiteY207" fmla="*/ 438003 h 1440313"/>
              <a:gd name="connsiteX208" fmla="*/ 780013 w 783622"/>
              <a:gd name="connsiteY208" fmla="*/ 441161 h 1440313"/>
              <a:gd name="connsiteX209" fmla="*/ 767834 w 783622"/>
              <a:gd name="connsiteY209" fmla="*/ 440259 h 1440313"/>
              <a:gd name="connsiteX210" fmla="*/ 694758 w 783622"/>
              <a:gd name="connsiteY210" fmla="*/ 510177 h 1440313"/>
              <a:gd name="connsiteX211" fmla="*/ 695209 w 783622"/>
              <a:gd name="connsiteY211" fmla="*/ 624301 h 1440313"/>
              <a:gd name="connsiteX212" fmla="*/ 691600 w 783622"/>
              <a:gd name="connsiteY212" fmla="*/ 627910 h 1440313"/>
              <a:gd name="connsiteX213" fmla="*/ 660476 w 783622"/>
              <a:gd name="connsiteY213" fmla="*/ 627910 h 1440313"/>
              <a:gd name="connsiteX214" fmla="*/ 660476 w 783622"/>
              <a:gd name="connsiteY214" fmla="*/ 628361 h 1440313"/>
              <a:gd name="connsiteX215" fmla="*/ 656867 w 783622"/>
              <a:gd name="connsiteY215" fmla="*/ 624752 h 1440313"/>
              <a:gd name="connsiteX216" fmla="*/ 658220 w 783622"/>
              <a:gd name="connsiteY216" fmla="*/ 517394 h 1440313"/>
              <a:gd name="connsiteX217" fmla="*/ 656867 w 783622"/>
              <a:gd name="connsiteY217" fmla="*/ 414998 h 1440313"/>
              <a:gd name="connsiteX218" fmla="*/ 660476 w 783622"/>
              <a:gd name="connsiteY218" fmla="*/ 411390 h 1440313"/>
              <a:gd name="connsiteX219" fmla="*/ 691600 w 783622"/>
              <a:gd name="connsiteY219" fmla="*/ 411390 h 1440313"/>
              <a:gd name="connsiteX220" fmla="*/ 695209 w 783622"/>
              <a:gd name="connsiteY220" fmla="*/ 414998 h 1440313"/>
              <a:gd name="connsiteX221" fmla="*/ 693405 w 783622"/>
              <a:gd name="connsiteY221" fmla="*/ 451536 h 1440313"/>
              <a:gd name="connsiteX222" fmla="*/ 767383 w 783622"/>
              <a:gd name="connsiteY222" fmla="*/ 408683 h 1440313"/>
              <a:gd name="connsiteX223" fmla="*/ 485455 w 783622"/>
              <a:gd name="connsiteY223" fmla="*/ 100592 h 1440313"/>
              <a:gd name="connsiteX224" fmla="*/ 423205 w 783622"/>
              <a:gd name="connsiteY224" fmla="*/ 164646 h 1440313"/>
              <a:gd name="connsiteX225" fmla="*/ 544998 w 783622"/>
              <a:gd name="connsiteY225" fmla="*/ 164646 h 1440313"/>
              <a:gd name="connsiteX226" fmla="*/ 485455 w 783622"/>
              <a:gd name="connsiteY226" fmla="*/ 100592 h 1440313"/>
              <a:gd name="connsiteX227" fmla="*/ 180522 w 783622"/>
              <a:gd name="connsiteY227" fmla="*/ 78038 h 1440313"/>
              <a:gd name="connsiteX228" fmla="*/ 214353 w 783622"/>
              <a:gd name="connsiteY228" fmla="*/ 78038 h 1440313"/>
              <a:gd name="connsiteX229" fmla="*/ 219315 w 783622"/>
              <a:gd name="connsiteY229" fmla="*/ 81647 h 1440313"/>
              <a:gd name="connsiteX230" fmla="*/ 280663 w 783622"/>
              <a:gd name="connsiteY230" fmla="*/ 262983 h 1440313"/>
              <a:gd name="connsiteX231" fmla="*/ 343363 w 783622"/>
              <a:gd name="connsiteY231" fmla="*/ 81647 h 1440313"/>
              <a:gd name="connsiteX232" fmla="*/ 348325 w 783622"/>
              <a:gd name="connsiteY232" fmla="*/ 78038 h 1440313"/>
              <a:gd name="connsiteX233" fmla="*/ 378097 w 783622"/>
              <a:gd name="connsiteY233" fmla="*/ 78038 h 1440313"/>
              <a:gd name="connsiteX234" fmla="*/ 380803 w 783622"/>
              <a:gd name="connsiteY234" fmla="*/ 81196 h 1440313"/>
              <a:gd name="connsiteX235" fmla="*/ 304570 w 783622"/>
              <a:gd name="connsiteY235" fmla="*/ 292303 h 1440313"/>
              <a:gd name="connsiteX236" fmla="*/ 299608 w 783622"/>
              <a:gd name="connsiteY236" fmla="*/ 295461 h 1440313"/>
              <a:gd name="connsiteX237" fmla="*/ 260815 w 783622"/>
              <a:gd name="connsiteY237" fmla="*/ 295461 h 1440313"/>
              <a:gd name="connsiteX238" fmla="*/ 255853 w 783622"/>
              <a:gd name="connsiteY238" fmla="*/ 292303 h 1440313"/>
              <a:gd name="connsiteX239" fmla="*/ 177815 w 783622"/>
              <a:gd name="connsiteY239" fmla="*/ 81196 h 1440313"/>
              <a:gd name="connsiteX240" fmla="*/ 180522 w 783622"/>
              <a:gd name="connsiteY240" fmla="*/ 78038 h 1440313"/>
              <a:gd name="connsiteX241" fmla="*/ 116468 w 783622"/>
              <a:gd name="connsiteY241" fmla="*/ 77586 h 1440313"/>
              <a:gd name="connsiteX242" fmla="*/ 148044 w 783622"/>
              <a:gd name="connsiteY242" fmla="*/ 77586 h 1440313"/>
              <a:gd name="connsiteX243" fmla="*/ 151652 w 783622"/>
              <a:gd name="connsiteY243" fmla="*/ 81195 h 1440313"/>
              <a:gd name="connsiteX244" fmla="*/ 151201 w 783622"/>
              <a:gd name="connsiteY244" fmla="*/ 182689 h 1440313"/>
              <a:gd name="connsiteX245" fmla="*/ 152103 w 783622"/>
              <a:gd name="connsiteY245" fmla="*/ 291400 h 1440313"/>
              <a:gd name="connsiteX246" fmla="*/ 148495 w 783622"/>
              <a:gd name="connsiteY246" fmla="*/ 295009 h 1440313"/>
              <a:gd name="connsiteX247" fmla="*/ 116468 w 783622"/>
              <a:gd name="connsiteY247" fmla="*/ 295009 h 1440313"/>
              <a:gd name="connsiteX248" fmla="*/ 112859 w 783622"/>
              <a:gd name="connsiteY248" fmla="*/ 291400 h 1440313"/>
              <a:gd name="connsiteX249" fmla="*/ 113761 w 783622"/>
              <a:gd name="connsiteY249" fmla="*/ 183140 h 1440313"/>
              <a:gd name="connsiteX250" fmla="*/ 112859 w 783622"/>
              <a:gd name="connsiteY250" fmla="*/ 81195 h 1440313"/>
              <a:gd name="connsiteX251" fmla="*/ 116468 w 783622"/>
              <a:gd name="connsiteY251" fmla="*/ 77586 h 1440313"/>
              <a:gd name="connsiteX252" fmla="*/ 485004 w 783622"/>
              <a:gd name="connsiteY252" fmla="*/ 72174 h 1440313"/>
              <a:gd name="connsiteX253" fmla="*/ 586498 w 783622"/>
              <a:gd name="connsiteY253" fmla="*/ 187652 h 1440313"/>
              <a:gd name="connsiteX254" fmla="*/ 582889 w 783622"/>
              <a:gd name="connsiteY254" fmla="*/ 191260 h 1440313"/>
              <a:gd name="connsiteX255" fmla="*/ 421852 w 783622"/>
              <a:gd name="connsiteY255" fmla="*/ 191260 h 1440313"/>
              <a:gd name="connsiteX256" fmla="*/ 487259 w 783622"/>
              <a:gd name="connsiteY256" fmla="*/ 271553 h 1440313"/>
              <a:gd name="connsiteX257" fmla="*/ 544998 w 783622"/>
              <a:gd name="connsiteY257" fmla="*/ 222836 h 1440313"/>
              <a:gd name="connsiteX258" fmla="*/ 549509 w 783622"/>
              <a:gd name="connsiteY258" fmla="*/ 219227 h 1440313"/>
              <a:gd name="connsiteX259" fmla="*/ 579281 w 783622"/>
              <a:gd name="connsiteY259" fmla="*/ 219227 h 1440313"/>
              <a:gd name="connsiteX260" fmla="*/ 579281 w 783622"/>
              <a:gd name="connsiteY260" fmla="*/ 219679 h 1440313"/>
              <a:gd name="connsiteX261" fmla="*/ 582438 w 783622"/>
              <a:gd name="connsiteY261" fmla="*/ 223287 h 1440313"/>
              <a:gd name="connsiteX262" fmla="*/ 486808 w 783622"/>
              <a:gd name="connsiteY262" fmla="*/ 299972 h 1440313"/>
              <a:gd name="connsiteX263" fmla="*/ 383059 w 783622"/>
              <a:gd name="connsiteY263" fmla="*/ 186749 h 1440313"/>
              <a:gd name="connsiteX264" fmla="*/ 485004 w 783622"/>
              <a:gd name="connsiteY264" fmla="*/ 72174 h 1440313"/>
              <a:gd name="connsiteX265" fmla="*/ 116468 w 783622"/>
              <a:gd name="connsiteY265" fmla="*/ 10826 h 1440313"/>
              <a:gd name="connsiteX266" fmla="*/ 148044 w 783622"/>
              <a:gd name="connsiteY266" fmla="*/ 10826 h 1440313"/>
              <a:gd name="connsiteX267" fmla="*/ 151652 w 783622"/>
              <a:gd name="connsiteY267" fmla="*/ 14435 h 1440313"/>
              <a:gd name="connsiteX268" fmla="*/ 151652 w 783622"/>
              <a:gd name="connsiteY268" fmla="*/ 49168 h 1440313"/>
              <a:gd name="connsiteX269" fmla="*/ 148044 w 783622"/>
              <a:gd name="connsiteY269" fmla="*/ 52777 h 1440313"/>
              <a:gd name="connsiteX270" fmla="*/ 116468 w 783622"/>
              <a:gd name="connsiteY270" fmla="*/ 52777 h 1440313"/>
              <a:gd name="connsiteX271" fmla="*/ 112859 w 783622"/>
              <a:gd name="connsiteY271" fmla="*/ 49168 h 1440313"/>
              <a:gd name="connsiteX272" fmla="*/ 112859 w 783622"/>
              <a:gd name="connsiteY272" fmla="*/ 14435 h 1440313"/>
              <a:gd name="connsiteX273" fmla="*/ 116468 w 783622"/>
              <a:gd name="connsiteY273" fmla="*/ 10826 h 1440313"/>
              <a:gd name="connsiteX274" fmla="*/ 29860 w 783622"/>
              <a:gd name="connsiteY274" fmla="*/ 0 h 1440313"/>
              <a:gd name="connsiteX275" fmla="*/ 60984 w 783622"/>
              <a:gd name="connsiteY275" fmla="*/ 0 h 1440313"/>
              <a:gd name="connsiteX276" fmla="*/ 64593 w 783622"/>
              <a:gd name="connsiteY276" fmla="*/ 3609 h 1440313"/>
              <a:gd name="connsiteX277" fmla="*/ 62789 w 783622"/>
              <a:gd name="connsiteY277" fmla="*/ 145700 h 1440313"/>
              <a:gd name="connsiteX278" fmla="*/ 64593 w 783622"/>
              <a:gd name="connsiteY278" fmla="*/ 291852 h 1440313"/>
              <a:gd name="connsiteX279" fmla="*/ 60984 w 783622"/>
              <a:gd name="connsiteY279" fmla="*/ 295460 h 1440313"/>
              <a:gd name="connsiteX280" fmla="*/ 29860 w 783622"/>
              <a:gd name="connsiteY280" fmla="*/ 295460 h 1440313"/>
              <a:gd name="connsiteX281" fmla="*/ 29860 w 783622"/>
              <a:gd name="connsiteY281" fmla="*/ 295009 h 1440313"/>
              <a:gd name="connsiteX282" fmla="*/ 26251 w 783622"/>
              <a:gd name="connsiteY282" fmla="*/ 291401 h 1440313"/>
              <a:gd name="connsiteX283" fmla="*/ 28055 w 783622"/>
              <a:gd name="connsiteY283" fmla="*/ 145700 h 1440313"/>
              <a:gd name="connsiteX284" fmla="*/ 26251 w 783622"/>
              <a:gd name="connsiteY284" fmla="*/ 3609 h 1440313"/>
              <a:gd name="connsiteX285" fmla="*/ 29860 w 783622"/>
              <a:gd name="connsiteY285" fmla="*/ 0 h 144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783622" h="1440313">
                <a:moveTo>
                  <a:pt x="402004" y="1240933"/>
                </a:moveTo>
                <a:cubicBezTo>
                  <a:pt x="365917" y="1240933"/>
                  <a:pt x="345619" y="1263939"/>
                  <a:pt x="339754" y="1304987"/>
                </a:cubicBezTo>
                <a:lnTo>
                  <a:pt x="461547" y="1304987"/>
                </a:lnTo>
                <a:cubicBezTo>
                  <a:pt x="460194" y="1270705"/>
                  <a:pt x="440346" y="1240933"/>
                  <a:pt x="402004" y="1240933"/>
                </a:cubicBezTo>
                <a:close/>
                <a:moveTo>
                  <a:pt x="112860" y="1218379"/>
                </a:moveTo>
                <a:lnTo>
                  <a:pt x="144436" y="1218379"/>
                </a:lnTo>
                <a:cubicBezTo>
                  <a:pt x="146691" y="1218379"/>
                  <a:pt x="148044" y="1220183"/>
                  <a:pt x="148044" y="1221987"/>
                </a:cubicBezTo>
                <a:lnTo>
                  <a:pt x="147142" y="1323481"/>
                </a:lnTo>
                <a:lnTo>
                  <a:pt x="148044" y="1432193"/>
                </a:lnTo>
                <a:cubicBezTo>
                  <a:pt x="148044" y="1434448"/>
                  <a:pt x="146240" y="1435801"/>
                  <a:pt x="144436" y="1435801"/>
                </a:cubicBezTo>
                <a:lnTo>
                  <a:pt x="112860" y="1435801"/>
                </a:lnTo>
                <a:cubicBezTo>
                  <a:pt x="110604" y="1435801"/>
                  <a:pt x="109251" y="1433997"/>
                  <a:pt x="109251" y="1432193"/>
                </a:cubicBezTo>
                <a:lnTo>
                  <a:pt x="110153" y="1323932"/>
                </a:lnTo>
                <a:lnTo>
                  <a:pt x="109251" y="1221987"/>
                </a:lnTo>
                <a:cubicBezTo>
                  <a:pt x="109251" y="1219732"/>
                  <a:pt x="111055" y="1218379"/>
                  <a:pt x="112860" y="1218379"/>
                </a:cubicBezTo>
                <a:close/>
                <a:moveTo>
                  <a:pt x="401553" y="1212515"/>
                </a:moveTo>
                <a:cubicBezTo>
                  <a:pt x="464254" y="1212515"/>
                  <a:pt x="501694" y="1255368"/>
                  <a:pt x="503047" y="1327993"/>
                </a:cubicBezTo>
                <a:cubicBezTo>
                  <a:pt x="503047" y="1330248"/>
                  <a:pt x="501243" y="1331601"/>
                  <a:pt x="499438" y="1331601"/>
                </a:cubicBezTo>
                <a:lnTo>
                  <a:pt x="338852" y="1331601"/>
                </a:lnTo>
                <a:cubicBezTo>
                  <a:pt x="340206" y="1383927"/>
                  <a:pt x="361858" y="1411894"/>
                  <a:pt x="404260" y="1411894"/>
                </a:cubicBezTo>
                <a:cubicBezTo>
                  <a:pt x="436286" y="1411894"/>
                  <a:pt x="455683" y="1395204"/>
                  <a:pt x="461998" y="1363177"/>
                </a:cubicBezTo>
                <a:cubicBezTo>
                  <a:pt x="462449" y="1360922"/>
                  <a:pt x="464705" y="1359569"/>
                  <a:pt x="466509" y="1359569"/>
                </a:cubicBezTo>
                <a:lnTo>
                  <a:pt x="495830" y="1359569"/>
                </a:lnTo>
                <a:lnTo>
                  <a:pt x="495830" y="1360020"/>
                </a:lnTo>
                <a:cubicBezTo>
                  <a:pt x="498085" y="1360020"/>
                  <a:pt x="498987" y="1361824"/>
                  <a:pt x="498987" y="1363628"/>
                </a:cubicBezTo>
                <a:cubicBezTo>
                  <a:pt x="492221" y="1407834"/>
                  <a:pt x="459292" y="1440313"/>
                  <a:pt x="403357" y="1440313"/>
                </a:cubicBezTo>
                <a:cubicBezTo>
                  <a:pt x="335695" y="1440313"/>
                  <a:pt x="299608" y="1393400"/>
                  <a:pt x="299608" y="1327090"/>
                </a:cubicBezTo>
                <a:cubicBezTo>
                  <a:pt x="299608" y="1258977"/>
                  <a:pt x="338401" y="1212515"/>
                  <a:pt x="401553" y="1212515"/>
                </a:cubicBezTo>
                <a:close/>
                <a:moveTo>
                  <a:pt x="112860" y="1151167"/>
                </a:moveTo>
                <a:lnTo>
                  <a:pt x="144436" y="1151167"/>
                </a:lnTo>
                <a:cubicBezTo>
                  <a:pt x="146691" y="1151167"/>
                  <a:pt x="148044" y="1152971"/>
                  <a:pt x="148044" y="1154776"/>
                </a:cubicBezTo>
                <a:lnTo>
                  <a:pt x="148044" y="1189509"/>
                </a:lnTo>
                <a:cubicBezTo>
                  <a:pt x="148044" y="1191765"/>
                  <a:pt x="146240" y="1193118"/>
                  <a:pt x="144436" y="1193118"/>
                </a:cubicBezTo>
                <a:lnTo>
                  <a:pt x="112860" y="1193118"/>
                </a:lnTo>
                <a:cubicBezTo>
                  <a:pt x="110604" y="1193118"/>
                  <a:pt x="109251" y="1191313"/>
                  <a:pt x="109251" y="1189509"/>
                </a:cubicBezTo>
                <a:lnTo>
                  <a:pt x="109251" y="1154776"/>
                </a:lnTo>
                <a:cubicBezTo>
                  <a:pt x="109251" y="1152520"/>
                  <a:pt x="111055" y="1151167"/>
                  <a:pt x="112860" y="1151167"/>
                </a:cubicBezTo>
                <a:close/>
                <a:moveTo>
                  <a:pt x="29860" y="1140793"/>
                </a:moveTo>
                <a:lnTo>
                  <a:pt x="60984" y="1140793"/>
                </a:lnTo>
                <a:cubicBezTo>
                  <a:pt x="63240" y="1140793"/>
                  <a:pt x="64593" y="1142597"/>
                  <a:pt x="64593" y="1144402"/>
                </a:cubicBezTo>
                <a:lnTo>
                  <a:pt x="62789" y="1286493"/>
                </a:lnTo>
                <a:lnTo>
                  <a:pt x="64593" y="1432644"/>
                </a:lnTo>
                <a:cubicBezTo>
                  <a:pt x="64593" y="1434900"/>
                  <a:pt x="62789" y="1436253"/>
                  <a:pt x="60984" y="1436253"/>
                </a:cubicBezTo>
                <a:lnTo>
                  <a:pt x="29860" y="1436253"/>
                </a:lnTo>
                <a:lnTo>
                  <a:pt x="29860" y="1435802"/>
                </a:lnTo>
                <a:cubicBezTo>
                  <a:pt x="27604" y="1435802"/>
                  <a:pt x="26251" y="1433998"/>
                  <a:pt x="26251" y="1432193"/>
                </a:cubicBezTo>
                <a:lnTo>
                  <a:pt x="28055" y="1286493"/>
                </a:lnTo>
                <a:lnTo>
                  <a:pt x="26251" y="1144402"/>
                </a:lnTo>
                <a:cubicBezTo>
                  <a:pt x="26251" y="1142146"/>
                  <a:pt x="28055" y="1140793"/>
                  <a:pt x="29860" y="1140793"/>
                </a:cubicBezTo>
                <a:close/>
                <a:moveTo>
                  <a:pt x="268483" y="1134928"/>
                </a:moveTo>
                <a:cubicBezTo>
                  <a:pt x="278407" y="1134928"/>
                  <a:pt x="289233" y="1136281"/>
                  <a:pt x="296901" y="1138086"/>
                </a:cubicBezTo>
                <a:cubicBezTo>
                  <a:pt x="299157" y="1138537"/>
                  <a:pt x="300510" y="1140792"/>
                  <a:pt x="300510" y="1142596"/>
                </a:cubicBezTo>
                <a:lnTo>
                  <a:pt x="300510" y="1164248"/>
                </a:lnTo>
                <a:cubicBezTo>
                  <a:pt x="300510" y="1166053"/>
                  <a:pt x="298706" y="1167406"/>
                  <a:pt x="296901" y="1167406"/>
                </a:cubicBezTo>
                <a:cubicBezTo>
                  <a:pt x="291037" y="1165602"/>
                  <a:pt x="284271" y="1164700"/>
                  <a:pt x="277054" y="1164700"/>
                </a:cubicBezTo>
                <a:cubicBezTo>
                  <a:pt x="259912" y="1164700"/>
                  <a:pt x="249086" y="1175074"/>
                  <a:pt x="249086" y="1202591"/>
                </a:cubicBezTo>
                <a:lnTo>
                  <a:pt x="249086" y="1218830"/>
                </a:lnTo>
                <a:lnTo>
                  <a:pt x="296450" y="1218830"/>
                </a:lnTo>
                <a:cubicBezTo>
                  <a:pt x="298706" y="1218830"/>
                  <a:pt x="300059" y="1220634"/>
                  <a:pt x="300059" y="1222438"/>
                </a:cubicBezTo>
                <a:lnTo>
                  <a:pt x="300059" y="1244542"/>
                </a:lnTo>
                <a:cubicBezTo>
                  <a:pt x="300059" y="1246797"/>
                  <a:pt x="298254" y="1248150"/>
                  <a:pt x="296450" y="1248150"/>
                </a:cubicBezTo>
                <a:lnTo>
                  <a:pt x="248635" y="1248150"/>
                </a:lnTo>
                <a:lnTo>
                  <a:pt x="248635" y="1337465"/>
                </a:lnTo>
                <a:lnTo>
                  <a:pt x="249988" y="1431742"/>
                </a:lnTo>
                <a:cubicBezTo>
                  <a:pt x="249988" y="1433997"/>
                  <a:pt x="248184" y="1435350"/>
                  <a:pt x="246380" y="1435350"/>
                </a:cubicBezTo>
                <a:lnTo>
                  <a:pt x="213902" y="1435350"/>
                </a:lnTo>
                <a:cubicBezTo>
                  <a:pt x="211646" y="1435350"/>
                  <a:pt x="210293" y="1433546"/>
                  <a:pt x="210293" y="1431742"/>
                </a:cubicBezTo>
                <a:lnTo>
                  <a:pt x="211646" y="1337465"/>
                </a:lnTo>
                <a:lnTo>
                  <a:pt x="211646" y="1247699"/>
                </a:lnTo>
                <a:lnTo>
                  <a:pt x="181424" y="1247699"/>
                </a:lnTo>
                <a:cubicBezTo>
                  <a:pt x="179168" y="1247699"/>
                  <a:pt x="177815" y="1245895"/>
                  <a:pt x="177815" y="1244090"/>
                </a:cubicBezTo>
                <a:lnTo>
                  <a:pt x="177815" y="1221987"/>
                </a:lnTo>
                <a:cubicBezTo>
                  <a:pt x="177815" y="1219732"/>
                  <a:pt x="179619" y="1218379"/>
                  <a:pt x="181424" y="1218379"/>
                </a:cubicBezTo>
                <a:lnTo>
                  <a:pt x="211646" y="1218379"/>
                </a:lnTo>
                <a:lnTo>
                  <a:pt x="211646" y="1199433"/>
                </a:lnTo>
                <a:cubicBezTo>
                  <a:pt x="211646" y="1151618"/>
                  <a:pt x="240967" y="1134928"/>
                  <a:pt x="268483" y="1134928"/>
                </a:cubicBezTo>
                <a:close/>
                <a:moveTo>
                  <a:pt x="121430" y="828191"/>
                </a:moveTo>
                <a:cubicBezTo>
                  <a:pt x="84892" y="828191"/>
                  <a:pt x="60985" y="855707"/>
                  <a:pt x="60534" y="910288"/>
                </a:cubicBezTo>
                <a:cubicBezTo>
                  <a:pt x="60083" y="965321"/>
                  <a:pt x="82186" y="996897"/>
                  <a:pt x="120528" y="996897"/>
                </a:cubicBezTo>
                <a:cubicBezTo>
                  <a:pt x="162479" y="997348"/>
                  <a:pt x="182327" y="963065"/>
                  <a:pt x="182327" y="914348"/>
                </a:cubicBezTo>
                <a:cubicBezTo>
                  <a:pt x="182327" y="862925"/>
                  <a:pt x="162930" y="827740"/>
                  <a:pt x="121430" y="828191"/>
                </a:cubicBezTo>
                <a:close/>
                <a:moveTo>
                  <a:pt x="345619" y="826838"/>
                </a:moveTo>
                <a:cubicBezTo>
                  <a:pt x="309532" y="826838"/>
                  <a:pt x="289234" y="849844"/>
                  <a:pt x="283369" y="890892"/>
                </a:cubicBezTo>
                <a:lnTo>
                  <a:pt x="405162" y="890892"/>
                </a:lnTo>
                <a:cubicBezTo>
                  <a:pt x="403809" y="856159"/>
                  <a:pt x="383961" y="826838"/>
                  <a:pt x="345619" y="826838"/>
                </a:cubicBezTo>
                <a:close/>
                <a:moveTo>
                  <a:pt x="556726" y="800224"/>
                </a:moveTo>
                <a:cubicBezTo>
                  <a:pt x="607247" y="800224"/>
                  <a:pt x="644236" y="821425"/>
                  <a:pt x="647394" y="866533"/>
                </a:cubicBezTo>
                <a:cubicBezTo>
                  <a:pt x="647394" y="868789"/>
                  <a:pt x="645590" y="870142"/>
                  <a:pt x="643785" y="870142"/>
                </a:cubicBezTo>
                <a:lnTo>
                  <a:pt x="615367" y="870142"/>
                </a:lnTo>
                <a:cubicBezTo>
                  <a:pt x="613111" y="870142"/>
                  <a:pt x="611758" y="868338"/>
                  <a:pt x="611307" y="866533"/>
                </a:cubicBezTo>
                <a:cubicBezTo>
                  <a:pt x="608601" y="839017"/>
                  <a:pt x="587851" y="826387"/>
                  <a:pt x="556275" y="826387"/>
                </a:cubicBezTo>
                <a:cubicBezTo>
                  <a:pt x="526503" y="826387"/>
                  <a:pt x="507558" y="837213"/>
                  <a:pt x="507558" y="861571"/>
                </a:cubicBezTo>
                <a:cubicBezTo>
                  <a:pt x="507558" y="915702"/>
                  <a:pt x="654160" y="868789"/>
                  <a:pt x="654160" y="959908"/>
                </a:cubicBezTo>
                <a:cubicBezTo>
                  <a:pt x="654160" y="1001408"/>
                  <a:pt x="614916" y="1026217"/>
                  <a:pt x="563041" y="1026217"/>
                </a:cubicBezTo>
                <a:cubicBezTo>
                  <a:pt x="505302" y="1026217"/>
                  <a:pt x="467411" y="1000957"/>
                  <a:pt x="466058" y="950435"/>
                </a:cubicBezTo>
                <a:cubicBezTo>
                  <a:pt x="466058" y="948180"/>
                  <a:pt x="467862" y="946826"/>
                  <a:pt x="469667" y="946826"/>
                </a:cubicBezTo>
                <a:lnTo>
                  <a:pt x="499438" y="946826"/>
                </a:lnTo>
                <a:cubicBezTo>
                  <a:pt x="501694" y="946826"/>
                  <a:pt x="503047" y="948631"/>
                  <a:pt x="503047" y="950435"/>
                </a:cubicBezTo>
                <a:cubicBezTo>
                  <a:pt x="504851" y="984718"/>
                  <a:pt x="525601" y="1000054"/>
                  <a:pt x="564394" y="1000054"/>
                </a:cubicBezTo>
                <a:cubicBezTo>
                  <a:pt x="596421" y="1000054"/>
                  <a:pt x="617622" y="986522"/>
                  <a:pt x="617622" y="962614"/>
                </a:cubicBezTo>
                <a:cubicBezTo>
                  <a:pt x="617622" y="905778"/>
                  <a:pt x="471020" y="951788"/>
                  <a:pt x="471020" y="863827"/>
                </a:cubicBezTo>
                <a:cubicBezTo>
                  <a:pt x="471020" y="821876"/>
                  <a:pt x="505302" y="800224"/>
                  <a:pt x="556726" y="800224"/>
                </a:cubicBezTo>
                <a:close/>
                <a:moveTo>
                  <a:pt x="345168" y="798420"/>
                </a:moveTo>
                <a:cubicBezTo>
                  <a:pt x="407869" y="798420"/>
                  <a:pt x="445309" y="841273"/>
                  <a:pt x="446662" y="913898"/>
                </a:cubicBezTo>
                <a:cubicBezTo>
                  <a:pt x="446662" y="916153"/>
                  <a:pt x="444858" y="917506"/>
                  <a:pt x="443053" y="917506"/>
                </a:cubicBezTo>
                <a:lnTo>
                  <a:pt x="282467" y="917506"/>
                </a:lnTo>
                <a:cubicBezTo>
                  <a:pt x="283821" y="969832"/>
                  <a:pt x="305473" y="997799"/>
                  <a:pt x="347875" y="997799"/>
                </a:cubicBezTo>
                <a:cubicBezTo>
                  <a:pt x="379901" y="997799"/>
                  <a:pt x="399298" y="981109"/>
                  <a:pt x="405613" y="949082"/>
                </a:cubicBezTo>
                <a:cubicBezTo>
                  <a:pt x="406064" y="946827"/>
                  <a:pt x="408320" y="945473"/>
                  <a:pt x="410124" y="945473"/>
                </a:cubicBezTo>
                <a:lnTo>
                  <a:pt x="439445" y="945473"/>
                </a:lnTo>
                <a:lnTo>
                  <a:pt x="439445" y="945925"/>
                </a:lnTo>
                <a:cubicBezTo>
                  <a:pt x="441700" y="945925"/>
                  <a:pt x="442602" y="947729"/>
                  <a:pt x="442602" y="949533"/>
                </a:cubicBezTo>
                <a:cubicBezTo>
                  <a:pt x="435836" y="993740"/>
                  <a:pt x="402907" y="1026218"/>
                  <a:pt x="346972" y="1026218"/>
                </a:cubicBezTo>
                <a:cubicBezTo>
                  <a:pt x="279310" y="1026218"/>
                  <a:pt x="243223" y="979305"/>
                  <a:pt x="243223" y="912995"/>
                </a:cubicBezTo>
                <a:cubicBezTo>
                  <a:pt x="243223" y="844882"/>
                  <a:pt x="282016" y="798420"/>
                  <a:pt x="345168" y="798420"/>
                </a:cubicBezTo>
                <a:close/>
                <a:moveTo>
                  <a:pt x="691149" y="749702"/>
                </a:moveTo>
                <a:lnTo>
                  <a:pt x="722274" y="749702"/>
                </a:lnTo>
                <a:cubicBezTo>
                  <a:pt x="724529" y="749702"/>
                  <a:pt x="725882" y="751506"/>
                  <a:pt x="725882" y="753311"/>
                </a:cubicBezTo>
                <a:lnTo>
                  <a:pt x="725431" y="803832"/>
                </a:lnTo>
                <a:lnTo>
                  <a:pt x="775050" y="803832"/>
                </a:lnTo>
                <a:cubicBezTo>
                  <a:pt x="777306" y="803832"/>
                  <a:pt x="778659" y="805636"/>
                  <a:pt x="778659" y="807441"/>
                </a:cubicBezTo>
                <a:lnTo>
                  <a:pt x="778659" y="829995"/>
                </a:lnTo>
                <a:cubicBezTo>
                  <a:pt x="778659" y="832250"/>
                  <a:pt x="776855" y="833604"/>
                  <a:pt x="775050" y="833604"/>
                </a:cubicBezTo>
                <a:lnTo>
                  <a:pt x="725431" y="833604"/>
                </a:lnTo>
                <a:lnTo>
                  <a:pt x="725431" y="960358"/>
                </a:lnTo>
                <a:cubicBezTo>
                  <a:pt x="725431" y="986521"/>
                  <a:pt x="734453" y="994641"/>
                  <a:pt x="752947" y="994641"/>
                </a:cubicBezTo>
                <a:cubicBezTo>
                  <a:pt x="761518" y="994641"/>
                  <a:pt x="769637" y="993288"/>
                  <a:pt x="775501" y="991934"/>
                </a:cubicBezTo>
                <a:cubicBezTo>
                  <a:pt x="777757" y="991032"/>
                  <a:pt x="779110" y="992836"/>
                  <a:pt x="779110" y="994641"/>
                </a:cubicBezTo>
                <a:lnTo>
                  <a:pt x="779110" y="1014940"/>
                </a:lnTo>
                <a:lnTo>
                  <a:pt x="779561" y="1014940"/>
                </a:lnTo>
                <a:cubicBezTo>
                  <a:pt x="779561" y="1017195"/>
                  <a:pt x="777757" y="1018999"/>
                  <a:pt x="775953" y="1019902"/>
                </a:cubicBezTo>
                <a:cubicBezTo>
                  <a:pt x="767382" y="1022608"/>
                  <a:pt x="756556" y="1024863"/>
                  <a:pt x="746181" y="1024863"/>
                </a:cubicBezTo>
                <a:cubicBezTo>
                  <a:pt x="714605" y="1024863"/>
                  <a:pt x="687991" y="1008624"/>
                  <a:pt x="687991" y="961261"/>
                </a:cubicBezTo>
                <a:lnTo>
                  <a:pt x="687991" y="833604"/>
                </a:lnTo>
                <a:lnTo>
                  <a:pt x="664084" y="833604"/>
                </a:lnTo>
                <a:cubicBezTo>
                  <a:pt x="661828" y="833604"/>
                  <a:pt x="660475" y="831799"/>
                  <a:pt x="660475" y="829995"/>
                </a:cubicBezTo>
                <a:lnTo>
                  <a:pt x="660475" y="807441"/>
                </a:lnTo>
                <a:cubicBezTo>
                  <a:pt x="660475" y="805185"/>
                  <a:pt x="662279" y="803832"/>
                  <a:pt x="664084" y="803832"/>
                </a:cubicBezTo>
                <a:lnTo>
                  <a:pt x="687991" y="803832"/>
                </a:lnTo>
                <a:lnTo>
                  <a:pt x="687540" y="753311"/>
                </a:lnTo>
                <a:cubicBezTo>
                  <a:pt x="687540" y="751055"/>
                  <a:pt x="689344" y="749702"/>
                  <a:pt x="691149" y="749702"/>
                </a:cubicBezTo>
                <a:close/>
                <a:moveTo>
                  <a:pt x="27605" y="737072"/>
                </a:moveTo>
                <a:lnTo>
                  <a:pt x="59181" y="737072"/>
                </a:lnTo>
                <a:cubicBezTo>
                  <a:pt x="61436" y="737072"/>
                  <a:pt x="62789" y="738876"/>
                  <a:pt x="62789" y="740681"/>
                </a:cubicBezTo>
                <a:lnTo>
                  <a:pt x="62338" y="837664"/>
                </a:lnTo>
                <a:cubicBezTo>
                  <a:pt x="77224" y="814207"/>
                  <a:pt x="100229" y="799773"/>
                  <a:pt x="131354" y="799773"/>
                </a:cubicBezTo>
                <a:cubicBezTo>
                  <a:pt x="189995" y="799773"/>
                  <a:pt x="221120" y="848941"/>
                  <a:pt x="221120" y="912093"/>
                </a:cubicBezTo>
                <a:cubicBezTo>
                  <a:pt x="221120" y="974793"/>
                  <a:pt x="188191" y="1025766"/>
                  <a:pt x="130452" y="1025766"/>
                </a:cubicBezTo>
                <a:cubicBezTo>
                  <a:pt x="99327" y="1025766"/>
                  <a:pt x="75871" y="1012685"/>
                  <a:pt x="61436" y="987875"/>
                </a:cubicBezTo>
                <a:lnTo>
                  <a:pt x="62338" y="1017646"/>
                </a:lnTo>
                <a:cubicBezTo>
                  <a:pt x="62338" y="1019902"/>
                  <a:pt x="60534" y="1021255"/>
                  <a:pt x="58729" y="1021255"/>
                </a:cubicBezTo>
                <a:lnTo>
                  <a:pt x="27605" y="1021255"/>
                </a:lnTo>
                <a:cubicBezTo>
                  <a:pt x="25349" y="1021255"/>
                  <a:pt x="23996" y="1019451"/>
                  <a:pt x="23996" y="1017646"/>
                </a:cubicBezTo>
                <a:lnTo>
                  <a:pt x="25349" y="859316"/>
                </a:lnTo>
                <a:lnTo>
                  <a:pt x="23996" y="740681"/>
                </a:lnTo>
                <a:cubicBezTo>
                  <a:pt x="23996" y="738425"/>
                  <a:pt x="25800" y="737072"/>
                  <a:pt x="27605" y="737072"/>
                </a:cubicBezTo>
                <a:close/>
                <a:moveTo>
                  <a:pt x="302766" y="438003"/>
                </a:moveTo>
                <a:cubicBezTo>
                  <a:pt x="259913" y="438454"/>
                  <a:pt x="239163" y="469579"/>
                  <a:pt x="239163" y="524160"/>
                </a:cubicBezTo>
                <a:cubicBezTo>
                  <a:pt x="238712" y="578291"/>
                  <a:pt x="259913" y="608964"/>
                  <a:pt x="302766" y="608964"/>
                </a:cubicBezTo>
                <a:cubicBezTo>
                  <a:pt x="345619" y="608964"/>
                  <a:pt x="365918" y="578742"/>
                  <a:pt x="365918" y="524160"/>
                </a:cubicBezTo>
                <a:cubicBezTo>
                  <a:pt x="365918" y="469579"/>
                  <a:pt x="344717" y="438003"/>
                  <a:pt x="302766" y="438003"/>
                </a:cubicBezTo>
                <a:close/>
                <a:moveTo>
                  <a:pt x="433129" y="415449"/>
                </a:moveTo>
                <a:lnTo>
                  <a:pt x="464705" y="415449"/>
                </a:lnTo>
                <a:cubicBezTo>
                  <a:pt x="466960" y="415449"/>
                  <a:pt x="468313" y="417253"/>
                  <a:pt x="468313" y="419058"/>
                </a:cubicBezTo>
                <a:lnTo>
                  <a:pt x="467411" y="507921"/>
                </a:lnTo>
                <a:lnTo>
                  <a:pt x="467411" y="549872"/>
                </a:lnTo>
                <a:cubicBezTo>
                  <a:pt x="467411" y="589116"/>
                  <a:pt x="485906" y="606709"/>
                  <a:pt x="513422" y="606709"/>
                </a:cubicBezTo>
                <a:cubicBezTo>
                  <a:pt x="541840" y="606709"/>
                  <a:pt x="564845" y="583703"/>
                  <a:pt x="573416" y="540850"/>
                </a:cubicBezTo>
                <a:lnTo>
                  <a:pt x="573416" y="507921"/>
                </a:lnTo>
                <a:lnTo>
                  <a:pt x="572514" y="419058"/>
                </a:lnTo>
                <a:cubicBezTo>
                  <a:pt x="572514" y="416802"/>
                  <a:pt x="574318" y="415449"/>
                  <a:pt x="576122" y="415449"/>
                </a:cubicBezTo>
                <a:lnTo>
                  <a:pt x="608149" y="415449"/>
                </a:lnTo>
                <a:cubicBezTo>
                  <a:pt x="610405" y="415449"/>
                  <a:pt x="611758" y="417253"/>
                  <a:pt x="611758" y="419058"/>
                </a:cubicBezTo>
                <a:lnTo>
                  <a:pt x="610405" y="514688"/>
                </a:lnTo>
                <a:lnTo>
                  <a:pt x="611307" y="629263"/>
                </a:lnTo>
                <a:cubicBezTo>
                  <a:pt x="611307" y="631518"/>
                  <a:pt x="609503" y="632872"/>
                  <a:pt x="607698" y="632872"/>
                </a:cubicBezTo>
                <a:lnTo>
                  <a:pt x="577927" y="632872"/>
                </a:lnTo>
                <a:cubicBezTo>
                  <a:pt x="575671" y="632872"/>
                  <a:pt x="574318" y="631067"/>
                  <a:pt x="574318" y="629263"/>
                </a:cubicBezTo>
                <a:lnTo>
                  <a:pt x="575220" y="595883"/>
                </a:lnTo>
                <a:cubicBezTo>
                  <a:pt x="562590" y="617535"/>
                  <a:pt x="538231" y="637383"/>
                  <a:pt x="503498" y="637383"/>
                </a:cubicBezTo>
                <a:cubicBezTo>
                  <a:pt x="458840" y="637383"/>
                  <a:pt x="430422" y="607611"/>
                  <a:pt x="430422" y="550774"/>
                </a:cubicBezTo>
                <a:lnTo>
                  <a:pt x="430422" y="507921"/>
                </a:lnTo>
                <a:lnTo>
                  <a:pt x="429520" y="419058"/>
                </a:lnTo>
                <a:cubicBezTo>
                  <a:pt x="429520" y="416802"/>
                  <a:pt x="431324" y="415449"/>
                  <a:pt x="433129" y="415449"/>
                </a:cubicBezTo>
                <a:close/>
                <a:moveTo>
                  <a:pt x="2795" y="414998"/>
                </a:moveTo>
                <a:lnTo>
                  <a:pt x="38882" y="414998"/>
                </a:lnTo>
                <a:cubicBezTo>
                  <a:pt x="41137" y="414998"/>
                  <a:pt x="42941" y="416802"/>
                  <a:pt x="43844" y="418156"/>
                </a:cubicBezTo>
                <a:lnTo>
                  <a:pt x="105642" y="582350"/>
                </a:lnTo>
                <a:lnTo>
                  <a:pt x="157517" y="418607"/>
                </a:lnTo>
                <a:cubicBezTo>
                  <a:pt x="158419" y="416351"/>
                  <a:pt x="160674" y="414998"/>
                  <a:pt x="162479" y="414998"/>
                </a:cubicBezTo>
                <a:lnTo>
                  <a:pt x="194506" y="414998"/>
                </a:lnTo>
                <a:cubicBezTo>
                  <a:pt x="196761" y="414998"/>
                  <a:pt x="197663" y="416802"/>
                  <a:pt x="197212" y="418607"/>
                </a:cubicBezTo>
                <a:lnTo>
                  <a:pt x="98876" y="696475"/>
                </a:lnTo>
                <a:cubicBezTo>
                  <a:pt x="97974" y="698730"/>
                  <a:pt x="95718" y="700083"/>
                  <a:pt x="93914" y="700083"/>
                </a:cubicBezTo>
                <a:lnTo>
                  <a:pt x="64593" y="700083"/>
                </a:lnTo>
                <a:cubicBezTo>
                  <a:pt x="62789" y="700083"/>
                  <a:pt x="61436" y="698279"/>
                  <a:pt x="61887" y="696475"/>
                </a:cubicBezTo>
                <a:lnTo>
                  <a:pt x="84892" y="632421"/>
                </a:lnTo>
                <a:lnTo>
                  <a:pt x="88" y="418156"/>
                </a:lnTo>
                <a:cubicBezTo>
                  <a:pt x="-363" y="416351"/>
                  <a:pt x="991" y="414998"/>
                  <a:pt x="2795" y="414998"/>
                </a:cubicBezTo>
                <a:close/>
                <a:moveTo>
                  <a:pt x="302766" y="409585"/>
                </a:moveTo>
                <a:cubicBezTo>
                  <a:pt x="369076" y="409585"/>
                  <a:pt x="405613" y="454693"/>
                  <a:pt x="405613" y="523258"/>
                </a:cubicBezTo>
                <a:cubicBezTo>
                  <a:pt x="405613" y="591823"/>
                  <a:pt x="369076" y="637383"/>
                  <a:pt x="302766" y="637383"/>
                </a:cubicBezTo>
                <a:cubicBezTo>
                  <a:pt x="236908" y="637383"/>
                  <a:pt x="199919" y="592725"/>
                  <a:pt x="199919" y="524160"/>
                </a:cubicBezTo>
                <a:cubicBezTo>
                  <a:pt x="199919" y="455144"/>
                  <a:pt x="236908" y="409585"/>
                  <a:pt x="302766" y="409585"/>
                </a:cubicBezTo>
                <a:close/>
                <a:moveTo>
                  <a:pt x="767383" y="408683"/>
                </a:moveTo>
                <a:cubicBezTo>
                  <a:pt x="771893" y="408683"/>
                  <a:pt x="776404" y="409134"/>
                  <a:pt x="780013" y="410036"/>
                </a:cubicBezTo>
                <a:cubicBezTo>
                  <a:pt x="782268" y="410487"/>
                  <a:pt x="783622" y="412743"/>
                  <a:pt x="783622" y="414547"/>
                </a:cubicBezTo>
                <a:lnTo>
                  <a:pt x="783622" y="438003"/>
                </a:lnTo>
                <a:cubicBezTo>
                  <a:pt x="783622" y="439808"/>
                  <a:pt x="781817" y="441161"/>
                  <a:pt x="780013" y="441161"/>
                </a:cubicBezTo>
                <a:cubicBezTo>
                  <a:pt x="776404" y="440710"/>
                  <a:pt x="772345" y="440259"/>
                  <a:pt x="767834" y="440259"/>
                </a:cubicBezTo>
                <a:cubicBezTo>
                  <a:pt x="731296" y="440259"/>
                  <a:pt x="699269" y="462813"/>
                  <a:pt x="694758" y="510177"/>
                </a:cubicBezTo>
                <a:lnTo>
                  <a:pt x="695209" y="624301"/>
                </a:lnTo>
                <a:cubicBezTo>
                  <a:pt x="695209" y="626557"/>
                  <a:pt x="693405" y="627910"/>
                  <a:pt x="691600" y="627910"/>
                </a:cubicBezTo>
                <a:lnTo>
                  <a:pt x="660476" y="627910"/>
                </a:lnTo>
                <a:lnTo>
                  <a:pt x="660476" y="628361"/>
                </a:lnTo>
                <a:cubicBezTo>
                  <a:pt x="658220" y="628361"/>
                  <a:pt x="656867" y="626557"/>
                  <a:pt x="656867" y="624752"/>
                </a:cubicBezTo>
                <a:lnTo>
                  <a:pt x="658220" y="517394"/>
                </a:lnTo>
                <a:lnTo>
                  <a:pt x="656867" y="414998"/>
                </a:lnTo>
                <a:cubicBezTo>
                  <a:pt x="656867" y="412743"/>
                  <a:pt x="658671" y="411390"/>
                  <a:pt x="660476" y="411390"/>
                </a:cubicBezTo>
                <a:lnTo>
                  <a:pt x="691600" y="411390"/>
                </a:lnTo>
                <a:cubicBezTo>
                  <a:pt x="693856" y="411390"/>
                  <a:pt x="695209" y="413194"/>
                  <a:pt x="695209" y="414998"/>
                </a:cubicBezTo>
                <a:lnTo>
                  <a:pt x="693405" y="451536"/>
                </a:lnTo>
                <a:cubicBezTo>
                  <a:pt x="709193" y="423569"/>
                  <a:pt x="736709" y="408683"/>
                  <a:pt x="767383" y="408683"/>
                </a:cubicBezTo>
                <a:close/>
                <a:moveTo>
                  <a:pt x="485455" y="100592"/>
                </a:moveTo>
                <a:cubicBezTo>
                  <a:pt x="449368" y="100592"/>
                  <a:pt x="429070" y="123598"/>
                  <a:pt x="423205" y="164646"/>
                </a:cubicBezTo>
                <a:lnTo>
                  <a:pt x="544998" y="164646"/>
                </a:lnTo>
                <a:cubicBezTo>
                  <a:pt x="543645" y="129913"/>
                  <a:pt x="523797" y="100592"/>
                  <a:pt x="485455" y="100592"/>
                </a:cubicBezTo>
                <a:close/>
                <a:moveTo>
                  <a:pt x="180522" y="78038"/>
                </a:moveTo>
                <a:lnTo>
                  <a:pt x="214353" y="78038"/>
                </a:lnTo>
                <a:cubicBezTo>
                  <a:pt x="216609" y="78038"/>
                  <a:pt x="218413" y="79842"/>
                  <a:pt x="219315" y="81647"/>
                </a:cubicBezTo>
                <a:lnTo>
                  <a:pt x="280663" y="262983"/>
                </a:lnTo>
                <a:lnTo>
                  <a:pt x="343363" y="81647"/>
                </a:lnTo>
                <a:cubicBezTo>
                  <a:pt x="344265" y="79391"/>
                  <a:pt x="346521" y="78038"/>
                  <a:pt x="348325" y="78038"/>
                </a:cubicBezTo>
                <a:lnTo>
                  <a:pt x="378097" y="78038"/>
                </a:lnTo>
                <a:cubicBezTo>
                  <a:pt x="380352" y="78038"/>
                  <a:pt x="381254" y="79842"/>
                  <a:pt x="380803" y="81196"/>
                </a:cubicBezTo>
                <a:lnTo>
                  <a:pt x="304570" y="292303"/>
                </a:lnTo>
                <a:cubicBezTo>
                  <a:pt x="303668" y="294107"/>
                  <a:pt x="301412" y="295461"/>
                  <a:pt x="299608" y="295461"/>
                </a:cubicBezTo>
                <a:lnTo>
                  <a:pt x="260815" y="295461"/>
                </a:lnTo>
                <a:cubicBezTo>
                  <a:pt x="258559" y="295461"/>
                  <a:pt x="256755" y="293656"/>
                  <a:pt x="255853" y="292303"/>
                </a:cubicBezTo>
                <a:lnTo>
                  <a:pt x="177815" y="81196"/>
                </a:lnTo>
                <a:cubicBezTo>
                  <a:pt x="177364" y="79391"/>
                  <a:pt x="178718" y="78038"/>
                  <a:pt x="180522" y="78038"/>
                </a:cubicBezTo>
                <a:close/>
                <a:moveTo>
                  <a:pt x="116468" y="77586"/>
                </a:moveTo>
                <a:lnTo>
                  <a:pt x="148044" y="77586"/>
                </a:lnTo>
                <a:cubicBezTo>
                  <a:pt x="150299" y="77586"/>
                  <a:pt x="151652" y="79391"/>
                  <a:pt x="151652" y="81195"/>
                </a:cubicBezTo>
                <a:lnTo>
                  <a:pt x="151201" y="182689"/>
                </a:lnTo>
                <a:lnTo>
                  <a:pt x="152103" y="291400"/>
                </a:lnTo>
                <a:cubicBezTo>
                  <a:pt x="152103" y="293656"/>
                  <a:pt x="150299" y="295009"/>
                  <a:pt x="148495" y="295009"/>
                </a:cubicBezTo>
                <a:lnTo>
                  <a:pt x="116468" y="295009"/>
                </a:lnTo>
                <a:cubicBezTo>
                  <a:pt x="114212" y="295009"/>
                  <a:pt x="112859" y="293205"/>
                  <a:pt x="112859" y="291400"/>
                </a:cubicBezTo>
                <a:lnTo>
                  <a:pt x="113761" y="183140"/>
                </a:lnTo>
                <a:lnTo>
                  <a:pt x="112859" y="81195"/>
                </a:lnTo>
                <a:cubicBezTo>
                  <a:pt x="112859" y="78940"/>
                  <a:pt x="114663" y="77586"/>
                  <a:pt x="116468" y="77586"/>
                </a:cubicBezTo>
                <a:close/>
                <a:moveTo>
                  <a:pt x="485004" y="72174"/>
                </a:moveTo>
                <a:cubicBezTo>
                  <a:pt x="547705" y="72174"/>
                  <a:pt x="585145" y="115027"/>
                  <a:pt x="586498" y="187652"/>
                </a:cubicBezTo>
                <a:cubicBezTo>
                  <a:pt x="586498" y="189907"/>
                  <a:pt x="584694" y="191260"/>
                  <a:pt x="582889" y="191260"/>
                </a:cubicBezTo>
                <a:lnTo>
                  <a:pt x="421852" y="191260"/>
                </a:lnTo>
                <a:cubicBezTo>
                  <a:pt x="423205" y="243586"/>
                  <a:pt x="444858" y="271553"/>
                  <a:pt x="487259" y="271553"/>
                </a:cubicBezTo>
                <a:cubicBezTo>
                  <a:pt x="519286" y="271553"/>
                  <a:pt x="538683" y="254863"/>
                  <a:pt x="544998" y="222836"/>
                </a:cubicBezTo>
                <a:cubicBezTo>
                  <a:pt x="545449" y="220581"/>
                  <a:pt x="547705" y="219227"/>
                  <a:pt x="549509" y="219227"/>
                </a:cubicBezTo>
                <a:lnTo>
                  <a:pt x="579281" y="219227"/>
                </a:lnTo>
                <a:lnTo>
                  <a:pt x="579281" y="219679"/>
                </a:lnTo>
                <a:cubicBezTo>
                  <a:pt x="581536" y="219679"/>
                  <a:pt x="582438" y="221483"/>
                  <a:pt x="582438" y="223287"/>
                </a:cubicBezTo>
                <a:cubicBezTo>
                  <a:pt x="575672" y="267494"/>
                  <a:pt x="542743" y="299972"/>
                  <a:pt x="486808" y="299972"/>
                </a:cubicBezTo>
                <a:cubicBezTo>
                  <a:pt x="419146" y="299972"/>
                  <a:pt x="383059" y="253059"/>
                  <a:pt x="383059" y="186749"/>
                </a:cubicBezTo>
                <a:cubicBezTo>
                  <a:pt x="383059" y="118636"/>
                  <a:pt x="421852" y="72174"/>
                  <a:pt x="485004" y="72174"/>
                </a:cubicBezTo>
                <a:close/>
                <a:moveTo>
                  <a:pt x="116468" y="10826"/>
                </a:moveTo>
                <a:lnTo>
                  <a:pt x="148044" y="10826"/>
                </a:lnTo>
                <a:cubicBezTo>
                  <a:pt x="150299" y="10826"/>
                  <a:pt x="151652" y="12630"/>
                  <a:pt x="151652" y="14435"/>
                </a:cubicBezTo>
                <a:lnTo>
                  <a:pt x="151652" y="49168"/>
                </a:lnTo>
                <a:cubicBezTo>
                  <a:pt x="151652" y="51424"/>
                  <a:pt x="149848" y="52777"/>
                  <a:pt x="148044" y="52777"/>
                </a:cubicBezTo>
                <a:lnTo>
                  <a:pt x="116468" y="52777"/>
                </a:lnTo>
                <a:cubicBezTo>
                  <a:pt x="114212" y="52777"/>
                  <a:pt x="112859" y="50972"/>
                  <a:pt x="112859" y="49168"/>
                </a:cubicBezTo>
                <a:lnTo>
                  <a:pt x="112859" y="14435"/>
                </a:lnTo>
                <a:cubicBezTo>
                  <a:pt x="112859" y="12179"/>
                  <a:pt x="114663" y="10826"/>
                  <a:pt x="116468" y="10826"/>
                </a:cubicBezTo>
                <a:close/>
                <a:moveTo>
                  <a:pt x="29860" y="0"/>
                </a:moveTo>
                <a:lnTo>
                  <a:pt x="60984" y="0"/>
                </a:lnTo>
                <a:cubicBezTo>
                  <a:pt x="63240" y="0"/>
                  <a:pt x="64593" y="1804"/>
                  <a:pt x="64593" y="3609"/>
                </a:cubicBezTo>
                <a:lnTo>
                  <a:pt x="62789" y="145700"/>
                </a:lnTo>
                <a:lnTo>
                  <a:pt x="64593" y="291852"/>
                </a:lnTo>
                <a:cubicBezTo>
                  <a:pt x="64593" y="294107"/>
                  <a:pt x="62789" y="295460"/>
                  <a:pt x="60984" y="295460"/>
                </a:cubicBezTo>
                <a:lnTo>
                  <a:pt x="29860" y="295460"/>
                </a:lnTo>
                <a:lnTo>
                  <a:pt x="29860" y="295009"/>
                </a:lnTo>
                <a:cubicBezTo>
                  <a:pt x="27604" y="295009"/>
                  <a:pt x="26251" y="293205"/>
                  <a:pt x="26251" y="291401"/>
                </a:cubicBezTo>
                <a:lnTo>
                  <a:pt x="28055" y="145700"/>
                </a:lnTo>
                <a:lnTo>
                  <a:pt x="26251" y="3609"/>
                </a:lnTo>
                <a:cubicBezTo>
                  <a:pt x="26251" y="1353"/>
                  <a:pt x="28055" y="0"/>
                  <a:pt x="29860" y="0"/>
                </a:cubicBezTo>
                <a:close/>
              </a:path>
            </a:pathLst>
          </a:custGeom>
          <a:solidFill>
            <a:schemeClr val="tx1"/>
          </a:solidFill>
        </p:spPr>
        <p:txBody>
          <a:bodyPr wrap="square">
            <a:noAutofit/>
          </a:bodyPr>
          <a:lstStyle/>
          <a:p>
            <a:pPr lvl="0"/>
            <a:r>
              <a:rPr lang="en-US"/>
              <a:t> </a:t>
            </a:r>
          </a:p>
        </p:txBody>
      </p:sp>
      <p:sp>
        <p:nvSpPr>
          <p:cNvPr id="12" name="Text Placeholder 7">
            <a:extLst>
              <a:ext uri="{FF2B5EF4-FFF2-40B4-BE49-F238E27FC236}">
                <a16:creationId xmlns:a16="http://schemas.microsoft.com/office/drawing/2014/main" id="{CBB5657D-2FAB-3043-AFDF-0D78865BA143}"/>
              </a:ext>
            </a:extLst>
          </p:cNvPr>
          <p:cNvSpPr>
            <a:spLocks noGrp="1"/>
          </p:cNvSpPr>
          <p:nvPr>
            <p:ph type="body" sz="quarter" idx="24" hasCustomPrompt="1"/>
          </p:nvPr>
        </p:nvSpPr>
        <p:spPr>
          <a:xfrm>
            <a:off x="520008" y="5687336"/>
            <a:ext cx="1014772" cy="298870"/>
          </a:xfrm>
          <a:prstGeom prst="rect">
            <a:avLst/>
          </a:prstGeom>
          <a:solidFill>
            <a:srgbClr val="1D2550"/>
          </a:solidFill>
        </p:spPr>
        <p:txBody>
          <a:bodyPr wrap="none" lIns="75600" tIns="75600" rIns="75600" bIns="75600" anchor="t" anchorCtr="0">
            <a:spAutoFit/>
          </a:bodyPr>
          <a:lstStyle>
            <a:lvl1pP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1084271253"/>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userDrawn="1">
  <p:cSld name="Title, Content, Shape - Dark Back C">
    <p:bg>
      <p:bgPr>
        <a:solidFill>
          <a:srgbClr val="1D2550"/>
        </a:solidFill>
        <a:effectLst/>
      </p:bgPr>
    </p:bg>
    <p:spTree>
      <p:nvGrpSpPr>
        <p:cNvPr id="1" name=""/>
        <p:cNvGrpSpPr/>
        <p:nvPr/>
      </p:nvGrpSpPr>
      <p:grpSpPr>
        <a:xfrm>
          <a:off x="0" y="0"/>
          <a:ext cx="0" cy="0"/>
          <a:chOff x="0" y="0"/>
          <a:chExt cx="0" cy="0"/>
        </a:xfrm>
      </p:grpSpPr>
      <p:sp>
        <p:nvSpPr>
          <p:cNvPr id="15" name="Shape">
            <a:extLst>
              <a:ext uri="{FF2B5EF4-FFF2-40B4-BE49-F238E27FC236}">
                <a16:creationId xmlns:a16="http://schemas.microsoft.com/office/drawing/2014/main" id="{EAC5222C-C927-BE6F-1E16-3D8585E8F66F}"/>
              </a:ext>
              <a:ext uri="{C183D7F6-B498-43B3-948B-1728B52AA6E4}">
                <adec:decorative xmlns:adec="http://schemas.microsoft.com/office/drawing/2017/decorative" val="1"/>
              </a:ext>
            </a:extLst>
          </p:cNvPr>
          <p:cNvSpPr/>
          <p:nvPr userDrawn="1"/>
        </p:nvSpPr>
        <p:spPr>
          <a:xfrm flipH="1">
            <a:off x="-3" y="0"/>
            <a:ext cx="6564002" cy="6858000"/>
          </a:xfrm>
          <a:custGeom>
            <a:avLst/>
            <a:gdLst>
              <a:gd name="connsiteX0" fmla="*/ 6769100 w 6769100"/>
              <a:gd name="connsiteY0" fmla="*/ 0 h 6858000"/>
              <a:gd name="connsiteX1" fmla="*/ 6635749 w 6769100"/>
              <a:gd name="connsiteY1" fmla="*/ 0 h 6858000"/>
              <a:gd name="connsiteX2" fmla="*/ 3619500 w 6769100"/>
              <a:gd name="connsiteY2" fmla="*/ 0 h 6858000"/>
              <a:gd name="connsiteX3" fmla="*/ 2069045 w 6769100"/>
              <a:gd name="connsiteY3" fmla="*/ 0 h 6858000"/>
              <a:gd name="connsiteX4" fmla="*/ 0 w 6769100"/>
              <a:gd name="connsiteY4" fmla="*/ 3439189 h 6858000"/>
              <a:gd name="connsiteX5" fmla="*/ 2056786 w 6769100"/>
              <a:gd name="connsiteY5" fmla="*/ 6858000 h 6858000"/>
              <a:gd name="connsiteX6" fmla="*/ 3619500 w 6769100"/>
              <a:gd name="connsiteY6" fmla="*/ 6858000 h 6858000"/>
              <a:gd name="connsiteX7" fmla="*/ 6635749 w 6769100"/>
              <a:gd name="connsiteY7" fmla="*/ 6858000 h 6858000"/>
              <a:gd name="connsiteX8" fmla="*/ 6769100 w 676910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69100" h="6858000">
                <a:moveTo>
                  <a:pt x="6769100" y="0"/>
                </a:moveTo>
                <a:lnTo>
                  <a:pt x="6635749" y="0"/>
                </a:lnTo>
                <a:lnTo>
                  <a:pt x="3619500" y="0"/>
                </a:lnTo>
                <a:lnTo>
                  <a:pt x="2069045" y="0"/>
                </a:lnTo>
                <a:lnTo>
                  <a:pt x="0" y="3439189"/>
                </a:lnTo>
                <a:lnTo>
                  <a:pt x="2056786" y="6858000"/>
                </a:lnTo>
                <a:lnTo>
                  <a:pt x="3619500" y="6858000"/>
                </a:lnTo>
                <a:lnTo>
                  <a:pt x="6635749" y="6858000"/>
                </a:lnTo>
                <a:lnTo>
                  <a:pt x="6769100" y="6858000"/>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Forever Forma Body Text" pitchFamily="2" charset="0"/>
            </a:endParaRPr>
          </a:p>
        </p:txBody>
      </p:sp>
      <p:pic>
        <p:nvPicPr>
          <p:cNvPr id="5" name="logo sm" descr="Transamerica Logo">
            <a:extLst>
              <a:ext uri="{FF2B5EF4-FFF2-40B4-BE49-F238E27FC236}">
                <a16:creationId xmlns:a16="http://schemas.microsoft.com/office/drawing/2014/main" id="{82601ED6-508B-F24A-3423-6F503697C7E8}"/>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799200" y="6053051"/>
            <a:ext cx="2138399" cy="804948"/>
          </a:xfrm>
          <a:prstGeom prst="rect">
            <a:avLst/>
          </a:prstGeom>
        </p:spPr>
      </p:pic>
      <p:sp>
        <p:nvSpPr>
          <p:cNvPr id="3" name="Title 2">
            <a:extLst>
              <a:ext uri="{FF2B5EF4-FFF2-40B4-BE49-F238E27FC236}">
                <a16:creationId xmlns:a16="http://schemas.microsoft.com/office/drawing/2014/main" id="{197DD675-0CF5-185B-0D79-004F17D12F28}"/>
              </a:ext>
            </a:extLst>
          </p:cNvPr>
          <p:cNvSpPr>
            <a:spLocks noGrp="1"/>
          </p:cNvSpPr>
          <p:nvPr>
            <p:ph type="title"/>
          </p:nvPr>
        </p:nvSpPr>
        <p:spPr>
          <a:xfrm>
            <a:off x="521208" y="1269000"/>
            <a:ext cx="5106792" cy="4320000"/>
          </a:xfrm>
          <a:prstGeom prst="rect">
            <a:avLst/>
          </a:prstGeom>
        </p:spPr>
        <p:txBody>
          <a:bodyPr anchor="ctr" anchorCtr="0"/>
          <a:lstStyle/>
          <a:p>
            <a:r>
              <a:rPr lang="en-US"/>
              <a:t>Click to edit Master title style</a:t>
            </a:r>
          </a:p>
        </p:txBody>
      </p:sp>
      <p:sp>
        <p:nvSpPr>
          <p:cNvPr id="13" name="Text Placeholder 12">
            <a:extLst>
              <a:ext uri="{FF2B5EF4-FFF2-40B4-BE49-F238E27FC236}">
                <a16:creationId xmlns:a16="http://schemas.microsoft.com/office/drawing/2014/main" id="{98BA2B9A-D146-D79C-2973-FBA71B289A78}"/>
              </a:ext>
            </a:extLst>
          </p:cNvPr>
          <p:cNvSpPr>
            <a:spLocks noGrp="1"/>
          </p:cNvSpPr>
          <p:nvPr>
            <p:ph type="body" sz="quarter" idx="13"/>
          </p:nvPr>
        </p:nvSpPr>
        <p:spPr>
          <a:xfrm>
            <a:off x="6796971" y="1269000"/>
            <a:ext cx="4873817" cy="4320000"/>
          </a:xfrm>
          <a:prstGeom prst="rect">
            <a:avLst/>
          </a:prstGeom>
        </p:spPr>
        <p:txBody>
          <a:bodyPr anchor="ctr" anchorCtr="0"/>
          <a:lstStyle>
            <a:lvl1pPr>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b="0" i="0">
                <a:solidFill>
                  <a:schemeClr val="bg1"/>
                </a:solidFill>
                <a:latin typeface="Forever Forma Body Text" pitchFamily="2" charset="0"/>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Slide Number Placeholder 3">
            <a:extLst>
              <a:ext uri="{FF2B5EF4-FFF2-40B4-BE49-F238E27FC236}">
                <a16:creationId xmlns:a16="http://schemas.microsoft.com/office/drawing/2014/main" id="{0101FA8D-C042-AF97-2FAC-9395B7768CD3}"/>
              </a:ext>
              <a:ext uri="{C183D7F6-B498-43B3-948B-1728B52AA6E4}">
                <adec:decorative xmlns:adec="http://schemas.microsoft.com/office/drawing/2017/decorative" val="1"/>
              </a:ext>
            </a:extLst>
          </p:cNvPr>
          <p:cNvSpPr>
            <a:spLocks noGrp="1"/>
          </p:cNvSpPr>
          <p:nvPr>
            <p:ph type="sldNum" sz="quarter" idx="14"/>
          </p:nvPr>
        </p:nvSpPr>
        <p:spPr/>
        <p:txBody>
          <a:bodyPr/>
          <a:lstStyle>
            <a:lvl1pPr>
              <a:defRPr>
                <a:solidFill>
                  <a:schemeClr val="tx1"/>
                </a:solidFill>
              </a:defRPr>
            </a:lvl1pPr>
          </a:lstStyle>
          <a:p>
            <a:fld id="{1C1606C5-D483-4832-A0E9-CF578A9B5883}" type="slidenum">
              <a:rPr lang="en-US" smtClean="0"/>
              <a:pPr/>
              <a:t>‹#›</a:t>
            </a:fld>
            <a:endParaRPr lang="en-US"/>
          </a:p>
        </p:txBody>
      </p:sp>
      <p:sp>
        <p:nvSpPr>
          <p:cNvPr id="8" name="footnotes">
            <a:extLst>
              <a:ext uri="{FF2B5EF4-FFF2-40B4-BE49-F238E27FC236}">
                <a16:creationId xmlns:a16="http://schemas.microsoft.com/office/drawing/2014/main" id="{37194CCE-F997-CF1A-4190-9ECD448FBFCB}"/>
              </a:ext>
            </a:extLst>
          </p:cNvPr>
          <p:cNvSpPr>
            <a:spLocks noGrp="1"/>
          </p:cNvSpPr>
          <p:nvPr>
            <p:ph type="body" sz="quarter" idx="15" hasCustomPrompt="1"/>
          </p:nvPr>
        </p:nvSpPr>
        <p:spPr>
          <a:xfrm>
            <a:off x="6796971" y="6049950"/>
            <a:ext cx="3002229" cy="808050"/>
          </a:xfrm>
          <a:prstGeom prst="rect">
            <a:avLst/>
          </a:prstGeom>
        </p:spPr>
        <p:txBody>
          <a:bodyPr bIns="309600" anchor="b" anchorCtr="0"/>
          <a:lstStyle>
            <a:lvl1pPr>
              <a:lnSpc>
                <a:spcPct val="90000"/>
              </a:lnSpc>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2" name="Group 1">
            <a:extLst>
              <a:ext uri="{FF2B5EF4-FFF2-40B4-BE49-F238E27FC236}">
                <a16:creationId xmlns:a16="http://schemas.microsoft.com/office/drawing/2014/main" id="{BA5F5183-8CEF-5DDC-C576-B48695F4FC56}"/>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6" name="Content Placeholder 15">
              <a:extLst>
                <a:ext uri="{FF2B5EF4-FFF2-40B4-BE49-F238E27FC236}">
                  <a16:creationId xmlns:a16="http://schemas.microsoft.com/office/drawing/2014/main" id="{ECE8AF21-991C-E3F8-5437-EB557D3AAA5B}"/>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7" name="TextBox 6">
              <a:extLst>
                <a:ext uri="{FF2B5EF4-FFF2-40B4-BE49-F238E27FC236}">
                  <a16:creationId xmlns:a16="http://schemas.microsoft.com/office/drawing/2014/main" id="{A069B94C-C91D-F8DB-6CC1-5D551264B63A}"/>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dark background)</a:t>
              </a:r>
            </a:p>
            <a:p>
              <a:pPr algn="l">
                <a:buNone/>
              </a:pPr>
              <a:endParaRPr lang="en-US" sz="1200" kern="100" spc="-30"/>
            </a:p>
          </p:txBody>
        </p:sp>
        <p:pic>
          <p:nvPicPr>
            <p:cNvPr id="9" name="Picture 8" descr="A screenshot of a color chart&#10;&#10;Description automatically generated">
              <a:extLst>
                <a:ext uri="{FF2B5EF4-FFF2-40B4-BE49-F238E27FC236}">
                  <a16:creationId xmlns:a16="http://schemas.microsoft.com/office/drawing/2014/main" id="{7F913306-32C4-429B-72C6-65804978A630}"/>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0" name="Rectangle 9">
              <a:extLst>
                <a:ext uri="{FF2B5EF4-FFF2-40B4-BE49-F238E27FC236}">
                  <a16:creationId xmlns:a16="http://schemas.microsoft.com/office/drawing/2014/main" id="{AA1E696F-4643-5F4C-21F5-C20269A8CD48}"/>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0990B276-413D-2119-A061-66C74DB0F0D8}"/>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11">
              <a:extLst>
                <a:ext uri="{FF2B5EF4-FFF2-40B4-BE49-F238E27FC236}">
                  <a16:creationId xmlns:a16="http://schemas.microsoft.com/office/drawing/2014/main" id="{B7CA3C07-0290-53AC-B905-0F58AADA2B92}"/>
                </a:ext>
              </a:extLst>
            </p:cNvPr>
            <p:cNvGrpSpPr/>
            <p:nvPr userDrawn="1"/>
          </p:nvGrpSpPr>
          <p:grpSpPr>
            <a:xfrm>
              <a:off x="-2740233" y="3819615"/>
              <a:ext cx="2254459" cy="2600236"/>
              <a:chOff x="-3323173" y="3918039"/>
              <a:chExt cx="2815981" cy="3247881"/>
            </a:xfrm>
          </p:grpSpPr>
          <p:sp>
            <p:nvSpPr>
              <p:cNvPr id="17" name="Rectangle 16">
                <a:extLst>
                  <a:ext uri="{FF2B5EF4-FFF2-40B4-BE49-F238E27FC236}">
                    <a16:creationId xmlns:a16="http://schemas.microsoft.com/office/drawing/2014/main" id="{577C2400-970A-F3FC-F260-776DA809F4EF}"/>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8" name="Rectangle 17">
                <a:extLst>
                  <a:ext uri="{FF2B5EF4-FFF2-40B4-BE49-F238E27FC236}">
                    <a16:creationId xmlns:a16="http://schemas.microsoft.com/office/drawing/2014/main" id="{FDE59CCA-67EB-A23D-3D7E-181C1D704E99}"/>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9" name="Rectangle 18">
                <a:extLst>
                  <a:ext uri="{FF2B5EF4-FFF2-40B4-BE49-F238E27FC236}">
                    <a16:creationId xmlns:a16="http://schemas.microsoft.com/office/drawing/2014/main" id="{BD7AB01F-D460-F9C4-298B-ACF8EBF2CEDD}"/>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0" name="TextBox 19">
                <a:extLst>
                  <a:ext uri="{FF2B5EF4-FFF2-40B4-BE49-F238E27FC236}">
                    <a16:creationId xmlns:a16="http://schemas.microsoft.com/office/drawing/2014/main" id="{B44F0FF2-8569-2F2F-B195-042B3ADEE220}"/>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Dark Background Colors</a:t>
                </a:r>
              </a:p>
            </p:txBody>
          </p:sp>
          <p:sp>
            <p:nvSpPr>
              <p:cNvPr id="21" name="Right Brace 20">
                <a:extLst>
                  <a:ext uri="{FF2B5EF4-FFF2-40B4-BE49-F238E27FC236}">
                    <a16:creationId xmlns:a16="http://schemas.microsoft.com/office/drawing/2014/main" id="{C4E50E59-CBC3-AB6C-6138-BCB619F117EA}"/>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2" name="Rectangle 21">
                <a:extLst>
                  <a:ext uri="{FF2B5EF4-FFF2-40B4-BE49-F238E27FC236}">
                    <a16:creationId xmlns:a16="http://schemas.microsoft.com/office/drawing/2014/main" id="{9350E04F-71E8-9289-EC33-A69319B7E5B1}"/>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4" name="Picture 13">
              <a:extLst>
                <a:ext uri="{FF2B5EF4-FFF2-40B4-BE49-F238E27FC236}">
                  <a16:creationId xmlns:a16="http://schemas.microsoft.com/office/drawing/2014/main" id="{C5AFA2CE-1A91-A5D9-59D2-BAFA7CE0B3E3}"/>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632579" y="972962"/>
              <a:ext cx="1260329" cy="802028"/>
            </a:xfrm>
            <a:prstGeom prst="rect">
              <a:avLst/>
            </a:prstGeom>
            <a:ln>
              <a:solidFill>
                <a:schemeClr val="accent6"/>
              </a:solidFill>
            </a:ln>
          </p:spPr>
        </p:pic>
        <p:pic>
          <p:nvPicPr>
            <p:cNvPr id="16" name="Picture 15">
              <a:extLst>
                <a:ext uri="{FF2B5EF4-FFF2-40B4-BE49-F238E27FC236}">
                  <a16:creationId xmlns:a16="http://schemas.microsoft.com/office/drawing/2014/main" id="{2656FACE-A417-D56E-96B5-CCCAB879A580}"/>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5411" y="2002090"/>
              <a:ext cx="1265993" cy="943035"/>
            </a:xfrm>
            <a:prstGeom prst="rect">
              <a:avLst/>
            </a:prstGeom>
            <a:ln>
              <a:solidFill>
                <a:schemeClr val="accent6"/>
              </a:solidFill>
            </a:ln>
          </p:spPr>
        </p:pic>
      </p:grpSp>
      <p:sp>
        <p:nvSpPr>
          <p:cNvPr id="23" name="Text Placeholder 7">
            <a:extLst>
              <a:ext uri="{FF2B5EF4-FFF2-40B4-BE49-F238E27FC236}">
                <a16:creationId xmlns:a16="http://schemas.microsoft.com/office/drawing/2014/main" id="{7FA76655-B9CB-AA06-9BC0-32DE187AA312}"/>
              </a:ext>
            </a:extLst>
          </p:cNvPr>
          <p:cNvSpPr>
            <a:spLocks noGrp="1"/>
          </p:cNvSpPr>
          <p:nvPr>
            <p:ph type="body" sz="quarter" idx="20" hasCustomPrompt="1"/>
          </p:nvPr>
        </p:nvSpPr>
        <p:spPr>
          <a:xfrm>
            <a:off x="1100957" y="6313320"/>
            <a:ext cx="1014772" cy="298870"/>
          </a:xfrm>
          <a:prstGeom prst="rect">
            <a:avLst/>
          </a:prstGeom>
          <a:solidFill>
            <a:srgbClr val="1D2550"/>
          </a:solidFill>
        </p:spPr>
        <p:txBody>
          <a:bodyPr wrap="none" lIns="75600" tIns="75600" rIns="75600" bIns="75600" anchor="b" anchorCtr="0">
            <a:spAutoFit/>
          </a:bodyPr>
          <a:lstStyle>
            <a:lvl1pPr algn="l">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836262746"/>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877FB60E-269D-2343-B232-06E0E3B65052}"/>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543400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877FB60E-269D-2343-B232-06E0E3B65052}"/>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1FC4E808-7203-4917-098B-02B3326D1865}"/>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E8DC4E14-4B7F-3052-254F-707D77C5CE26}"/>
              </a:ext>
            </a:extLst>
          </p:cNvPr>
          <p:cNvSpPr>
            <a:spLocks noGrp="1"/>
          </p:cNvSpPr>
          <p:nvPr>
            <p:ph idx="1"/>
          </p:nvPr>
        </p:nvSpPr>
        <p:spPr>
          <a:xfrm>
            <a:off x="521208" y="1412238"/>
            <a:ext cx="11149580" cy="4637712"/>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2" name="Slide Number Placeholder 11">
            <a:extLst>
              <a:ext uri="{FF2B5EF4-FFF2-40B4-BE49-F238E27FC236}">
                <a16:creationId xmlns:a16="http://schemas.microsoft.com/office/drawing/2014/main" id="{DF88F7BF-8BBB-5870-0AF6-9BEF5CC14584}"/>
              </a:ext>
              <a:ext uri="{C183D7F6-B498-43B3-948B-1728B52AA6E4}">
                <adec:decorative xmlns:adec="http://schemas.microsoft.com/office/drawing/2017/decorative" val="1"/>
              </a:ext>
            </a:extLst>
          </p:cNvPr>
          <p:cNvSpPr>
            <a:spLocks noGrp="1"/>
          </p:cNvSpPr>
          <p:nvPr>
            <p:ph type="sldNum" sz="quarter" idx="16"/>
          </p:nvPr>
        </p:nvSpPr>
        <p:spPr/>
        <p:txBody>
          <a:bodyPr bIns="309600"/>
          <a:lstStyle/>
          <a:p>
            <a:fld id="{1C1606C5-D483-4832-A0E9-CF578A9B5883}" type="slidenum">
              <a:rPr lang="en-US" smtClean="0"/>
              <a:pPr/>
              <a:t>‹#›</a:t>
            </a:fld>
            <a:endParaRPr lang="en-US"/>
          </a:p>
        </p:txBody>
      </p:sp>
      <p:sp>
        <p:nvSpPr>
          <p:cNvPr id="8" name="footnotes">
            <a:extLst>
              <a:ext uri="{FF2B5EF4-FFF2-40B4-BE49-F238E27FC236}">
                <a16:creationId xmlns:a16="http://schemas.microsoft.com/office/drawing/2014/main" id="{0DD439EA-1F07-6E41-BFDF-D4F93AD52F95}"/>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9" name="Text Placeholder 7">
            <a:extLst>
              <a:ext uri="{FF2B5EF4-FFF2-40B4-BE49-F238E27FC236}">
                <a16:creationId xmlns:a16="http://schemas.microsoft.com/office/drawing/2014/main" id="{21962AF8-6A83-D64A-BCEA-21645782635A}"/>
              </a:ext>
            </a:extLst>
          </p:cNvPr>
          <p:cNvSpPr>
            <a:spLocks noGrp="1"/>
          </p:cNvSpPr>
          <p:nvPr>
            <p:ph type="body" sz="quarter" idx="18"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82305148"/>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9B3B9704-4F9F-DB2D-C36B-1C23226BC540}"/>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543400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9B3B9704-4F9F-DB2D-C36B-1C23226BC540}"/>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4CA4799F-9603-C7F5-FC7C-3B147396CD2A}"/>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9" name="Subtitle 2">
            <a:extLst>
              <a:ext uri="{FF2B5EF4-FFF2-40B4-BE49-F238E27FC236}">
                <a16:creationId xmlns:a16="http://schemas.microsoft.com/office/drawing/2014/main" id="{B1DC5A23-6973-07D0-BF89-D1918D14F882}"/>
              </a:ext>
            </a:extLst>
          </p:cNvPr>
          <p:cNvSpPr>
            <a:spLocks noGrp="1"/>
          </p:cNvSpPr>
          <p:nvPr>
            <p:ph type="body" sz="quarter" idx="16" hasCustomPrompt="1"/>
          </p:nvPr>
        </p:nvSpPr>
        <p:spPr>
          <a:xfrm>
            <a:off x="521208" y="1270518"/>
            <a:ext cx="11149580"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3" name="Content Placeholder 2">
            <a:extLst>
              <a:ext uri="{FF2B5EF4-FFF2-40B4-BE49-F238E27FC236}">
                <a16:creationId xmlns:a16="http://schemas.microsoft.com/office/drawing/2014/main" id="{E8DC4E14-4B7F-3052-254F-707D77C5CE26}"/>
              </a:ext>
            </a:extLst>
          </p:cNvPr>
          <p:cNvSpPr>
            <a:spLocks noGrp="1"/>
          </p:cNvSpPr>
          <p:nvPr>
            <p:ph idx="1"/>
          </p:nvPr>
        </p:nvSpPr>
        <p:spPr>
          <a:xfrm>
            <a:off x="521208" y="1773000"/>
            <a:ext cx="11149580" cy="42769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9" name="Slide Number Placeholder 18">
            <a:extLst>
              <a:ext uri="{FF2B5EF4-FFF2-40B4-BE49-F238E27FC236}">
                <a16:creationId xmlns:a16="http://schemas.microsoft.com/office/drawing/2014/main" id="{59BDC118-6075-6BF5-B3C7-6FEF439EB1FC}"/>
              </a:ext>
            </a:extLst>
          </p:cNvPr>
          <p:cNvSpPr>
            <a:spLocks noGrp="1"/>
          </p:cNvSpPr>
          <p:nvPr>
            <p:ph type="sldNum" sz="quarter" idx="18"/>
          </p:nvPr>
        </p:nvSpPr>
        <p:spPr/>
        <p:txBody>
          <a:bodyPr/>
          <a:lstStyle/>
          <a:p>
            <a:fld id="{1C1606C5-D483-4832-A0E9-CF578A9B5883}" type="slidenum">
              <a:rPr lang="en-US" smtClean="0"/>
              <a:pPr/>
              <a:t>‹#›</a:t>
            </a:fld>
            <a:endParaRPr lang="en-US"/>
          </a:p>
        </p:txBody>
      </p:sp>
      <p:sp>
        <p:nvSpPr>
          <p:cNvPr id="10" name="footnotes">
            <a:extLst>
              <a:ext uri="{FF2B5EF4-FFF2-40B4-BE49-F238E27FC236}">
                <a16:creationId xmlns:a16="http://schemas.microsoft.com/office/drawing/2014/main" id="{7E59255F-B5FB-B542-B50D-18DE534C4ACC}"/>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1" name="Text Placeholder 7">
            <a:extLst>
              <a:ext uri="{FF2B5EF4-FFF2-40B4-BE49-F238E27FC236}">
                <a16:creationId xmlns:a16="http://schemas.microsoft.com/office/drawing/2014/main" id="{85498F1D-071E-954D-9801-D68B13A465FC}"/>
              </a:ext>
            </a:extLst>
          </p:cNvPr>
          <p:cNvSpPr>
            <a:spLocks noGrp="1"/>
          </p:cNvSpPr>
          <p:nvPr>
            <p:ph type="body" sz="quarter" idx="19"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1396675793"/>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itle, Subtitle, Content">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9B3B9704-4F9F-DB2D-C36B-1C23226BC540}"/>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543400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9B3B9704-4F9F-DB2D-C36B-1C23226BC540}"/>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4CA4799F-9603-C7F5-FC7C-3B147396CD2A}"/>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9" name="Subtitle 2">
            <a:extLst>
              <a:ext uri="{FF2B5EF4-FFF2-40B4-BE49-F238E27FC236}">
                <a16:creationId xmlns:a16="http://schemas.microsoft.com/office/drawing/2014/main" id="{B1DC5A23-6973-07D0-BF89-D1918D14F882}"/>
              </a:ext>
            </a:extLst>
          </p:cNvPr>
          <p:cNvSpPr>
            <a:spLocks noGrp="1"/>
          </p:cNvSpPr>
          <p:nvPr>
            <p:ph type="body" sz="quarter" idx="16" hasCustomPrompt="1"/>
          </p:nvPr>
        </p:nvSpPr>
        <p:spPr>
          <a:xfrm>
            <a:off x="521208" y="1270518"/>
            <a:ext cx="11149580"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3" name="Content Placeholder 2">
            <a:extLst>
              <a:ext uri="{FF2B5EF4-FFF2-40B4-BE49-F238E27FC236}">
                <a16:creationId xmlns:a16="http://schemas.microsoft.com/office/drawing/2014/main" id="{E8DC4E14-4B7F-3052-254F-707D77C5CE26}"/>
              </a:ext>
            </a:extLst>
          </p:cNvPr>
          <p:cNvSpPr>
            <a:spLocks noGrp="1"/>
          </p:cNvSpPr>
          <p:nvPr>
            <p:ph idx="1"/>
          </p:nvPr>
        </p:nvSpPr>
        <p:spPr>
          <a:xfrm>
            <a:off x="521208" y="1773000"/>
            <a:ext cx="11149580" cy="42769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9" name="Slide Number Placeholder 18">
            <a:extLst>
              <a:ext uri="{FF2B5EF4-FFF2-40B4-BE49-F238E27FC236}">
                <a16:creationId xmlns:a16="http://schemas.microsoft.com/office/drawing/2014/main" id="{59BDC118-6075-6BF5-B3C7-6FEF439EB1FC}"/>
              </a:ext>
            </a:extLst>
          </p:cNvPr>
          <p:cNvSpPr>
            <a:spLocks noGrp="1"/>
          </p:cNvSpPr>
          <p:nvPr>
            <p:ph type="sldNum" sz="quarter" idx="18"/>
          </p:nvPr>
        </p:nvSpPr>
        <p:spPr/>
        <p:txBody>
          <a:bodyPr/>
          <a:lstStyle/>
          <a:p>
            <a:fld id="{1C1606C5-D483-4832-A0E9-CF578A9B5883}" type="slidenum">
              <a:rPr lang="en-US" smtClean="0"/>
              <a:pPr/>
              <a:t>‹#›</a:t>
            </a:fld>
            <a:endParaRPr lang="en-US"/>
          </a:p>
        </p:txBody>
      </p:sp>
      <p:sp>
        <p:nvSpPr>
          <p:cNvPr id="10" name="footnotes">
            <a:extLst>
              <a:ext uri="{FF2B5EF4-FFF2-40B4-BE49-F238E27FC236}">
                <a16:creationId xmlns:a16="http://schemas.microsoft.com/office/drawing/2014/main" id="{7E59255F-B5FB-B542-B50D-18DE534C4ACC}"/>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1" name="Text Placeholder 7">
            <a:extLst>
              <a:ext uri="{FF2B5EF4-FFF2-40B4-BE49-F238E27FC236}">
                <a16:creationId xmlns:a16="http://schemas.microsoft.com/office/drawing/2014/main" id="{85498F1D-071E-954D-9801-D68B13A465FC}"/>
              </a:ext>
            </a:extLst>
          </p:cNvPr>
          <p:cNvSpPr>
            <a:spLocks noGrp="1"/>
          </p:cNvSpPr>
          <p:nvPr>
            <p:ph type="body" sz="quarter" idx="19"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
        <p:nvSpPr>
          <p:cNvPr id="4" name="Subtitle 2">
            <a:extLst>
              <a:ext uri="{FF2B5EF4-FFF2-40B4-BE49-F238E27FC236}">
                <a16:creationId xmlns:a16="http://schemas.microsoft.com/office/drawing/2014/main" id="{6CF6F58F-2E54-A7AA-456F-E33C3EF96DF3}"/>
              </a:ext>
            </a:extLst>
          </p:cNvPr>
          <p:cNvSpPr>
            <a:spLocks noGrp="1"/>
          </p:cNvSpPr>
          <p:nvPr>
            <p:ph type="body" sz="quarter" idx="20" hasCustomPrompt="1"/>
          </p:nvPr>
        </p:nvSpPr>
        <p:spPr>
          <a:xfrm>
            <a:off x="521208" y="322843"/>
            <a:ext cx="11149579" cy="240493"/>
          </a:xfrm>
          <a:prstGeom prst="rect">
            <a:avLst/>
          </a:prstGeom>
        </p:spPr>
        <p:txBody>
          <a:bodyPr>
            <a:noAutofit/>
          </a:bodyPr>
          <a:lstStyle>
            <a:lvl1pPr>
              <a:lnSpc>
                <a:spcPct val="90000"/>
              </a:lnSpc>
              <a:defRPr sz="1400" b="0" i="0" baseline="0">
                <a:solidFill>
                  <a:schemeClr val="accent6"/>
                </a:solidFill>
                <a:latin typeface="Forever Forma Heading" pitchFamily="2" charset="0"/>
              </a:defRPr>
            </a:lvl1pPr>
          </a:lstStyle>
          <a:p>
            <a:pPr lvl="0"/>
            <a:r>
              <a:rPr lang="en-US"/>
              <a:t>Click to edit subtitle</a:t>
            </a:r>
          </a:p>
        </p:txBody>
      </p:sp>
    </p:spTree>
    <p:extLst>
      <p:ext uri="{BB962C8B-B14F-4D97-AF65-F5344CB8AC3E}">
        <p14:creationId xmlns:p14="http://schemas.microsoft.com/office/powerpoint/2010/main" val="3655737364"/>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ubheading, Content">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5E2BD40F-8EFE-EC7E-1572-2D0E1E79CE1B}"/>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772431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5E2BD40F-8EFE-EC7E-1572-2D0E1E79CE1B}"/>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DAB6C979-AA63-ADCB-CFCE-8AF6D43E8492}"/>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13" name="Subtitle">
            <a:extLst>
              <a:ext uri="{FF2B5EF4-FFF2-40B4-BE49-F238E27FC236}">
                <a16:creationId xmlns:a16="http://schemas.microsoft.com/office/drawing/2014/main" id="{20D6B804-4D45-977C-0430-B1BB52485EB6}"/>
              </a:ext>
            </a:extLst>
          </p:cNvPr>
          <p:cNvSpPr>
            <a:spLocks noGrp="1"/>
          </p:cNvSpPr>
          <p:nvPr>
            <p:ph type="body" sz="quarter" idx="13" hasCustomPrompt="1"/>
          </p:nvPr>
        </p:nvSpPr>
        <p:spPr>
          <a:xfrm>
            <a:off x="521208" y="1414800"/>
            <a:ext cx="11149580" cy="324000"/>
          </a:xfrm>
          <a:prstGeom prst="rect">
            <a:avLst/>
          </a:prstGeom>
        </p:spPr>
        <p:txBody>
          <a:bodyPr>
            <a:noAutofit/>
          </a:bodyPr>
          <a:lstStyle>
            <a:lvl1pPr>
              <a:defRPr sz="2000" b="0" i="0">
                <a:latin typeface="+mj-lt"/>
              </a:defRPr>
            </a:lvl1pPr>
          </a:lstStyle>
          <a:p>
            <a:pPr lvl="0"/>
            <a:r>
              <a:rPr lang="en-US"/>
              <a:t>Click to edit subheading</a:t>
            </a:r>
          </a:p>
        </p:txBody>
      </p:sp>
      <p:sp>
        <p:nvSpPr>
          <p:cNvPr id="8" name="Content Placeholder 3">
            <a:extLst>
              <a:ext uri="{FF2B5EF4-FFF2-40B4-BE49-F238E27FC236}">
                <a16:creationId xmlns:a16="http://schemas.microsoft.com/office/drawing/2014/main" id="{D66EF941-EE88-DD77-B4D2-7DFEB2329BA4}"/>
              </a:ext>
            </a:extLst>
          </p:cNvPr>
          <p:cNvSpPr>
            <a:spLocks noGrp="1"/>
          </p:cNvSpPr>
          <p:nvPr>
            <p:ph sz="half" idx="2"/>
          </p:nvPr>
        </p:nvSpPr>
        <p:spPr>
          <a:xfrm>
            <a:off x="521208" y="1774800"/>
            <a:ext cx="11149580"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3" name="Slide Number Placeholder 2">
            <a:extLst>
              <a:ext uri="{FF2B5EF4-FFF2-40B4-BE49-F238E27FC236}">
                <a16:creationId xmlns:a16="http://schemas.microsoft.com/office/drawing/2014/main" id="{428AA125-81EB-634A-58F7-F6ED1D26FC0C}"/>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9" name="footnotes">
            <a:extLst>
              <a:ext uri="{FF2B5EF4-FFF2-40B4-BE49-F238E27FC236}">
                <a16:creationId xmlns:a16="http://schemas.microsoft.com/office/drawing/2014/main" id="{428A0D41-A1DD-2942-99E1-3067192C04EF}"/>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0" name="Text Placeholder 7">
            <a:extLst>
              <a:ext uri="{FF2B5EF4-FFF2-40B4-BE49-F238E27FC236}">
                <a16:creationId xmlns:a16="http://schemas.microsoft.com/office/drawing/2014/main" id="{A8EE40E5-EE6B-F848-8986-F44AE95096C3}"/>
              </a:ext>
            </a:extLst>
          </p:cNvPr>
          <p:cNvSpPr>
            <a:spLocks noGrp="1"/>
          </p:cNvSpPr>
          <p:nvPr>
            <p:ph type="body" sz="quarter" idx="18"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233735331"/>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2 Content">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D36BCD1C-33D6-F1AE-0319-FA5A2E02E217}"/>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543400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D36BCD1C-33D6-F1AE-0319-FA5A2E02E217}"/>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647D7EB4-7059-9F86-302A-A0A1E0582911}"/>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7B97EE82-108F-E33E-FCA1-952163EFB126}"/>
              </a:ext>
            </a:extLst>
          </p:cNvPr>
          <p:cNvSpPr>
            <a:spLocks noGrp="1"/>
          </p:cNvSpPr>
          <p:nvPr>
            <p:ph sz="half" idx="1"/>
          </p:nvPr>
        </p:nvSpPr>
        <p:spPr>
          <a:xfrm>
            <a:off x="521208" y="1414800"/>
            <a:ext cx="5466792" cy="463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Content Placeholder 3">
            <a:extLst>
              <a:ext uri="{FF2B5EF4-FFF2-40B4-BE49-F238E27FC236}">
                <a16:creationId xmlns:a16="http://schemas.microsoft.com/office/drawing/2014/main" id="{84970725-E095-1266-38E5-68F19D3A7559}"/>
              </a:ext>
            </a:extLst>
          </p:cNvPr>
          <p:cNvSpPr>
            <a:spLocks noGrp="1"/>
          </p:cNvSpPr>
          <p:nvPr>
            <p:ph sz="half" idx="2"/>
          </p:nvPr>
        </p:nvSpPr>
        <p:spPr>
          <a:xfrm>
            <a:off x="6204000" y="1414800"/>
            <a:ext cx="5466788" cy="463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6">
            <a:extLst>
              <a:ext uri="{FF2B5EF4-FFF2-40B4-BE49-F238E27FC236}">
                <a16:creationId xmlns:a16="http://schemas.microsoft.com/office/drawing/2014/main" id="{639FC5A9-B0A2-A729-A108-87F84341470B}"/>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9" name="footnotes">
            <a:extLst>
              <a:ext uri="{FF2B5EF4-FFF2-40B4-BE49-F238E27FC236}">
                <a16:creationId xmlns:a16="http://schemas.microsoft.com/office/drawing/2014/main" id="{1FA9AEF8-7011-6B47-A123-9125D7F5593D}"/>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0" name="Text Placeholder 7">
            <a:extLst>
              <a:ext uri="{FF2B5EF4-FFF2-40B4-BE49-F238E27FC236}">
                <a16:creationId xmlns:a16="http://schemas.microsoft.com/office/drawing/2014/main" id="{2700DD31-140B-9340-8A14-57D36860A7B9}"/>
              </a:ext>
            </a:extLst>
          </p:cNvPr>
          <p:cNvSpPr>
            <a:spLocks noGrp="1"/>
          </p:cNvSpPr>
          <p:nvPr>
            <p:ph type="body" sz="quarter" idx="18"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1319743586"/>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ubtitle, 2 Content">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F586B625-D6E1-06F8-ADC3-9A0F0B9D39BE}"/>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543400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F586B625-D6E1-06F8-ADC3-9A0F0B9D39BE}"/>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33FC5BC2-96AE-8D74-F8B4-E565DD3A7034}"/>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6" name="Subtitle 2">
            <a:extLst>
              <a:ext uri="{FF2B5EF4-FFF2-40B4-BE49-F238E27FC236}">
                <a16:creationId xmlns:a16="http://schemas.microsoft.com/office/drawing/2014/main" id="{D1608DE5-8B90-3D37-9371-2174E71A4248}"/>
              </a:ext>
            </a:extLst>
          </p:cNvPr>
          <p:cNvSpPr>
            <a:spLocks noGrp="1"/>
          </p:cNvSpPr>
          <p:nvPr>
            <p:ph type="body" sz="quarter" idx="16" hasCustomPrompt="1"/>
          </p:nvPr>
        </p:nvSpPr>
        <p:spPr>
          <a:xfrm>
            <a:off x="521208" y="1270518"/>
            <a:ext cx="11149580"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3" name="Content Placeholder 2">
            <a:extLst>
              <a:ext uri="{FF2B5EF4-FFF2-40B4-BE49-F238E27FC236}">
                <a16:creationId xmlns:a16="http://schemas.microsoft.com/office/drawing/2014/main" id="{7B97EE82-108F-E33E-FCA1-952163EFB126}"/>
              </a:ext>
            </a:extLst>
          </p:cNvPr>
          <p:cNvSpPr>
            <a:spLocks noGrp="1"/>
          </p:cNvSpPr>
          <p:nvPr>
            <p:ph sz="half" idx="1"/>
          </p:nvPr>
        </p:nvSpPr>
        <p:spPr>
          <a:xfrm>
            <a:off x="521208" y="1774800"/>
            <a:ext cx="546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Content Placeholder 3">
            <a:extLst>
              <a:ext uri="{FF2B5EF4-FFF2-40B4-BE49-F238E27FC236}">
                <a16:creationId xmlns:a16="http://schemas.microsoft.com/office/drawing/2014/main" id="{84970725-E095-1266-38E5-68F19D3A7559}"/>
              </a:ext>
            </a:extLst>
          </p:cNvPr>
          <p:cNvSpPr>
            <a:spLocks noGrp="1"/>
          </p:cNvSpPr>
          <p:nvPr>
            <p:ph sz="half" idx="2"/>
          </p:nvPr>
        </p:nvSpPr>
        <p:spPr>
          <a:xfrm>
            <a:off x="6204000" y="1774800"/>
            <a:ext cx="5436000"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8" name="Slide Number Placeholder 7">
            <a:extLst>
              <a:ext uri="{FF2B5EF4-FFF2-40B4-BE49-F238E27FC236}">
                <a16:creationId xmlns:a16="http://schemas.microsoft.com/office/drawing/2014/main" id="{CBBB5236-25E0-CA99-CC75-9488BBADFCE3}"/>
              </a:ext>
              <a:ext uri="{C183D7F6-B498-43B3-948B-1728B52AA6E4}">
                <adec:decorative xmlns:adec="http://schemas.microsoft.com/office/drawing/2017/decorative" val="1"/>
              </a:ext>
            </a:extLst>
          </p:cNvPr>
          <p:cNvSpPr>
            <a:spLocks noGrp="1"/>
          </p:cNvSpPr>
          <p:nvPr>
            <p:ph type="sldNum" sz="quarter" idx="17"/>
          </p:nvPr>
        </p:nvSpPr>
        <p:spPr/>
        <p:txBody>
          <a:bodyPr/>
          <a:lstStyle/>
          <a:p>
            <a:fld id="{1C1606C5-D483-4832-A0E9-CF578A9B5883}" type="slidenum">
              <a:rPr lang="en-US" smtClean="0"/>
              <a:pPr/>
              <a:t>‹#›</a:t>
            </a:fld>
            <a:endParaRPr lang="en-US"/>
          </a:p>
        </p:txBody>
      </p:sp>
      <p:sp>
        <p:nvSpPr>
          <p:cNvPr id="11" name="footnotes">
            <a:extLst>
              <a:ext uri="{FF2B5EF4-FFF2-40B4-BE49-F238E27FC236}">
                <a16:creationId xmlns:a16="http://schemas.microsoft.com/office/drawing/2014/main" id="{A959FA4A-8A23-2645-AA83-408AE4BDA88C}"/>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2" name="Text Placeholder 7">
            <a:extLst>
              <a:ext uri="{FF2B5EF4-FFF2-40B4-BE49-F238E27FC236}">
                <a16:creationId xmlns:a16="http://schemas.microsoft.com/office/drawing/2014/main" id="{FF52BE52-3DE2-6041-8C56-BCF1F40E0121}"/>
              </a:ext>
            </a:extLst>
          </p:cNvPr>
          <p:cNvSpPr>
            <a:spLocks noGrp="1"/>
          </p:cNvSpPr>
          <p:nvPr>
            <p:ph type="body" sz="quarter" idx="18"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580992808"/>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2 Subheading, 2 Content">
    <p:spTree>
      <p:nvGrpSpPr>
        <p:cNvPr id="1" name=""/>
        <p:cNvGrpSpPr/>
        <p:nvPr/>
      </p:nvGrpSpPr>
      <p:grpSpPr>
        <a:xfrm>
          <a:off x="0" y="0"/>
          <a:ext cx="0" cy="0"/>
          <a:chOff x="0" y="0"/>
          <a:chExt cx="0" cy="0"/>
        </a:xfrm>
      </p:grpSpPr>
      <p:graphicFrame>
        <p:nvGraphicFramePr>
          <p:cNvPr id="5" name="think-cell data - do not delete">
            <a:extLst>
              <a:ext uri="{FF2B5EF4-FFF2-40B4-BE49-F238E27FC236}">
                <a16:creationId xmlns:a16="http://schemas.microsoft.com/office/drawing/2014/main" id="{3F2946B6-AC1F-81BA-7B2C-EF2B627C86F7}"/>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772431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think-cell data - do not delete">
                        <a:extLst>
                          <a:ext uri="{FF2B5EF4-FFF2-40B4-BE49-F238E27FC236}">
                            <a16:creationId xmlns:a16="http://schemas.microsoft.com/office/drawing/2014/main" id="{3F2946B6-AC1F-81BA-7B2C-EF2B627C86F7}"/>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C44DCA0-DD63-84D1-CAD4-CCAA9A5CBE61}"/>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13" name="Subtitle">
            <a:extLst>
              <a:ext uri="{FF2B5EF4-FFF2-40B4-BE49-F238E27FC236}">
                <a16:creationId xmlns:a16="http://schemas.microsoft.com/office/drawing/2014/main" id="{331B8B0D-8C19-56D6-3474-9A68EF24E63C}"/>
              </a:ext>
            </a:extLst>
          </p:cNvPr>
          <p:cNvSpPr>
            <a:spLocks noGrp="1"/>
          </p:cNvSpPr>
          <p:nvPr>
            <p:ph type="body" sz="quarter" idx="13" hasCustomPrompt="1"/>
          </p:nvPr>
        </p:nvSpPr>
        <p:spPr>
          <a:xfrm>
            <a:off x="521208" y="1414800"/>
            <a:ext cx="5466792" cy="324000"/>
          </a:xfrm>
          <a:prstGeom prst="rect">
            <a:avLst/>
          </a:prstGeom>
        </p:spPr>
        <p:txBody>
          <a:bodyPr>
            <a:noAutofit/>
          </a:bodyPr>
          <a:lstStyle>
            <a:lvl1pPr>
              <a:defRPr sz="2000" b="0" i="0">
                <a:latin typeface="+mj-lt"/>
              </a:defRPr>
            </a:lvl1pPr>
          </a:lstStyle>
          <a:p>
            <a:pPr lvl="0"/>
            <a:r>
              <a:rPr lang="en-US"/>
              <a:t>Click to edit subheading</a:t>
            </a:r>
          </a:p>
        </p:txBody>
      </p:sp>
      <p:sp>
        <p:nvSpPr>
          <p:cNvPr id="6" name="Content Placeholder 1">
            <a:extLst>
              <a:ext uri="{FF2B5EF4-FFF2-40B4-BE49-F238E27FC236}">
                <a16:creationId xmlns:a16="http://schemas.microsoft.com/office/drawing/2014/main" id="{639C1932-E720-A335-BA08-4187F3CA3D33}"/>
              </a:ext>
            </a:extLst>
          </p:cNvPr>
          <p:cNvSpPr>
            <a:spLocks noGrp="1"/>
          </p:cNvSpPr>
          <p:nvPr>
            <p:ph sz="half" idx="2"/>
          </p:nvPr>
        </p:nvSpPr>
        <p:spPr>
          <a:xfrm>
            <a:off x="521208" y="1774800"/>
            <a:ext cx="546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5" name="Subtitle 2">
            <a:extLst>
              <a:ext uri="{FF2B5EF4-FFF2-40B4-BE49-F238E27FC236}">
                <a16:creationId xmlns:a16="http://schemas.microsoft.com/office/drawing/2014/main" id="{6B8DF1BA-8C93-F66E-B919-D37909FD2284}"/>
              </a:ext>
            </a:extLst>
          </p:cNvPr>
          <p:cNvSpPr>
            <a:spLocks noGrp="1"/>
          </p:cNvSpPr>
          <p:nvPr>
            <p:ph type="body" sz="quarter" idx="17" hasCustomPrompt="1"/>
          </p:nvPr>
        </p:nvSpPr>
        <p:spPr>
          <a:xfrm>
            <a:off x="6204000" y="1414800"/>
            <a:ext cx="5466788" cy="324000"/>
          </a:xfrm>
          <a:prstGeom prst="rect">
            <a:avLst/>
          </a:prstGeom>
        </p:spPr>
        <p:txBody>
          <a:bodyPr>
            <a:noAutofit/>
          </a:bodyPr>
          <a:lstStyle>
            <a:lvl1pPr>
              <a:defRPr sz="2000" b="0" i="0">
                <a:latin typeface="+mj-lt"/>
              </a:defRPr>
            </a:lvl1pPr>
          </a:lstStyle>
          <a:p>
            <a:pPr lvl="0"/>
            <a:r>
              <a:rPr lang="en-US"/>
              <a:t>Click to edit subheading</a:t>
            </a:r>
          </a:p>
        </p:txBody>
      </p:sp>
      <p:sp>
        <p:nvSpPr>
          <p:cNvPr id="2" name="Content Placeholder 1">
            <a:extLst>
              <a:ext uri="{FF2B5EF4-FFF2-40B4-BE49-F238E27FC236}">
                <a16:creationId xmlns:a16="http://schemas.microsoft.com/office/drawing/2014/main" id="{373BF452-84F5-39DA-111E-74D078D1319D}"/>
              </a:ext>
            </a:extLst>
          </p:cNvPr>
          <p:cNvSpPr>
            <a:spLocks noGrp="1"/>
          </p:cNvSpPr>
          <p:nvPr>
            <p:ph sz="half" idx="19"/>
          </p:nvPr>
        </p:nvSpPr>
        <p:spPr>
          <a:xfrm>
            <a:off x="6203996" y="1774800"/>
            <a:ext cx="546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3" name="Slide Number Placeholder 2">
            <a:extLst>
              <a:ext uri="{FF2B5EF4-FFF2-40B4-BE49-F238E27FC236}">
                <a16:creationId xmlns:a16="http://schemas.microsoft.com/office/drawing/2014/main" id="{1DDFFF08-DC8A-A699-D304-5A119DF6CF1C}"/>
              </a:ext>
              <a:ext uri="{C183D7F6-B498-43B3-948B-1728B52AA6E4}">
                <adec:decorative xmlns:adec="http://schemas.microsoft.com/office/drawing/2017/decorative" val="1"/>
              </a:ext>
            </a:extLst>
          </p:cNvPr>
          <p:cNvSpPr>
            <a:spLocks noGrp="1"/>
          </p:cNvSpPr>
          <p:nvPr>
            <p:ph type="sldNum" sz="quarter" idx="18"/>
          </p:nvPr>
        </p:nvSpPr>
        <p:spPr/>
        <p:txBody>
          <a:bodyPr/>
          <a:lstStyle/>
          <a:p>
            <a:fld id="{1C1606C5-D483-4832-A0E9-CF578A9B5883}" type="slidenum">
              <a:rPr lang="en-US" smtClean="0"/>
              <a:pPr/>
              <a:t>‹#›</a:t>
            </a:fld>
            <a:endParaRPr lang="en-US"/>
          </a:p>
        </p:txBody>
      </p:sp>
      <p:sp>
        <p:nvSpPr>
          <p:cNvPr id="11" name="footnotes">
            <a:extLst>
              <a:ext uri="{FF2B5EF4-FFF2-40B4-BE49-F238E27FC236}">
                <a16:creationId xmlns:a16="http://schemas.microsoft.com/office/drawing/2014/main" id="{81177648-D182-A44A-B8BF-8865722D9E81}"/>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2" name="Text Placeholder 7">
            <a:extLst>
              <a:ext uri="{FF2B5EF4-FFF2-40B4-BE49-F238E27FC236}">
                <a16:creationId xmlns:a16="http://schemas.microsoft.com/office/drawing/2014/main" id="{B3FE6E8A-BED6-F742-8EC3-8B0482CC0069}"/>
              </a:ext>
            </a:extLst>
          </p:cNvPr>
          <p:cNvSpPr>
            <a:spLocks noGrp="1"/>
          </p:cNvSpPr>
          <p:nvPr>
            <p:ph type="body" sz="quarter" idx="20"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70818046"/>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9B3B9704-4F9F-DB2D-C36B-1C23226BC540}"/>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543400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9B3B9704-4F9F-DB2D-C36B-1C23226BC540}"/>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4CA4799F-9603-C7F5-FC7C-3B147396CD2A}"/>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9" name="Subtitle 2">
            <a:extLst>
              <a:ext uri="{FF2B5EF4-FFF2-40B4-BE49-F238E27FC236}">
                <a16:creationId xmlns:a16="http://schemas.microsoft.com/office/drawing/2014/main" id="{B1DC5A23-6973-07D0-BF89-D1918D14F882}"/>
              </a:ext>
            </a:extLst>
          </p:cNvPr>
          <p:cNvSpPr>
            <a:spLocks noGrp="1"/>
          </p:cNvSpPr>
          <p:nvPr>
            <p:ph type="body" sz="quarter" idx="16" hasCustomPrompt="1"/>
          </p:nvPr>
        </p:nvSpPr>
        <p:spPr>
          <a:xfrm>
            <a:off x="521208" y="1270518"/>
            <a:ext cx="11149580"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3" name="Content Placeholder 2">
            <a:extLst>
              <a:ext uri="{FF2B5EF4-FFF2-40B4-BE49-F238E27FC236}">
                <a16:creationId xmlns:a16="http://schemas.microsoft.com/office/drawing/2014/main" id="{E8DC4E14-4B7F-3052-254F-707D77C5CE26}"/>
              </a:ext>
            </a:extLst>
          </p:cNvPr>
          <p:cNvSpPr>
            <a:spLocks noGrp="1"/>
          </p:cNvSpPr>
          <p:nvPr>
            <p:ph idx="1"/>
          </p:nvPr>
        </p:nvSpPr>
        <p:spPr>
          <a:xfrm>
            <a:off x="521208" y="1773000"/>
            <a:ext cx="11149580" cy="42769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9" name="Slide Number Placeholder 18">
            <a:extLst>
              <a:ext uri="{FF2B5EF4-FFF2-40B4-BE49-F238E27FC236}">
                <a16:creationId xmlns:a16="http://schemas.microsoft.com/office/drawing/2014/main" id="{59BDC118-6075-6BF5-B3C7-6FEF439EB1FC}"/>
              </a:ext>
            </a:extLst>
          </p:cNvPr>
          <p:cNvSpPr>
            <a:spLocks noGrp="1"/>
          </p:cNvSpPr>
          <p:nvPr>
            <p:ph type="sldNum" sz="quarter" idx="18"/>
          </p:nvPr>
        </p:nvSpPr>
        <p:spPr/>
        <p:txBody>
          <a:bodyPr/>
          <a:lstStyle/>
          <a:p>
            <a:fld id="{1C1606C5-D483-4832-A0E9-CF578A9B5883}" type="slidenum">
              <a:rPr lang="en-US" smtClean="0"/>
              <a:pPr/>
              <a:t>‹#›</a:t>
            </a:fld>
            <a:endParaRPr lang="en-US"/>
          </a:p>
        </p:txBody>
      </p:sp>
      <p:sp>
        <p:nvSpPr>
          <p:cNvPr id="10" name="footnotes">
            <a:extLst>
              <a:ext uri="{FF2B5EF4-FFF2-40B4-BE49-F238E27FC236}">
                <a16:creationId xmlns:a16="http://schemas.microsoft.com/office/drawing/2014/main" id="{BAABEA14-751C-3C44-A921-68CE57EDCAE5}"/>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1" name="Text Placeholder 7">
            <a:extLst>
              <a:ext uri="{FF2B5EF4-FFF2-40B4-BE49-F238E27FC236}">
                <a16:creationId xmlns:a16="http://schemas.microsoft.com/office/drawing/2014/main" id="{4000AEAC-31E4-4045-B3BA-6A13BFA711FD}"/>
              </a:ext>
            </a:extLst>
          </p:cNvPr>
          <p:cNvSpPr>
            <a:spLocks noGrp="1"/>
          </p:cNvSpPr>
          <p:nvPr>
            <p:ph type="body" sz="quarter" idx="19"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706384623"/>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3 Content">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21B19C6E-FCD2-6973-1596-E1E0CD0BA430}"/>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543400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21B19C6E-FCD2-6973-1596-E1E0CD0BA430}"/>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A14C2899-A934-081F-BC75-86BAF44CFE53}"/>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7B97EE82-108F-E33E-FCA1-952163EFB126}"/>
              </a:ext>
            </a:extLst>
          </p:cNvPr>
          <p:cNvSpPr>
            <a:spLocks noGrp="1"/>
          </p:cNvSpPr>
          <p:nvPr>
            <p:ph sz="half" idx="1"/>
          </p:nvPr>
        </p:nvSpPr>
        <p:spPr>
          <a:xfrm>
            <a:off x="521208" y="1414800"/>
            <a:ext cx="3558792" cy="463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4" name="Content Placeholder 2">
            <a:extLst>
              <a:ext uri="{FF2B5EF4-FFF2-40B4-BE49-F238E27FC236}">
                <a16:creationId xmlns:a16="http://schemas.microsoft.com/office/drawing/2014/main" id="{8A08A05F-F599-D65F-0774-0FDE3D73F400}"/>
              </a:ext>
            </a:extLst>
          </p:cNvPr>
          <p:cNvSpPr>
            <a:spLocks noGrp="1"/>
          </p:cNvSpPr>
          <p:nvPr>
            <p:ph sz="half" idx="16"/>
          </p:nvPr>
        </p:nvSpPr>
        <p:spPr>
          <a:xfrm>
            <a:off x="4316604" y="1414800"/>
            <a:ext cx="3558792" cy="463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1" name="Content Placeholder 3">
            <a:extLst>
              <a:ext uri="{FF2B5EF4-FFF2-40B4-BE49-F238E27FC236}">
                <a16:creationId xmlns:a16="http://schemas.microsoft.com/office/drawing/2014/main" id="{EBB2D415-F289-7C5C-4281-0729398A3964}"/>
              </a:ext>
            </a:extLst>
          </p:cNvPr>
          <p:cNvSpPr>
            <a:spLocks noGrp="1"/>
          </p:cNvSpPr>
          <p:nvPr>
            <p:ph sz="half" idx="13"/>
          </p:nvPr>
        </p:nvSpPr>
        <p:spPr>
          <a:xfrm>
            <a:off x="8112000" y="1414800"/>
            <a:ext cx="3558788" cy="463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Slide Number Placeholder 5">
            <a:extLst>
              <a:ext uri="{FF2B5EF4-FFF2-40B4-BE49-F238E27FC236}">
                <a16:creationId xmlns:a16="http://schemas.microsoft.com/office/drawing/2014/main" id="{128960BD-F0C7-CB79-37EA-DECF1205A71A}"/>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10" name="footnotes">
            <a:extLst>
              <a:ext uri="{FF2B5EF4-FFF2-40B4-BE49-F238E27FC236}">
                <a16:creationId xmlns:a16="http://schemas.microsoft.com/office/drawing/2014/main" id="{D4E72B5D-B9DD-3B4A-A887-5F610D004433}"/>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2" name="Text Placeholder 7">
            <a:extLst>
              <a:ext uri="{FF2B5EF4-FFF2-40B4-BE49-F238E27FC236}">
                <a16:creationId xmlns:a16="http://schemas.microsoft.com/office/drawing/2014/main" id="{FE5381C5-7F47-B641-AB03-E7BE50EFA6B5}"/>
              </a:ext>
            </a:extLst>
          </p:cNvPr>
          <p:cNvSpPr>
            <a:spLocks noGrp="1"/>
          </p:cNvSpPr>
          <p:nvPr>
            <p:ph type="body" sz="quarter" idx="18"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946520670"/>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ubtitle, 3 Content">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15569BAF-680C-EB2B-B9A5-C6AA2407D54B}"/>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543400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15569BAF-680C-EB2B-B9A5-C6AA2407D54B}"/>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5C1E4060-4D83-76DD-1415-C18A2D22DED8}"/>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5" name="Subtitle 2">
            <a:extLst>
              <a:ext uri="{FF2B5EF4-FFF2-40B4-BE49-F238E27FC236}">
                <a16:creationId xmlns:a16="http://schemas.microsoft.com/office/drawing/2014/main" id="{8B0B60B6-D395-4EF1-4297-0B77BCD92F8A}"/>
              </a:ext>
            </a:extLst>
          </p:cNvPr>
          <p:cNvSpPr>
            <a:spLocks noGrp="1"/>
          </p:cNvSpPr>
          <p:nvPr>
            <p:ph type="body" sz="quarter" idx="16" hasCustomPrompt="1"/>
          </p:nvPr>
        </p:nvSpPr>
        <p:spPr>
          <a:xfrm>
            <a:off x="521208" y="1270518"/>
            <a:ext cx="11149580"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3" name="Content Placeholder 2">
            <a:extLst>
              <a:ext uri="{FF2B5EF4-FFF2-40B4-BE49-F238E27FC236}">
                <a16:creationId xmlns:a16="http://schemas.microsoft.com/office/drawing/2014/main" id="{7B97EE82-108F-E33E-FCA1-952163EFB126}"/>
              </a:ext>
            </a:extLst>
          </p:cNvPr>
          <p:cNvSpPr>
            <a:spLocks noGrp="1"/>
          </p:cNvSpPr>
          <p:nvPr>
            <p:ph sz="half" idx="1"/>
          </p:nvPr>
        </p:nvSpPr>
        <p:spPr>
          <a:xfrm>
            <a:off x="521208" y="1774800"/>
            <a:ext cx="3558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5" name="Content Placeholder 2">
            <a:extLst>
              <a:ext uri="{FF2B5EF4-FFF2-40B4-BE49-F238E27FC236}">
                <a16:creationId xmlns:a16="http://schemas.microsoft.com/office/drawing/2014/main" id="{B3BB040B-046C-E611-98DE-E997F5889100}"/>
              </a:ext>
            </a:extLst>
          </p:cNvPr>
          <p:cNvSpPr>
            <a:spLocks noGrp="1"/>
          </p:cNvSpPr>
          <p:nvPr>
            <p:ph sz="half" idx="18"/>
          </p:nvPr>
        </p:nvSpPr>
        <p:spPr>
          <a:xfrm>
            <a:off x="4316604" y="1774800"/>
            <a:ext cx="3558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1" name="Content Placeholder 3">
            <a:extLst>
              <a:ext uri="{FF2B5EF4-FFF2-40B4-BE49-F238E27FC236}">
                <a16:creationId xmlns:a16="http://schemas.microsoft.com/office/drawing/2014/main" id="{EBB2D415-F289-7C5C-4281-0729398A3964}"/>
              </a:ext>
            </a:extLst>
          </p:cNvPr>
          <p:cNvSpPr>
            <a:spLocks noGrp="1"/>
          </p:cNvSpPr>
          <p:nvPr>
            <p:ph sz="half" idx="13"/>
          </p:nvPr>
        </p:nvSpPr>
        <p:spPr>
          <a:xfrm>
            <a:off x="8112000" y="1774800"/>
            <a:ext cx="3558788"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6">
            <a:extLst>
              <a:ext uri="{FF2B5EF4-FFF2-40B4-BE49-F238E27FC236}">
                <a16:creationId xmlns:a16="http://schemas.microsoft.com/office/drawing/2014/main" id="{1677A015-CE51-197E-1602-0EA2F6226478}"/>
              </a:ext>
              <a:ext uri="{C183D7F6-B498-43B3-948B-1728B52AA6E4}">
                <adec:decorative xmlns:adec="http://schemas.microsoft.com/office/drawing/2017/decorative" val="1"/>
              </a:ext>
            </a:extLst>
          </p:cNvPr>
          <p:cNvSpPr>
            <a:spLocks noGrp="1"/>
          </p:cNvSpPr>
          <p:nvPr>
            <p:ph type="sldNum" sz="quarter" idx="17"/>
          </p:nvPr>
        </p:nvSpPr>
        <p:spPr/>
        <p:txBody>
          <a:bodyPr/>
          <a:lstStyle/>
          <a:p>
            <a:fld id="{1C1606C5-D483-4832-A0E9-CF578A9B5883}" type="slidenum">
              <a:rPr lang="en-US" smtClean="0"/>
              <a:pPr/>
              <a:t>‹#›</a:t>
            </a:fld>
            <a:endParaRPr lang="en-US"/>
          </a:p>
        </p:txBody>
      </p:sp>
      <p:sp>
        <p:nvSpPr>
          <p:cNvPr id="12" name="footnotes">
            <a:extLst>
              <a:ext uri="{FF2B5EF4-FFF2-40B4-BE49-F238E27FC236}">
                <a16:creationId xmlns:a16="http://schemas.microsoft.com/office/drawing/2014/main" id="{12BB650B-4084-D649-B717-E801D103ADBE}"/>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3" name="Text Placeholder 7">
            <a:extLst>
              <a:ext uri="{FF2B5EF4-FFF2-40B4-BE49-F238E27FC236}">
                <a16:creationId xmlns:a16="http://schemas.microsoft.com/office/drawing/2014/main" id="{D8DCE467-4208-2748-A5E9-37260229D6B7}"/>
              </a:ext>
            </a:extLst>
          </p:cNvPr>
          <p:cNvSpPr>
            <a:spLocks noGrp="1"/>
          </p:cNvSpPr>
          <p:nvPr>
            <p:ph type="body" sz="quarter" idx="19"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4042609262"/>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3 Subheading, 3 Content">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A52B3549-8181-0A96-CDF7-B4367112C465}"/>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772431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A52B3549-8181-0A96-CDF7-B4367112C465}"/>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E71B424-BDB2-2268-094F-B0AE1BB4A800}"/>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15" name="Subtitle">
            <a:extLst>
              <a:ext uri="{FF2B5EF4-FFF2-40B4-BE49-F238E27FC236}">
                <a16:creationId xmlns:a16="http://schemas.microsoft.com/office/drawing/2014/main" id="{62823D89-483C-2ECD-F2D1-73981BD2E4EA}"/>
              </a:ext>
            </a:extLst>
          </p:cNvPr>
          <p:cNvSpPr>
            <a:spLocks noGrp="1"/>
          </p:cNvSpPr>
          <p:nvPr>
            <p:ph type="body" sz="quarter" idx="13" hasCustomPrompt="1"/>
          </p:nvPr>
        </p:nvSpPr>
        <p:spPr>
          <a:xfrm>
            <a:off x="521208" y="1414800"/>
            <a:ext cx="3558792" cy="324000"/>
          </a:xfrm>
          <a:prstGeom prst="rect">
            <a:avLst/>
          </a:prstGeom>
        </p:spPr>
        <p:txBody>
          <a:bodyPr>
            <a:noAutofit/>
          </a:bodyPr>
          <a:lstStyle>
            <a:lvl1pPr>
              <a:defRPr sz="2000" b="0" i="0">
                <a:latin typeface="+mj-lt"/>
              </a:defRPr>
            </a:lvl1pPr>
          </a:lstStyle>
          <a:p>
            <a:pPr lvl="0"/>
            <a:r>
              <a:rPr lang="en-US"/>
              <a:t>Click to edit subheading</a:t>
            </a:r>
          </a:p>
        </p:txBody>
      </p:sp>
      <p:sp>
        <p:nvSpPr>
          <p:cNvPr id="6" name="Content Placeholder 1">
            <a:extLst>
              <a:ext uri="{FF2B5EF4-FFF2-40B4-BE49-F238E27FC236}">
                <a16:creationId xmlns:a16="http://schemas.microsoft.com/office/drawing/2014/main" id="{F75B33A8-FAA2-0133-6BCA-F44F83E6176F}"/>
              </a:ext>
            </a:extLst>
          </p:cNvPr>
          <p:cNvSpPr>
            <a:spLocks noGrp="1"/>
          </p:cNvSpPr>
          <p:nvPr>
            <p:ph sz="half" idx="2"/>
          </p:nvPr>
        </p:nvSpPr>
        <p:spPr>
          <a:xfrm>
            <a:off x="521208" y="1774800"/>
            <a:ext cx="3558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2" name="Subtitle">
            <a:extLst>
              <a:ext uri="{FF2B5EF4-FFF2-40B4-BE49-F238E27FC236}">
                <a16:creationId xmlns:a16="http://schemas.microsoft.com/office/drawing/2014/main" id="{39FFDA01-0E69-8576-CD87-D86B699F6292}"/>
              </a:ext>
            </a:extLst>
          </p:cNvPr>
          <p:cNvSpPr>
            <a:spLocks noGrp="1"/>
          </p:cNvSpPr>
          <p:nvPr>
            <p:ph type="body" sz="quarter" idx="21" hasCustomPrompt="1"/>
          </p:nvPr>
        </p:nvSpPr>
        <p:spPr>
          <a:xfrm>
            <a:off x="4316604" y="1414800"/>
            <a:ext cx="3558792" cy="324000"/>
          </a:xfrm>
          <a:prstGeom prst="rect">
            <a:avLst/>
          </a:prstGeom>
        </p:spPr>
        <p:txBody>
          <a:bodyPr>
            <a:noAutofit/>
          </a:bodyPr>
          <a:lstStyle>
            <a:lvl1pPr>
              <a:defRPr sz="2000" b="0" i="0">
                <a:latin typeface="+mj-lt"/>
              </a:defRPr>
            </a:lvl1pPr>
          </a:lstStyle>
          <a:p>
            <a:pPr lvl="0"/>
            <a:r>
              <a:rPr lang="en-US"/>
              <a:t>Click to edit subheading</a:t>
            </a:r>
          </a:p>
        </p:txBody>
      </p:sp>
      <p:sp>
        <p:nvSpPr>
          <p:cNvPr id="13" name="Content Placeholder 1">
            <a:extLst>
              <a:ext uri="{FF2B5EF4-FFF2-40B4-BE49-F238E27FC236}">
                <a16:creationId xmlns:a16="http://schemas.microsoft.com/office/drawing/2014/main" id="{3328F5CA-269A-6C71-507E-693AFE3DA788}"/>
              </a:ext>
            </a:extLst>
          </p:cNvPr>
          <p:cNvSpPr>
            <a:spLocks noGrp="1"/>
          </p:cNvSpPr>
          <p:nvPr>
            <p:ph sz="half" idx="22"/>
          </p:nvPr>
        </p:nvSpPr>
        <p:spPr>
          <a:xfrm>
            <a:off x="4316604" y="1774800"/>
            <a:ext cx="3558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9" name="Subtitle 3">
            <a:extLst>
              <a:ext uri="{FF2B5EF4-FFF2-40B4-BE49-F238E27FC236}">
                <a16:creationId xmlns:a16="http://schemas.microsoft.com/office/drawing/2014/main" id="{A69FC165-B2C3-B2DC-96A0-A5120B0459F6}"/>
              </a:ext>
            </a:extLst>
          </p:cNvPr>
          <p:cNvSpPr>
            <a:spLocks noGrp="1"/>
          </p:cNvSpPr>
          <p:nvPr>
            <p:ph type="body" sz="quarter" idx="19" hasCustomPrompt="1"/>
          </p:nvPr>
        </p:nvSpPr>
        <p:spPr>
          <a:xfrm>
            <a:off x="8112000" y="1414800"/>
            <a:ext cx="3558788" cy="324000"/>
          </a:xfrm>
          <a:prstGeom prst="rect">
            <a:avLst/>
          </a:prstGeom>
        </p:spPr>
        <p:txBody>
          <a:bodyPr>
            <a:noAutofit/>
          </a:bodyPr>
          <a:lstStyle>
            <a:lvl1pPr>
              <a:defRPr sz="2000" b="0" i="0">
                <a:latin typeface="+mj-lt"/>
              </a:defRPr>
            </a:lvl1pPr>
          </a:lstStyle>
          <a:p>
            <a:pPr lvl="0"/>
            <a:r>
              <a:rPr lang="en-US"/>
              <a:t>Click to edit subheading</a:t>
            </a:r>
          </a:p>
        </p:txBody>
      </p:sp>
      <p:sp>
        <p:nvSpPr>
          <p:cNvPr id="18" name="Content Placeholder 3">
            <a:extLst>
              <a:ext uri="{FF2B5EF4-FFF2-40B4-BE49-F238E27FC236}">
                <a16:creationId xmlns:a16="http://schemas.microsoft.com/office/drawing/2014/main" id="{11C4BD18-7B3B-2848-2565-0B55EC5215D7}"/>
              </a:ext>
            </a:extLst>
          </p:cNvPr>
          <p:cNvSpPr>
            <a:spLocks noGrp="1"/>
          </p:cNvSpPr>
          <p:nvPr>
            <p:ph sz="half" idx="18"/>
          </p:nvPr>
        </p:nvSpPr>
        <p:spPr>
          <a:xfrm>
            <a:off x="8112000" y="1774800"/>
            <a:ext cx="3558788"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3" name="Slide Number Placeholder 2">
            <a:extLst>
              <a:ext uri="{FF2B5EF4-FFF2-40B4-BE49-F238E27FC236}">
                <a16:creationId xmlns:a16="http://schemas.microsoft.com/office/drawing/2014/main" id="{1A9B4F56-3A67-F5E4-3A03-9374FF5C3EC7}"/>
              </a:ext>
              <a:ext uri="{C183D7F6-B498-43B3-948B-1728B52AA6E4}">
                <adec:decorative xmlns:adec="http://schemas.microsoft.com/office/drawing/2017/decorative" val="1"/>
              </a:ext>
            </a:extLst>
          </p:cNvPr>
          <p:cNvSpPr>
            <a:spLocks noGrp="1"/>
          </p:cNvSpPr>
          <p:nvPr>
            <p:ph type="sldNum" sz="quarter" idx="20"/>
          </p:nvPr>
        </p:nvSpPr>
        <p:spPr/>
        <p:txBody>
          <a:bodyPr/>
          <a:lstStyle/>
          <a:p>
            <a:fld id="{1C1606C5-D483-4832-A0E9-CF578A9B5883}" type="slidenum">
              <a:rPr lang="en-US" smtClean="0"/>
              <a:pPr/>
              <a:t>‹#›</a:t>
            </a:fld>
            <a:endParaRPr lang="en-US"/>
          </a:p>
        </p:txBody>
      </p:sp>
      <p:sp>
        <p:nvSpPr>
          <p:cNvPr id="14" name="footnotes">
            <a:extLst>
              <a:ext uri="{FF2B5EF4-FFF2-40B4-BE49-F238E27FC236}">
                <a16:creationId xmlns:a16="http://schemas.microsoft.com/office/drawing/2014/main" id="{09BE6085-9D26-BA47-BFD6-469253ED76C9}"/>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6" name="Text Placeholder 7">
            <a:extLst>
              <a:ext uri="{FF2B5EF4-FFF2-40B4-BE49-F238E27FC236}">
                <a16:creationId xmlns:a16="http://schemas.microsoft.com/office/drawing/2014/main" id="{607CC471-599B-8D45-AB66-35DAE40CABE1}"/>
              </a:ext>
            </a:extLst>
          </p:cNvPr>
          <p:cNvSpPr>
            <a:spLocks noGrp="1"/>
          </p:cNvSpPr>
          <p:nvPr>
            <p:ph type="body" sz="quarter" idx="23"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525637137"/>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4 Content">
    <p:spTree>
      <p:nvGrpSpPr>
        <p:cNvPr id="1" name=""/>
        <p:cNvGrpSpPr/>
        <p:nvPr/>
      </p:nvGrpSpPr>
      <p:grpSpPr>
        <a:xfrm>
          <a:off x="0" y="0"/>
          <a:ext cx="0" cy="0"/>
          <a:chOff x="0" y="0"/>
          <a:chExt cx="0" cy="0"/>
        </a:xfrm>
      </p:grpSpPr>
      <p:graphicFrame>
        <p:nvGraphicFramePr>
          <p:cNvPr id="90" name="think-cell data - do not delete">
            <a:extLst>
              <a:ext uri="{FF2B5EF4-FFF2-40B4-BE49-F238E27FC236}">
                <a16:creationId xmlns:a16="http://schemas.microsoft.com/office/drawing/2014/main" id="{E8818429-C388-B7D5-0265-DF9D9C1030A5}"/>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973229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0" name="think-cell data - do not delete">
                        <a:extLst>
                          <a:ext uri="{FF2B5EF4-FFF2-40B4-BE49-F238E27FC236}">
                            <a16:creationId xmlns:a16="http://schemas.microsoft.com/office/drawing/2014/main" id="{E8818429-C388-B7D5-0265-DF9D9C1030A5}"/>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63CAB56-8C0D-6EB5-24F2-15D7836AA6CA}"/>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7B97EE82-108F-E33E-FCA1-952163EFB126}"/>
              </a:ext>
            </a:extLst>
          </p:cNvPr>
          <p:cNvSpPr>
            <a:spLocks noGrp="1"/>
          </p:cNvSpPr>
          <p:nvPr>
            <p:ph sz="half" idx="1"/>
          </p:nvPr>
        </p:nvSpPr>
        <p:spPr>
          <a:xfrm>
            <a:off x="521208" y="1414800"/>
            <a:ext cx="2406792" cy="463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Content Placeholder 2">
            <a:extLst>
              <a:ext uri="{FF2B5EF4-FFF2-40B4-BE49-F238E27FC236}">
                <a16:creationId xmlns:a16="http://schemas.microsoft.com/office/drawing/2014/main" id="{598B8EEC-2600-FB10-64B6-A466BF1E8D61}"/>
              </a:ext>
            </a:extLst>
          </p:cNvPr>
          <p:cNvSpPr>
            <a:spLocks noGrp="1"/>
          </p:cNvSpPr>
          <p:nvPr>
            <p:ph sz="half" idx="19"/>
          </p:nvPr>
        </p:nvSpPr>
        <p:spPr>
          <a:xfrm>
            <a:off x="3435471" y="1414800"/>
            <a:ext cx="2406792" cy="463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8" name="Content Placeholder 2">
            <a:extLst>
              <a:ext uri="{FF2B5EF4-FFF2-40B4-BE49-F238E27FC236}">
                <a16:creationId xmlns:a16="http://schemas.microsoft.com/office/drawing/2014/main" id="{30512B79-985C-F042-7532-B1D9285E9475}"/>
              </a:ext>
            </a:extLst>
          </p:cNvPr>
          <p:cNvSpPr>
            <a:spLocks noGrp="1"/>
          </p:cNvSpPr>
          <p:nvPr>
            <p:ph sz="half" idx="20"/>
          </p:nvPr>
        </p:nvSpPr>
        <p:spPr>
          <a:xfrm>
            <a:off x="6349734" y="1414800"/>
            <a:ext cx="2406792" cy="463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0" name="Content Placeholder 2">
            <a:extLst>
              <a:ext uri="{FF2B5EF4-FFF2-40B4-BE49-F238E27FC236}">
                <a16:creationId xmlns:a16="http://schemas.microsoft.com/office/drawing/2014/main" id="{FF977E2B-938E-4B5F-EA0C-48A3D503D579}"/>
              </a:ext>
            </a:extLst>
          </p:cNvPr>
          <p:cNvSpPr>
            <a:spLocks noGrp="1"/>
          </p:cNvSpPr>
          <p:nvPr>
            <p:ph sz="half" idx="21"/>
          </p:nvPr>
        </p:nvSpPr>
        <p:spPr>
          <a:xfrm>
            <a:off x="9263996" y="1414800"/>
            <a:ext cx="2406792" cy="463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6">
            <a:extLst>
              <a:ext uri="{FF2B5EF4-FFF2-40B4-BE49-F238E27FC236}">
                <a16:creationId xmlns:a16="http://schemas.microsoft.com/office/drawing/2014/main" id="{4CC0A89E-E2C9-833D-7637-2B5BF99642BA}"/>
              </a:ext>
              <a:ext uri="{C183D7F6-B498-43B3-948B-1728B52AA6E4}">
                <adec:decorative xmlns:adec="http://schemas.microsoft.com/office/drawing/2017/decorative" val="1"/>
              </a:ext>
            </a:extLst>
          </p:cNvPr>
          <p:cNvSpPr>
            <a:spLocks noGrp="1"/>
          </p:cNvSpPr>
          <p:nvPr>
            <p:ph type="sldNum" sz="quarter" idx="18"/>
          </p:nvPr>
        </p:nvSpPr>
        <p:spPr/>
        <p:txBody>
          <a:bodyPr/>
          <a:lstStyle/>
          <a:p>
            <a:fld id="{1C1606C5-D483-4832-A0E9-CF578A9B5883}" type="slidenum">
              <a:rPr lang="en-US" smtClean="0"/>
              <a:pPr/>
              <a:t>‹#›</a:t>
            </a:fld>
            <a:endParaRPr lang="en-US"/>
          </a:p>
        </p:txBody>
      </p:sp>
      <p:sp>
        <p:nvSpPr>
          <p:cNvPr id="11" name="footnotes">
            <a:extLst>
              <a:ext uri="{FF2B5EF4-FFF2-40B4-BE49-F238E27FC236}">
                <a16:creationId xmlns:a16="http://schemas.microsoft.com/office/drawing/2014/main" id="{B1A8F75E-3D4F-224D-A547-786175CF51C9}"/>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2" name="Text Placeholder 7">
            <a:extLst>
              <a:ext uri="{FF2B5EF4-FFF2-40B4-BE49-F238E27FC236}">
                <a16:creationId xmlns:a16="http://schemas.microsoft.com/office/drawing/2014/main" id="{1B515B9B-71CE-2240-9E8D-03B9AC4E8784}"/>
              </a:ext>
            </a:extLst>
          </p:cNvPr>
          <p:cNvSpPr>
            <a:spLocks noGrp="1"/>
          </p:cNvSpPr>
          <p:nvPr>
            <p:ph type="body" sz="quarter" idx="22"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988532479"/>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ubtitle, 4 Content">
    <p:spTree>
      <p:nvGrpSpPr>
        <p:cNvPr id="1" name=""/>
        <p:cNvGrpSpPr/>
        <p:nvPr/>
      </p:nvGrpSpPr>
      <p:grpSpPr>
        <a:xfrm>
          <a:off x="0" y="0"/>
          <a:ext cx="0" cy="0"/>
          <a:chOff x="0" y="0"/>
          <a:chExt cx="0" cy="0"/>
        </a:xfrm>
      </p:grpSpPr>
      <p:graphicFrame>
        <p:nvGraphicFramePr>
          <p:cNvPr id="13" name="think-cell data - do not delete">
            <a:extLst>
              <a:ext uri="{FF2B5EF4-FFF2-40B4-BE49-F238E27FC236}">
                <a16:creationId xmlns:a16="http://schemas.microsoft.com/office/drawing/2014/main" id="{11E6F775-1596-5E4A-C305-9630A2C28693}"/>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30465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think-cell data - do not delete">
                        <a:extLst>
                          <a:ext uri="{FF2B5EF4-FFF2-40B4-BE49-F238E27FC236}">
                            <a16:creationId xmlns:a16="http://schemas.microsoft.com/office/drawing/2014/main" id="{11E6F775-1596-5E4A-C305-9630A2C28693}"/>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BD543664-2D88-0164-4F63-BE9A4EE685CB}"/>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5" name="Subtitle 2">
            <a:extLst>
              <a:ext uri="{FF2B5EF4-FFF2-40B4-BE49-F238E27FC236}">
                <a16:creationId xmlns:a16="http://schemas.microsoft.com/office/drawing/2014/main" id="{8B0B60B6-D395-4EF1-4297-0B77BCD92F8A}"/>
              </a:ext>
            </a:extLst>
          </p:cNvPr>
          <p:cNvSpPr>
            <a:spLocks noGrp="1"/>
          </p:cNvSpPr>
          <p:nvPr>
            <p:ph type="body" sz="quarter" idx="16" hasCustomPrompt="1"/>
          </p:nvPr>
        </p:nvSpPr>
        <p:spPr>
          <a:xfrm>
            <a:off x="521208" y="1270518"/>
            <a:ext cx="11149580"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3" name="Content Placeholder 2">
            <a:extLst>
              <a:ext uri="{FF2B5EF4-FFF2-40B4-BE49-F238E27FC236}">
                <a16:creationId xmlns:a16="http://schemas.microsoft.com/office/drawing/2014/main" id="{7B97EE82-108F-E33E-FCA1-952163EFB126}"/>
              </a:ext>
            </a:extLst>
          </p:cNvPr>
          <p:cNvSpPr>
            <a:spLocks noGrp="1"/>
          </p:cNvSpPr>
          <p:nvPr>
            <p:ph sz="half" idx="1"/>
          </p:nvPr>
        </p:nvSpPr>
        <p:spPr>
          <a:xfrm>
            <a:off x="521208" y="1774800"/>
            <a:ext cx="240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 name="Content Placeholder 2">
            <a:extLst>
              <a:ext uri="{FF2B5EF4-FFF2-40B4-BE49-F238E27FC236}">
                <a16:creationId xmlns:a16="http://schemas.microsoft.com/office/drawing/2014/main" id="{0DAB10E2-0651-E701-13EA-507B41DA05DB}"/>
              </a:ext>
            </a:extLst>
          </p:cNvPr>
          <p:cNvSpPr>
            <a:spLocks noGrp="1"/>
          </p:cNvSpPr>
          <p:nvPr>
            <p:ph sz="half" idx="19"/>
          </p:nvPr>
        </p:nvSpPr>
        <p:spPr>
          <a:xfrm>
            <a:off x="3435471" y="1774800"/>
            <a:ext cx="240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Content Placeholder 2">
            <a:extLst>
              <a:ext uri="{FF2B5EF4-FFF2-40B4-BE49-F238E27FC236}">
                <a16:creationId xmlns:a16="http://schemas.microsoft.com/office/drawing/2014/main" id="{2CD7B81C-2B3B-07A0-9F4C-7BE942EEF786}"/>
              </a:ext>
            </a:extLst>
          </p:cNvPr>
          <p:cNvSpPr>
            <a:spLocks noGrp="1"/>
          </p:cNvSpPr>
          <p:nvPr>
            <p:ph sz="half" idx="20"/>
          </p:nvPr>
        </p:nvSpPr>
        <p:spPr>
          <a:xfrm>
            <a:off x="6349734" y="1774800"/>
            <a:ext cx="240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2" name="Content Placeholder 2">
            <a:extLst>
              <a:ext uri="{FF2B5EF4-FFF2-40B4-BE49-F238E27FC236}">
                <a16:creationId xmlns:a16="http://schemas.microsoft.com/office/drawing/2014/main" id="{E50460C7-3EA9-9230-939B-C7B528491EFE}"/>
              </a:ext>
            </a:extLst>
          </p:cNvPr>
          <p:cNvSpPr>
            <a:spLocks noGrp="1"/>
          </p:cNvSpPr>
          <p:nvPr>
            <p:ph sz="half" idx="21"/>
          </p:nvPr>
        </p:nvSpPr>
        <p:spPr>
          <a:xfrm>
            <a:off x="9263996" y="1774800"/>
            <a:ext cx="240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9" name="Slide Number Placeholder 8">
            <a:extLst>
              <a:ext uri="{FF2B5EF4-FFF2-40B4-BE49-F238E27FC236}">
                <a16:creationId xmlns:a16="http://schemas.microsoft.com/office/drawing/2014/main" id="{2EBA96EF-9513-2878-46AE-5A9AC62EE7BD}"/>
              </a:ext>
              <a:ext uri="{C183D7F6-B498-43B3-948B-1728B52AA6E4}">
                <adec:decorative xmlns:adec="http://schemas.microsoft.com/office/drawing/2017/decorative" val="1"/>
              </a:ext>
            </a:extLst>
          </p:cNvPr>
          <p:cNvSpPr>
            <a:spLocks noGrp="1"/>
          </p:cNvSpPr>
          <p:nvPr>
            <p:ph type="sldNum" sz="quarter" idx="18"/>
          </p:nvPr>
        </p:nvSpPr>
        <p:spPr/>
        <p:txBody>
          <a:bodyPr/>
          <a:lstStyle/>
          <a:p>
            <a:fld id="{1C1606C5-D483-4832-A0E9-CF578A9B5883}" type="slidenum">
              <a:rPr lang="en-US" smtClean="0"/>
              <a:pPr/>
              <a:t>‹#›</a:t>
            </a:fld>
            <a:endParaRPr lang="en-US"/>
          </a:p>
        </p:txBody>
      </p:sp>
      <p:sp>
        <p:nvSpPr>
          <p:cNvPr id="14" name="footnotes">
            <a:extLst>
              <a:ext uri="{FF2B5EF4-FFF2-40B4-BE49-F238E27FC236}">
                <a16:creationId xmlns:a16="http://schemas.microsoft.com/office/drawing/2014/main" id="{AA65F018-9816-6544-9A49-A481EB3A43D3}"/>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5" name="Text Placeholder 7">
            <a:extLst>
              <a:ext uri="{FF2B5EF4-FFF2-40B4-BE49-F238E27FC236}">
                <a16:creationId xmlns:a16="http://schemas.microsoft.com/office/drawing/2014/main" id="{B1218376-9936-AF4A-88E8-523B8FD399A9}"/>
              </a:ext>
            </a:extLst>
          </p:cNvPr>
          <p:cNvSpPr>
            <a:spLocks noGrp="1"/>
          </p:cNvSpPr>
          <p:nvPr>
            <p:ph type="body" sz="quarter" idx="22"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785912731"/>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4 Subheading, 4 Content">
    <p:spTree>
      <p:nvGrpSpPr>
        <p:cNvPr id="1" name=""/>
        <p:cNvGrpSpPr/>
        <p:nvPr/>
      </p:nvGrpSpPr>
      <p:grpSpPr>
        <a:xfrm>
          <a:off x="0" y="0"/>
          <a:ext cx="0" cy="0"/>
          <a:chOff x="0" y="0"/>
          <a:chExt cx="0" cy="0"/>
        </a:xfrm>
      </p:grpSpPr>
      <p:graphicFrame>
        <p:nvGraphicFramePr>
          <p:cNvPr id="10" name="think-cell data - do not delete">
            <a:extLst>
              <a:ext uri="{FF2B5EF4-FFF2-40B4-BE49-F238E27FC236}">
                <a16:creationId xmlns:a16="http://schemas.microsoft.com/office/drawing/2014/main" id="{A16CC507-302A-E9C0-6D9D-973A97B4D1EE}"/>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772431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0" name="think-cell data - do not delete">
                        <a:extLst>
                          <a:ext uri="{FF2B5EF4-FFF2-40B4-BE49-F238E27FC236}">
                            <a16:creationId xmlns:a16="http://schemas.microsoft.com/office/drawing/2014/main" id="{A16CC507-302A-E9C0-6D9D-973A97B4D1EE}"/>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Title 21">
            <a:extLst>
              <a:ext uri="{FF2B5EF4-FFF2-40B4-BE49-F238E27FC236}">
                <a16:creationId xmlns:a16="http://schemas.microsoft.com/office/drawing/2014/main" id="{75E58743-AE22-3B0A-5EC6-6D8FA6A1286F}"/>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15" name="Subtitle">
            <a:extLst>
              <a:ext uri="{FF2B5EF4-FFF2-40B4-BE49-F238E27FC236}">
                <a16:creationId xmlns:a16="http://schemas.microsoft.com/office/drawing/2014/main" id="{62823D89-483C-2ECD-F2D1-73981BD2E4EA}"/>
              </a:ext>
            </a:extLst>
          </p:cNvPr>
          <p:cNvSpPr>
            <a:spLocks noGrp="1"/>
          </p:cNvSpPr>
          <p:nvPr>
            <p:ph type="body" sz="quarter" idx="13" hasCustomPrompt="1"/>
          </p:nvPr>
        </p:nvSpPr>
        <p:spPr>
          <a:xfrm>
            <a:off x="521208" y="1414800"/>
            <a:ext cx="2406792" cy="324000"/>
          </a:xfrm>
          <a:prstGeom prst="rect">
            <a:avLst/>
          </a:prstGeom>
        </p:spPr>
        <p:txBody>
          <a:bodyPr>
            <a:noAutofit/>
          </a:bodyPr>
          <a:lstStyle>
            <a:lvl1pPr>
              <a:defRPr sz="2000" b="0" i="0">
                <a:latin typeface="+mj-lt"/>
              </a:defRPr>
            </a:lvl1pPr>
          </a:lstStyle>
          <a:p>
            <a:pPr lvl="0"/>
            <a:r>
              <a:rPr lang="en-US"/>
              <a:t>Edit subheading</a:t>
            </a:r>
          </a:p>
        </p:txBody>
      </p:sp>
      <p:sp>
        <p:nvSpPr>
          <p:cNvPr id="6" name="Content Placeholder 1">
            <a:extLst>
              <a:ext uri="{FF2B5EF4-FFF2-40B4-BE49-F238E27FC236}">
                <a16:creationId xmlns:a16="http://schemas.microsoft.com/office/drawing/2014/main" id="{F75B33A8-FAA2-0133-6BCA-F44F83E6176F}"/>
              </a:ext>
            </a:extLst>
          </p:cNvPr>
          <p:cNvSpPr>
            <a:spLocks noGrp="1"/>
          </p:cNvSpPr>
          <p:nvPr>
            <p:ph sz="half" idx="2"/>
          </p:nvPr>
        </p:nvSpPr>
        <p:spPr>
          <a:xfrm>
            <a:off x="521208" y="1774800"/>
            <a:ext cx="240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3" name="Subtitle">
            <a:extLst>
              <a:ext uri="{FF2B5EF4-FFF2-40B4-BE49-F238E27FC236}">
                <a16:creationId xmlns:a16="http://schemas.microsoft.com/office/drawing/2014/main" id="{402D1A02-0EB3-1BCB-C072-BF7CBE0C80EE}"/>
              </a:ext>
            </a:extLst>
          </p:cNvPr>
          <p:cNvSpPr>
            <a:spLocks noGrp="1"/>
          </p:cNvSpPr>
          <p:nvPr>
            <p:ph type="body" sz="quarter" idx="23" hasCustomPrompt="1"/>
          </p:nvPr>
        </p:nvSpPr>
        <p:spPr>
          <a:xfrm>
            <a:off x="3435472" y="1414800"/>
            <a:ext cx="2406792" cy="324000"/>
          </a:xfrm>
          <a:prstGeom prst="rect">
            <a:avLst/>
          </a:prstGeom>
        </p:spPr>
        <p:txBody>
          <a:bodyPr>
            <a:noAutofit/>
          </a:bodyPr>
          <a:lstStyle>
            <a:lvl1pPr>
              <a:defRPr sz="2000" b="0" i="0">
                <a:latin typeface="+mj-lt"/>
              </a:defRPr>
            </a:lvl1pPr>
          </a:lstStyle>
          <a:p>
            <a:pPr lvl="0"/>
            <a:r>
              <a:rPr lang="en-US"/>
              <a:t>Edit subheading</a:t>
            </a:r>
          </a:p>
        </p:txBody>
      </p:sp>
      <p:sp>
        <p:nvSpPr>
          <p:cNvPr id="11" name="Content Placeholder 1">
            <a:extLst>
              <a:ext uri="{FF2B5EF4-FFF2-40B4-BE49-F238E27FC236}">
                <a16:creationId xmlns:a16="http://schemas.microsoft.com/office/drawing/2014/main" id="{AD0199E7-31A8-43A7-5609-E4969FFCF644}"/>
              </a:ext>
            </a:extLst>
          </p:cNvPr>
          <p:cNvSpPr>
            <a:spLocks noGrp="1"/>
          </p:cNvSpPr>
          <p:nvPr>
            <p:ph sz="half" idx="26"/>
          </p:nvPr>
        </p:nvSpPr>
        <p:spPr>
          <a:xfrm>
            <a:off x="3435471" y="1774800"/>
            <a:ext cx="240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0" name="Subtitle">
            <a:extLst>
              <a:ext uri="{FF2B5EF4-FFF2-40B4-BE49-F238E27FC236}">
                <a16:creationId xmlns:a16="http://schemas.microsoft.com/office/drawing/2014/main" id="{2B252453-CF4A-3C5D-04E6-C7FFB1426E85}"/>
              </a:ext>
            </a:extLst>
          </p:cNvPr>
          <p:cNvSpPr>
            <a:spLocks noGrp="1"/>
          </p:cNvSpPr>
          <p:nvPr>
            <p:ph type="body" sz="quarter" idx="25" hasCustomPrompt="1"/>
          </p:nvPr>
        </p:nvSpPr>
        <p:spPr>
          <a:xfrm>
            <a:off x="6349736" y="1414800"/>
            <a:ext cx="2406792" cy="324000"/>
          </a:xfrm>
          <a:prstGeom prst="rect">
            <a:avLst/>
          </a:prstGeom>
        </p:spPr>
        <p:txBody>
          <a:bodyPr>
            <a:noAutofit/>
          </a:bodyPr>
          <a:lstStyle>
            <a:lvl1pPr>
              <a:defRPr sz="2000" b="0" i="0">
                <a:latin typeface="+mj-lt"/>
              </a:defRPr>
            </a:lvl1pPr>
          </a:lstStyle>
          <a:p>
            <a:pPr lvl="0"/>
            <a:r>
              <a:rPr lang="en-US"/>
              <a:t>Edit subheading</a:t>
            </a:r>
          </a:p>
        </p:txBody>
      </p:sp>
      <p:sp>
        <p:nvSpPr>
          <p:cNvPr id="12" name="Content Placeholder 1">
            <a:extLst>
              <a:ext uri="{FF2B5EF4-FFF2-40B4-BE49-F238E27FC236}">
                <a16:creationId xmlns:a16="http://schemas.microsoft.com/office/drawing/2014/main" id="{C1073322-FA58-0038-DC13-A4D257C917DD}"/>
              </a:ext>
            </a:extLst>
          </p:cNvPr>
          <p:cNvSpPr>
            <a:spLocks noGrp="1"/>
          </p:cNvSpPr>
          <p:nvPr>
            <p:ph sz="half" idx="27"/>
          </p:nvPr>
        </p:nvSpPr>
        <p:spPr>
          <a:xfrm>
            <a:off x="6349734" y="1774800"/>
            <a:ext cx="240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3" name="Subtitle 4">
            <a:extLst>
              <a:ext uri="{FF2B5EF4-FFF2-40B4-BE49-F238E27FC236}">
                <a16:creationId xmlns:a16="http://schemas.microsoft.com/office/drawing/2014/main" id="{121FB801-4E2A-ABDF-3254-442CE3D890DA}"/>
              </a:ext>
            </a:extLst>
          </p:cNvPr>
          <p:cNvSpPr>
            <a:spLocks noGrp="1"/>
          </p:cNvSpPr>
          <p:nvPr>
            <p:ph type="body" sz="quarter" idx="21" hasCustomPrompt="1"/>
          </p:nvPr>
        </p:nvSpPr>
        <p:spPr>
          <a:xfrm>
            <a:off x="9264000" y="1414800"/>
            <a:ext cx="2406788" cy="324000"/>
          </a:xfrm>
          <a:prstGeom prst="rect">
            <a:avLst/>
          </a:prstGeom>
        </p:spPr>
        <p:txBody>
          <a:bodyPr>
            <a:noAutofit/>
          </a:bodyPr>
          <a:lstStyle>
            <a:lvl1pPr>
              <a:defRPr sz="2000" b="0" i="0">
                <a:latin typeface="+mj-lt"/>
              </a:defRPr>
            </a:lvl1pPr>
          </a:lstStyle>
          <a:p>
            <a:pPr lvl="0"/>
            <a:r>
              <a:rPr lang="en-US"/>
              <a:t>Edit subheading</a:t>
            </a:r>
          </a:p>
        </p:txBody>
      </p:sp>
      <p:sp>
        <p:nvSpPr>
          <p:cNvPr id="16" name="Content Placeholder 1">
            <a:extLst>
              <a:ext uri="{FF2B5EF4-FFF2-40B4-BE49-F238E27FC236}">
                <a16:creationId xmlns:a16="http://schemas.microsoft.com/office/drawing/2014/main" id="{939B9045-B86F-B46C-C427-31068748426F}"/>
              </a:ext>
            </a:extLst>
          </p:cNvPr>
          <p:cNvSpPr>
            <a:spLocks noGrp="1"/>
          </p:cNvSpPr>
          <p:nvPr>
            <p:ph sz="half" idx="28"/>
          </p:nvPr>
        </p:nvSpPr>
        <p:spPr>
          <a:xfrm>
            <a:off x="9263996" y="1774800"/>
            <a:ext cx="240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8" name="Slide Number Placeholder 7">
            <a:extLst>
              <a:ext uri="{FF2B5EF4-FFF2-40B4-BE49-F238E27FC236}">
                <a16:creationId xmlns:a16="http://schemas.microsoft.com/office/drawing/2014/main" id="{18F17C0F-5720-1671-F62E-824A83BCC3F9}"/>
              </a:ext>
              <a:ext uri="{C183D7F6-B498-43B3-948B-1728B52AA6E4}">
                <adec:decorative xmlns:adec="http://schemas.microsoft.com/office/drawing/2017/decorative" val="1"/>
              </a:ext>
            </a:extLst>
          </p:cNvPr>
          <p:cNvSpPr>
            <a:spLocks noGrp="1"/>
          </p:cNvSpPr>
          <p:nvPr>
            <p:ph type="sldNum" sz="quarter" idx="22"/>
          </p:nvPr>
        </p:nvSpPr>
        <p:spPr/>
        <p:txBody>
          <a:bodyPr/>
          <a:lstStyle/>
          <a:p>
            <a:fld id="{1C1606C5-D483-4832-A0E9-CF578A9B5883}" type="slidenum">
              <a:rPr lang="en-US" smtClean="0"/>
              <a:pPr/>
              <a:t>‹#›</a:t>
            </a:fld>
            <a:endParaRPr lang="en-US"/>
          </a:p>
        </p:txBody>
      </p:sp>
      <p:sp>
        <p:nvSpPr>
          <p:cNvPr id="17" name="footnotes">
            <a:extLst>
              <a:ext uri="{FF2B5EF4-FFF2-40B4-BE49-F238E27FC236}">
                <a16:creationId xmlns:a16="http://schemas.microsoft.com/office/drawing/2014/main" id="{6A89747A-1497-1943-9941-F7788CE87EB0}"/>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8" name="Text Placeholder 7">
            <a:extLst>
              <a:ext uri="{FF2B5EF4-FFF2-40B4-BE49-F238E27FC236}">
                <a16:creationId xmlns:a16="http://schemas.microsoft.com/office/drawing/2014/main" id="{66348257-508F-C748-8FA7-28B9C722B2CB}"/>
              </a:ext>
            </a:extLst>
          </p:cNvPr>
          <p:cNvSpPr>
            <a:spLocks noGrp="1"/>
          </p:cNvSpPr>
          <p:nvPr>
            <p:ph type="body" sz="quarter" idx="18"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544225841"/>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2 Content - Left Callout">
    <p:spTree>
      <p:nvGrpSpPr>
        <p:cNvPr id="1" name=""/>
        <p:cNvGrpSpPr/>
        <p:nvPr/>
      </p:nvGrpSpPr>
      <p:grpSpPr>
        <a:xfrm>
          <a:off x="0" y="0"/>
          <a:ext cx="0" cy="0"/>
          <a:chOff x="0" y="0"/>
          <a:chExt cx="0" cy="0"/>
        </a:xfrm>
      </p:grpSpPr>
      <p:graphicFrame>
        <p:nvGraphicFramePr>
          <p:cNvPr id="7" name="think-cell data - do not delete">
            <a:extLst>
              <a:ext uri="{FF2B5EF4-FFF2-40B4-BE49-F238E27FC236}">
                <a16:creationId xmlns:a16="http://schemas.microsoft.com/office/drawing/2014/main" id="{227FEF2E-9950-51E4-68D8-5653B8A7658C}"/>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37845713"/>
              </p:ext>
            </p:extLst>
          </p:nvPr>
        </p:nvGraphicFramePr>
        <p:xfrm>
          <a:off x="153988" y="1539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7" name="think-cell data - do not delete">
                        <a:extLst>
                          <a:ext uri="{FF2B5EF4-FFF2-40B4-BE49-F238E27FC236}">
                            <a16:creationId xmlns:a16="http://schemas.microsoft.com/office/drawing/2014/main" id="{227FEF2E-9950-51E4-68D8-5653B8A7658C}"/>
                          </a:ext>
                          <a:ext uri="{C183D7F6-B498-43B3-948B-1728B52AA6E4}">
                            <adec:decorative xmlns:adec="http://schemas.microsoft.com/office/drawing/2017/decorative" val="1"/>
                          </a:ext>
                        </a:extLst>
                      </p:cNvPr>
                      <p:cNvPicPr/>
                      <p:nvPr/>
                    </p:nvPicPr>
                    <p:blipFill>
                      <a:blip r:embed="rId5"/>
                      <a:stretch>
                        <a:fillRect/>
                      </a:stretch>
                    </p:blipFill>
                    <p:spPr>
                      <a:xfrm>
                        <a:off x="153988" y="1539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A90613D0-1E0E-702F-477E-E261662BB46B}"/>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graphicFrame>
        <p:nvGraphicFramePr>
          <p:cNvPr id="2" name="think-cell data - do not delete">
            <a:extLst>
              <a:ext uri="{FF2B5EF4-FFF2-40B4-BE49-F238E27FC236}">
                <a16:creationId xmlns:a16="http://schemas.microsoft.com/office/drawing/2014/main" id="{FA771B91-D0D3-CAB7-66C7-896AFA6E3B2A}"/>
              </a:ext>
              <a:ext uri="{C183D7F6-B498-43B3-948B-1728B52AA6E4}">
                <adec:decorative xmlns:adec="http://schemas.microsoft.com/office/drawing/2017/decorative" val="1"/>
              </a:ext>
            </a:extLst>
          </p:cNvPr>
          <p:cNvGraphicFramePr>
            <a:graphicFrameLocks noChangeAspect="1"/>
          </p:cNvGraphicFramePr>
          <p:nvPr userDrawn="1">
            <p:custDataLst>
              <p:tags r:id="rId2"/>
            </p:custDataLst>
            <p:extLst>
              <p:ext uri="{D42A27DB-BD31-4B8C-83A1-F6EECF244321}">
                <p14:modId xmlns:p14="http://schemas.microsoft.com/office/powerpoint/2010/main" val="337845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2" name="think-cell data - do not delete">
                        <a:extLst>
                          <a:ext uri="{FF2B5EF4-FFF2-40B4-BE49-F238E27FC236}">
                            <a16:creationId xmlns:a16="http://schemas.microsoft.com/office/drawing/2014/main" id="{FA771B91-D0D3-CAB7-66C7-896AFA6E3B2A}"/>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2">
            <a:extLst>
              <a:ext uri="{FF2B5EF4-FFF2-40B4-BE49-F238E27FC236}">
                <a16:creationId xmlns:a16="http://schemas.microsoft.com/office/drawing/2014/main" id="{43D2CC6A-3B0B-B5CF-9B23-ED6BB3DB97D2}"/>
              </a:ext>
            </a:extLst>
          </p:cNvPr>
          <p:cNvSpPr>
            <a:spLocks noGrp="1"/>
          </p:cNvSpPr>
          <p:nvPr>
            <p:ph sz="half" idx="1"/>
          </p:nvPr>
        </p:nvSpPr>
        <p:spPr>
          <a:xfrm>
            <a:off x="521208" y="1414800"/>
            <a:ext cx="3558792" cy="463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3" name="Subtitle">
            <a:extLst>
              <a:ext uri="{FF2B5EF4-FFF2-40B4-BE49-F238E27FC236}">
                <a16:creationId xmlns:a16="http://schemas.microsoft.com/office/drawing/2014/main" id="{535513A0-29A9-7D3B-9CDD-6733A2B1A2B1}"/>
              </a:ext>
            </a:extLst>
          </p:cNvPr>
          <p:cNvSpPr>
            <a:spLocks noGrp="1"/>
          </p:cNvSpPr>
          <p:nvPr>
            <p:ph type="body" sz="quarter" idx="13" hasCustomPrompt="1"/>
          </p:nvPr>
        </p:nvSpPr>
        <p:spPr>
          <a:xfrm>
            <a:off x="4404000" y="1414800"/>
            <a:ext cx="7266788" cy="324000"/>
          </a:xfrm>
          <a:prstGeom prst="rect">
            <a:avLst/>
          </a:prstGeom>
        </p:spPr>
        <p:txBody>
          <a:bodyPr>
            <a:noAutofit/>
          </a:bodyPr>
          <a:lstStyle>
            <a:lvl1pPr>
              <a:defRPr sz="2000" b="0" i="0">
                <a:latin typeface="+mj-lt"/>
              </a:defRPr>
            </a:lvl1pPr>
          </a:lstStyle>
          <a:p>
            <a:pPr lvl="0"/>
            <a:r>
              <a:rPr lang="en-US"/>
              <a:t>Click to edit subheading</a:t>
            </a:r>
          </a:p>
        </p:txBody>
      </p:sp>
      <p:sp>
        <p:nvSpPr>
          <p:cNvPr id="10" name="Content Placeholder 3">
            <a:extLst>
              <a:ext uri="{FF2B5EF4-FFF2-40B4-BE49-F238E27FC236}">
                <a16:creationId xmlns:a16="http://schemas.microsoft.com/office/drawing/2014/main" id="{B0D2CA8A-2E63-60D9-815D-424F0324BB6B}"/>
              </a:ext>
            </a:extLst>
          </p:cNvPr>
          <p:cNvSpPr>
            <a:spLocks noGrp="1"/>
          </p:cNvSpPr>
          <p:nvPr>
            <p:ph sz="half" idx="2"/>
          </p:nvPr>
        </p:nvSpPr>
        <p:spPr>
          <a:xfrm>
            <a:off x="4404000" y="1774800"/>
            <a:ext cx="7266788"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3" name="Slide Number Placeholder 2">
            <a:extLst>
              <a:ext uri="{FF2B5EF4-FFF2-40B4-BE49-F238E27FC236}">
                <a16:creationId xmlns:a16="http://schemas.microsoft.com/office/drawing/2014/main" id="{78E32CC6-04C6-A1DF-EF98-BE4B1B7C525B}"/>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11" name="footnotes">
            <a:extLst>
              <a:ext uri="{FF2B5EF4-FFF2-40B4-BE49-F238E27FC236}">
                <a16:creationId xmlns:a16="http://schemas.microsoft.com/office/drawing/2014/main" id="{DDCF8061-E5D5-9940-B4F8-F7CD81F9FDFD}"/>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2" name="Text Placeholder 7">
            <a:extLst>
              <a:ext uri="{FF2B5EF4-FFF2-40B4-BE49-F238E27FC236}">
                <a16:creationId xmlns:a16="http://schemas.microsoft.com/office/drawing/2014/main" id="{679E26FE-41D4-6A49-9AA9-5CEE456727BA}"/>
              </a:ext>
            </a:extLst>
          </p:cNvPr>
          <p:cNvSpPr>
            <a:spLocks noGrp="1"/>
          </p:cNvSpPr>
          <p:nvPr>
            <p:ph type="body" sz="quarter" idx="18"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4212734436"/>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ubtitle, 2 Content - L Callout">
    <p:spTree>
      <p:nvGrpSpPr>
        <p:cNvPr id="1" name=""/>
        <p:cNvGrpSpPr/>
        <p:nvPr/>
      </p:nvGrpSpPr>
      <p:grpSpPr>
        <a:xfrm>
          <a:off x="0" y="0"/>
          <a:ext cx="0" cy="0"/>
          <a:chOff x="0" y="0"/>
          <a:chExt cx="0" cy="0"/>
        </a:xfrm>
      </p:grpSpPr>
      <p:graphicFrame>
        <p:nvGraphicFramePr>
          <p:cNvPr id="3" name="think-cell data - do not delete">
            <a:extLst>
              <a:ext uri="{FF2B5EF4-FFF2-40B4-BE49-F238E27FC236}">
                <a16:creationId xmlns:a16="http://schemas.microsoft.com/office/drawing/2014/main" id="{D3DD282B-1169-7CC8-6DE1-5C1B1567C3BB}"/>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37845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think-cell data - do not delete">
                        <a:extLst>
                          <a:ext uri="{FF2B5EF4-FFF2-40B4-BE49-F238E27FC236}">
                            <a16:creationId xmlns:a16="http://schemas.microsoft.com/office/drawing/2014/main" id="{D3DD282B-1169-7CC8-6DE1-5C1B1567C3BB}"/>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9E1EE9E1-21B6-0478-5B36-CDCA90B7AEB1}"/>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2" name="Subtitle 2">
            <a:extLst>
              <a:ext uri="{FF2B5EF4-FFF2-40B4-BE49-F238E27FC236}">
                <a16:creationId xmlns:a16="http://schemas.microsoft.com/office/drawing/2014/main" id="{F6797AFE-A6AB-52DD-3661-323571059564}"/>
              </a:ext>
            </a:extLst>
          </p:cNvPr>
          <p:cNvSpPr>
            <a:spLocks noGrp="1"/>
          </p:cNvSpPr>
          <p:nvPr>
            <p:ph type="body" sz="quarter" idx="16" hasCustomPrompt="1"/>
          </p:nvPr>
        </p:nvSpPr>
        <p:spPr>
          <a:xfrm>
            <a:off x="521208" y="1270518"/>
            <a:ext cx="11149580"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8" name="Content Placeholder 2">
            <a:extLst>
              <a:ext uri="{FF2B5EF4-FFF2-40B4-BE49-F238E27FC236}">
                <a16:creationId xmlns:a16="http://schemas.microsoft.com/office/drawing/2014/main" id="{43D2CC6A-3B0B-B5CF-9B23-ED6BB3DB97D2}"/>
              </a:ext>
            </a:extLst>
          </p:cNvPr>
          <p:cNvSpPr>
            <a:spLocks noGrp="1"/>
          </p:cNvSpPr>
          <p:nvPr>
            <p:ph sz="half" idx="1"/>
          </p:nvPr>
        </p:nvSpPr>
        <p:spPr>
          <a:xfrm>
            <a:off x="521208" y="1774800"/>
            <a:ext cx="3558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3" name="Subtitle">
            <a:extLst>
              <a:ext uri="{FF2B5EF4-FFF2-40B4-BE49-F238E27FC236}">
                <a16:creationId xmlns:a16="http://schemas.microsoft.com/office/drawing/2014/main" id="{535513A0-29A9-7D3B-9CDD-6733A2B1A2B1}"/>
              </a:ext>
            </a:extLst>
          </p:cNvPr>
          <p:cNvSpPr>
            <a:spLocks noGrp="1"/>
          </p:cNvSpPr>
          <p:nvPr>
            <p:ph type="body" sz="quarter" idx="13" hasCustomPrompt="1"/>
          </p:nvPr>
        </p:nvSpPr>
        <p:spPr>
          <a:xfrm>
            <a:off x="4404000" y="1772266"/>
            <a:ext cx="7266788" cy="324000"/>
          </a:xfrm>
          <a:prstGeom prst="rect">
            <a:avLst/>
          </a:prstGeom>
        </p:spPr>
        <p:txBody>
          <a:bodyPr>
            <a:noAutofit/>
          </a:bodyPr>
          <a:lstStyle>
            <a:lvl1pPr>
              <a:defRPr sz="2000" b="0" i="0">
                <a:latin typeface="+mj-lt"/>
              </a:defRPr>
            </a:lvl1pPr>
          </a:lstStyle>
          <a:p>
            <a:pPr lvl="0"/>
            <a:r>
              <a:rPr lang="en-US"/>
              <a:t>Click to edit subheading</a:t>
            </a:r>
          </a:p>
        </p:txBody>
      </p:sp>
      <p:sp>
        <p:nvSpPr>
          <p:cNvPr id="10" name="Content Placeholder 3">
            <a:extLst>
              <a:ext uri="{FF2B5EF4-FFF2-40B4-BE49-F238E27FC236}">
                <a16:creationId xmlns:a16="http://schemas.microsoft.com/office/drawing/2014/main" id="{B0D2CA8A-2E63-60D9-815D-424F0324BB6B}"/>
              </a:ext>
            </a:extLst>
          </p:cNvPr>
          <p:cNvSpPr>
            <a:spLocks noGrp="1"/>
          </p:cNvSpPr>
          <p:nvPr>
            <p:ph sz="half" idx="2"/>
          </p:nvPr>
        </p:nvSpPr>
        <p:spPr>
          <a:xfrm>
            <a:off x="4404000" y="2134800"/>
            <a:ext cx="7266788" cy="391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Slide Number Placeholder 3">
            <a:extLst>
              <a:ext uri="{FF2B5EF4-FFF2-40B4-BE49-F238E27FC236}">
                <a16:creationId xmlns:a16="http://schemas.microsoft.com/office/drawing/2014/main" id="{8696B04B-F07D-B536-A5CE-3204B355DCE9}"/>
              </a:ext>
              <a:ext uri="{C183D7F6-B498-43B3-948B-1728B52AA6E4}">
                <adec:decorative xmlns:adec="http://schemas.microsoft.com/office/drawing/2017/decorative" val="1"/>
              </a:ext>
            </a:extLst>
          </p:cNvPr>
          <p:cNvSpPr>
            <a:spLocks noGrp="1"/>
          </p:cNvSpPr>
          <p:nvPr>
            <p:ph type="sldNum" sz="quarter" idx="17"/>
          </p:nvPr>
        </p:nvSpPr>
        <p:spPr/>
        <p:txBody>
          <a:bodyPr/>
          <a:lstStyle/>
          <a:p>
            <a:fld id="{1C1606C5-D483-4832-A0E9-CF578A9B5883}" type="slidenum">
              <a:rPr lang="en-US" smtClean="0"/>
              <a:pPr/>
              <a:t>‹#›</a:t>
            </a:fld>
            <a:endParaRPr lang="en-US"/>
          </a:p>
        </p:txBody>
      </p:sp>
      <p:sp>
        <p:nvSpPr>
          <p:cNvPr id="12" name="footnotes">
            <a:extLst>
              <a:ext uri="{FF2B5EF4-FFF2-40B4-BE49-F238E27FC236}">
                <a16:creationId xmlns:a16="http://schemas.microsoft.com/office/drawing/2014/main" id="{26110022-9C26-4349-B681-1B3BD1322A33}"/>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4" name="Text Placeholder 7">
            <a:extLst>
              <a:ext uri="{FF2B5EF4-FFF2-40B4-BE49-F238E27FC236}">
                <a16:creationId xmlns:a16="http://schemas.microsoft.com/office/drawing/2014/main" id="{70DC0E31-4929-E04C-A506-9CCBFF7EB0D3}"/>
              </a:ext>
            </a:extLst>
          </p:cNvPr>
          <p:cNvSpPr>
            <a:spLocks noGrp="1"/>
          </p:cNvSpPr>
          <p:nvPr>
            <p:ph type="body" sz="quarter" idx="18"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578385741"/>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2 Content - Right Callout">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37845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2EA6765A-0A24-8ECD-6ACA-745B37603493}"/>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8" name="Content Placeholder 2">
            <a:extLst>
              <a:ext uri="{FF2B5EF4-FFF2-40B4-BE49-F238E27FC236}">
                <a16:creationId xmlns:a16="http://schemas.microsoft.com/office/drawing/2014/main" id="{43D2CC6A-3B0B-B5CF-9B23-ED6BB3DB97D2}"/>
              </a:ext>
            </a:extLst>
          </p:cNvPr>
          <p:cNvSpPr>
            <a:spLocks noGrp="1"/>
          </p:cNvSpPr>
          <p:nvPr>
            <p:ph sz="half" idx="1"/>
          </p:nvPr>
        </p:nvSpPr>
        <p:spPr>
          <a:xfrm>
            <a:off x="521208" y="1414800"/>
            <a:ext cx="7266792" cy="463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3" name="Subtitle">
            <a:extLst>
              <a:ext uri="{FF2B5EF4-FFF2-40B4-BE49-F238E27FC236}">
                <a16:creationId xmlns:a16="http://schemas.microsoft.com/office/drawing/2014/main" id="{535513A0-29A9-7D3B-9CDD-6733A2B1A2B1}"/>
              </a:ext>
            </a:extLst>
          </p:cNvPr>
          <p:cNvSpPr>
            <a:spLocks noGrp="1"/>
          </p:cNvSpPr>
          <p:nvPr>
            <p:ph type="body" sz="quarter" idx="13" hasCustomPrompt="1"/>
          </p:nvPr>
        </p:nvSpPr>
        <p:spPr>
          <a:xfrm>
            <a:off x="8112000" y="1414800"/>
            <a:ext cx="3558788" cy="324000"/>
          </a:xfrm>
          <a:prstGeom prst="rect">
            <a:avLst/>
          </a:prstGeom>
        </p:spPr>
        <p:txBody>
          <a:bodyPr>
            <a:noAutofit/>
          </a:bodyPr>
          <a:lstStyle>
            <a:lvl1pPr>
              <a:defRPr sz="2000" b="0" i="0">
                <a:latin typeface="+mj-lt"/>
              </a:defRPr>
            </a:lvl1pPr>
          </a:lstStyle>
          <a:p>
            <a:pPr lvl="0"/>
            <a:r>
              <a:rPr lang="en-US"/>
              <a:t>Click to edit subheading</a:t>
            </a:r>
          </a:p>
        </p:txBody>
      </p:sp>
      <p:sp>
        <p:nvSpPr>
          <p:cNvPr id="10" name="Content Placeholder 3">
            <a:extLst>
              <a:ext uri="{FF2B5EF4-FFF2-40B4-BE49-F238E27FC236}">
                <a16:creationId xmlns:a16="http://schemas.microsoft.com/office/drawing/2014/main" id="{B0D2CA8A-2E63-60D9-815D-424F0324BB6B}"/>
              </a:ext>
            </a:extLst>
          </p:cNvPr>
          <p:cNvSpPr>
            <a:spLocks noGrp="1"/>
          </p:cNvSpPr>
          <p:nvPr>
            <p:ph sz="half" idx="2"/>
          </p:nvPr>
        </p:nvSpPr>
        <p:spPr>
          <a:xfrm>
            <a:off x="8112000" y="1774800"/>
            <a:ext cx="3558788"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3" name="Slide Number Placeholder 2">
            <a:extLst>
              <a:ext uri="{FF2B5EF4-FFF2-40B4-BE49-F238E27FC236}">
                <a16:creationId xmlns:a16="http://schemas.microsoft.com/office/drawing/2014/main" id="{78E32CC6-04C6-A1DF-EF98-BE4B1B7C525B}"/>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11" name="footnotes">
            <a:extLst>
              <a:ext uri="{FF2B5EF4-FFF2-40B4-BE49-F238E27FC236}">
                <a16:creationId xmlns:a16="http://schemas.microsoft.com/office/drawing/2014/main" id="{A3FAA98B-3603-AB4E-A4CE-EB2BCE13A30D}"/>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2" name="Text Placeholder 7">
            <a:extLst>
              <a:ext uri="{FF2B5EF4-FFF2-40B4-BE49-F238E27FC236}">
                <a16:creationId xmlns:a16="http://schemas.microsoft.com/office/drawing/2014/main" id="{B0F13ABF-FEE0-234B-BDEB-E32CA5AAC526}"/>
              </a:ext>
            </a:extLst>
          </p:cNvPr>
          <p:cNvSpPr>
            <a:spLocks noGrp="1"/>
          </p:cNvSpPr>
          <p:nvPr>
            <p:ph type="body" sz="quarter" idx="18"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4255836295"/>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ubtitle, 2 Content - R Callout">
    <p:spTree>
      <p:nvGrpSpPr>
        <p:cNvPr id="1" name=""/>
        <p:cNvGrpSpPr/>
        <p:nvPr/>
      </p:nvGrpSpPr>
      <p:grpSpPr>
        <a:xfrm>
          <a:off x="0" y="0"/>
          <a:ext cx="0" cy="0"/>
          <a:chOff x="0" y="0"/>
          <a:chExt cx="0" cy="0"/>
        </a:xfrm>
      </p:grpSpPr>
      <p:graphicFrame>
        <p:nvGraphicFramePr>
          <p:cNvPr id="3" name="think-cell data - do not delete">
            <a:extLst>
              <a:ext uri="{FF2B5EF4-FFF2-40B4-BE49-F238E27FC236}">
                <a16:creationId xmlns:a16="http://schemas.microsoft.com/office/drawing/2014/main" id="{1176B466-FD88-9B85-1FC2-B7567CFCE262}"/>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37845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think-cell data - do not delete">
                        <a:extLst>
                          <a:ext uri="{FF2B5EF4-FFF2-40B4-BE49-F238E27FC236}">
                            <a16:creationId xmlns:a16="http://schemas.microsoft.com/office/drawing/2014/main" id="{1176B466-FD88-9B85-1FC2-B7567CFCE262}"/>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8F88A386-51F3-F608-D918-EBE2385F35AF}"/>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2" name="Subtitle 2">
            <a:extLst>
              <a:ext uri="{FF2B5EF4-FFF2-40B4-BE49-F238E27FC236}">
                <a16:creationId xmlns:a16="http://schemas.microsoft.com/office/drawing/2014/main" id="{F6797AFE-A6AB-52DD-3661-323571059564}"/>
              </a:ext>
            </a:extLst>
          </p:cNvPr>
          <p:cNvSpPr>
            <a:spLocks noGrp="1"/>
          </p:cNvSpPr>
          <p:nvPr>
            <p:ph type="body" sz="quarter" idx="16" hasCustomPrompt="1"/>
          </p:nvPr>
        </p:nvSpPr>
        <p:spPr>
          <a:xfrm>
            <a:off x="521208" y="1270518"/>
            <a:ext cx="11149580"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8" name="Content Placeholder 2">
            <a:extLst>
              <a:ext uri="{FF2B5EF4-FFF2-40B4-BE49-F238E27FC236}">
                <a16:creationId xmlns:a16="http://schemas.microsoft.com/office/drawing/2014/main" id="{43D2CC6A-3B0B-B5CF-9B23-ED6BB3DB97D2}"/>
              </a:ext>
            </a:extLst>
          </p:cNvPr>
          <p:cNvSpPr>
            <a:spLocks noGrp="1"/>
          </p:cNvSpPr>
          <p:nvPr>
            <p:ph sz="half" idx="1"/>
          </p:nvPr>
        </p:nvSpPr>
        <p:spPr>
          <a:xfrm>
            <a:off x="521208" y="1774800"/>
            <a:ext cx="726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3" name="Subtitle">
            <a:extLst>
              <a:ext uri="{FF2B5EF4-FFF2-40B4-BE49-F238E27FC236}">
                <a16:creationId xmlns:a16="http://schemas.microsoft.com/office/drawing/2014/main" id="{535513A0-29A9-7D3B-9CDD-6733A2B1A2B1}"/>
              </a:ext>
            </a:extLst>
          </p:cNvPr>
          <p:cNvSpPr>
            <a:spLocks noGrp="1"/>
          </p:cNvSpPr>
          <p:nvPr>
            <p:ph type="body" sz="quarter" idx="13" hasCustomPrompt="1"/>
          </p:nvPr>
        </p:nvSpPr>
        <p:spPr>
          <a:xfrm>
            <a:off x="8112000" y="1772266"/>
            <a:ext cx="3558788" cy="324000"/>
          </a:xfrm>
          <a:prstGeom prst="rect">
            <a:avLst/>
          </a:prstGeom>
        </p:spPr>
        <p:txBody>
          <a:bodyPr>
            <a:noAutofit/>
          </a:bodyPr>
          <a:lstStyle>
            <a:lvl1pPr>
              <a:defRPr sz="2000" b="0" i="0">
                <a:latin typeface="+mj-lt"/>
              </a:defRPr>
            </a:lvl1pPr>
          </a:lstStyle>
          <a:p>
            <a:pPr lvl="0"/>
            <a:r>
              <a:rPr lang="en-US"/>
              <a:t>Click to edit subheading</a:t>
            </a:r>
          </a:p>
        </p:txBody>
      </p:sp>
      <p:sp>
        <p:nvSpPr>
          <p:cNvPr id="10" name="Content Placeholder 3">
            <a:extLst>
              <a:ext uri="{FF2B5EF4-FFF2-40B4-BE49-F238E27FC236}">
                <a16:creationId xmlns:a16="http://schemas.microsoft.com/office/drawing/2014/main" id="{B0D2CA8A-2E63-60D9-815D-424F0324BB6B}"/>
              </a:ext>
            </a:extLst>
          </p:cNvPr>
          <p:cNvSpPr>
            <a:spLocks noGrp="1"/>
          </p:cNvSpPr>
          <p:nvPr>
            <p:ph sz="half" idx="2"/>
          </p:nvPr>
        </p:nvSpPr>
        <p:spPr>
          <a:xfrm>
            <a:off x="8112000" y="2134800"/>
            <a:ext cx="3558788" cy="391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Slide Number Placeholder 3">
            <a:extLst>
              <a:ext uri="{FF2B5EF4-FFF2-40B4-BE49-F238E27FC236}">
                <a16:creationId xmlns:a16="http://schemas.microsoft.com/office/drawing/2014/main" id="{8696B04B-F07D-B536-A5CE-3204B355DCE9}"/>
              </a:ext>
              <a:ext uri="{C183D7F6-B498-43B3-948B-1728B52AA6E4}">
                <adec:decorative xmlns:adec="http://schemas.microsoft.com/office/drawing/2017/decorative" val="1"/>
              </a:ext>
            </a:extLst>
          </p:cNvPr>
          <p:cNvSpPr>
            <a:spLocks noGrp="1"/>
          </p:cNvSpPr>
          <p:nvPr>
            <p:ph type="sldNum" sz="quarter" idx="17"/>
          </p:nvPr>
        </p:nvSpPr>
        <p:spPr/>
        <p:txBody>
          <a:bodyPr/>
          <a:lstStyle/>
          <a:p>
            <a:fld id="{1C1606C5-D483-4832-A0E9-CF578A9B5883}" type="slidenum">
              <a:rPr lang="en-US" smtClean="0"/>
              <a:pPr/>
              <a:t>‹#›</a:t>
            </a:fld>
            <a:endParaRPr lang="en-US"/>
          </a:p>
        </p:txBody>
      </p:sp>
      <p:sp>
        <p:nvSpPr>
          <p:cNvPr id="11" name="footnotes">
            <a:extLst>
              <a:ext uri="{FF2B5EF4-FFF2-40B4-BE49-F238E27FC236}">
                <a16:creationId xmlns:a16="http://schemas.microsoft.com/office/drawing/2014/main" id="{FB3D3C40-A829-0446-AB8A-2636F30827A5}"/>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2" name="Text Placeholder 7">
            <a:extLst>
              <a:ext uri="{FF2B5EF4-FFF2-40B4-BE49-F238E27FC236}">
                <a16:creationId xmlns:a16="http://schemas.microsoft.com/office/drawing/2014/main" id="{1E503046-51E0-924E-B02C-AD9DB439172A}"/>
              </a:ext>
            </a:extLst>
          </p:cNvPr>
          <p:cNvSpPr>
            <a:spLocks noGrp="1"/>
          </p:cNvSpPr>
          <p:nvPr>
            <p:ph type="body" sz="quarter" idx="18"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790657678"/>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ubtitle, Content">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9B3B9704-4F9F-DB2D-C36B-1C23226BC540}"/>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543400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9B3B9704-4F9F-DB2D-C36B-1C23226BC540}"/>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4CA4799F-9603-C7F5-FC7C-3B147396CD2A}"/>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9" name="Subtitle 2">
            <a:extLst>
              <a:ext uri="{FF2B5EF4-FFF2-40B4-BE49-F238E27FC236}">
                <a16:creationId xmlns:a16="http://schemas.microsoft.com/office/drawing/2014/main" id="{B1DC5A23-6973-07D0-BF89-D1918D14F882}"/>
              </a:ext>
            </a:extLst>
          </p:cNvPr>
          <p:cNvSpPr>
            <a:spLocks noGrp="1"/>
          </p:cNvSpPr>
          <p:nvPr>
            <p:ph type="body" sz="quarter" idx="16" hasCustomPrompt="1"/>
          </p:nvPr>
        </p:nvSpPr>
        <p:spPr>
          <a:xfrm>
            <a:off x="521208" y="1270518"/>
            <a:ext cx="11149580"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3" name="Content Placeholder 2">
            <a:extLst>
              <a:ext uri="{FF2B5EF4-FFF2-40B4-BE49-F238E27FC236}">
                <a16:creationId xmlns:a16="http://schemas.microsoft.com/office/drawing/2014/main" id="{E8DC4E14-4B7F-3052-254F-707D77C5CE26}"/>
              </a:ext>
            </a:extLst>
          </p:cNvPr>
          <p:cNvSpPr>
            <a:spLocks noGrp="1"/>
          </p:cNvSpPr>
          <p:nvPr>
            <p:ph idx="1"/>
          </p:nvPr>
        </p:nvSpPr>
        <p:spPr>
          <a:xfrm>
            <a:off x="521208" y="1773000"/>
            <a:ext cx="11149580" cy="42769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9" name="Slide Number Placeholder 18">
            <a:extLst>
              <a:ext uri="{FF2B5EF4-FFF2-40B4-BE49-F238E27FC236}">
                <a16:creationId xmlns:a16="http://schemas.microsoft.com/office/drawing/2014/main" id="{59BDC118-6075-6BF5-B3C7-6FEF439EB1FC}"/>
              </a:ext>
            </a:extLst>
          </p:cNvPr>
          <p:cNvSpPr>
            <a:spLocks noGrp="1"/>
          </p:cNvSpPr>
          <p:nvPr>
            <p:ph type="sldNum" sz="quarter" idx="18"/>
          </p:nvPr>
        </p:nvSpPr>
        <p:spPr/>
        <p:txBody>
          <a:bodyPr/>
          <a:lstStyle/>
          <a:p>
            <a:fld id="{1C1606C5-D483-4832-A0E9-CF578A9B5883}" type="slidenum">
              <a:rPr lang="en-US" smtClean="0"/>
              <a:pPr/>
              <a:t>‹#›</a:t>
            </a:fld>
            <a:endParaRPr lang="en-US"/>
          </a:p>
        </p:txBody>
      </p:sp>
      <p:sp>
        <p:nvSpPr>
          <p:cNvPr id="10" name="footnotes">
            <a:extLst>
              <a:ext uri="{FF2B5EF4-FFF2-40B4-BE49-F238E27FC236}">
                <a16:creationId xmlns:a16="http://schemas.microsoft.com/office/drawing/2014/main" id="{BAABEA14-751C-3C44-A921-68CE57EDCAE5}"/>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1" name="Text Placeholder 7">
            <a:extLst>
              <a:ext uri="{FF2B5EF4-FFF2-40B4-BE49-F238E27FC236}">
                <a16:creationId xmlns:a16="http://schemas.microsoft.com/office/drawing/2014/main" id="{4000AEAC-31E4-4045-B3BA-6A13BFA711FD}"/>
              </a:ext>
            </a:extLst>
          </p:cNvPr>
          <p:cNvSpPr>
            <a:spLocks noGrp="1"/>
          </p:cNvSpPr>
          <p:nvPr>
            <p:ph type="body" sz="quarter" idx="19"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
        <p:nvSpPr>
          <p:cNvPr id="6" name="Subtitle 2">
            <a:extLst>
              <a:ext uri="{FF2B5EF4-FFF2-40B4-BE49-F238E27FC236}">
                <a16:creationId xmlns:a16="http://schemas.microsoft.com/office/drawing/2014/main" id="{9A82606A-EA06-86A2-AC98-72D87C1808E9}"/>
              </a:ext>
            </a:extLst>
          </p:cNvPr>
          <p:cNvSpPr>
            <a:spLocks noGrp="1"/>
          </p:cNvSpPr>
          <p:nvPr>
            <p:ph type="body" sz="quarter" idx="20" hasCustomPrompt="1"/>
          </p:nvPr>
        </p:nvSpPr>
        <p:spPr>
          <a:xfrm>
            <a:off x="521208" y="322843"/>
            <a:ext cx="11149579" cy="240493"/>
          </a:xfrm>
          <a:prstGeom prst="rect">
            <a:avLst/>
          </a:prstGeom>
        </p:spPr>
        <p:txBody>
          <a:bodyPr>
            <a:noAutofit/>
          </a:bodyPr>
          <a:lstStyle>
            <a:lvl1pPr>
              <a:lnSpc>
                <a:spcPct val="90000"/>
              </a:lnSpc>
              <a:defRPr sz="1400" b="0" i="0" baseline="0">
                <a:solidFill>
                  <a:schemeClr val="accent6"/>
                </a:solidFill>
                <a:latin typeface="Forever Forma Heading" pitchFamily="2" charset="0"/>
              </a:defRPr>
            </a:lvl1pPr>
          </a:lstStyle>
          <a:p>
            <a:pPr lvl="0"/>
            <a:r>
              <a:rPr lang="en-US"/>
              <a:t>Click to edit subtitle</a:t>
            </a:r>
          </a:p>
        </p:txBody>
      </p:sp>
    </p:spTree>
    <p:extLst>
      <p:ext uri="{BB962C8B-B14F-4D97-AF65-F5344CB8AC3E}">
        <p14:creationId xmlns:p14="http://schemas.microsoft.com/office/powerpoint/2010/main" val="601034883"/>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ubtitle, Cont, Image - White A">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79C46B0-2378-8315-7738-F496692F14CE}"/>
              </a:ext>
            </a:extLst>
          </p:cNvPr>
          <p:cNvGraphicFramePr>
            <a:graphicFrameLocks noChangeAspect="1"/>
          </p:cNvGraphicFramePr>
          <p:nvPr userDrawn="1">
            <p:custDataLst>
              <p:tags r:id="rId1"/>
            </p:custDataLst>
            <p:extLst>
              <p:ext uri="{D42A27DB-BD31-4B8C-83A1-F6EECF244321}">
                <p14:modId xmlns:p14="http://schemas.microsoft.com/office/powerpoint/2010/main" val="3893183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6" name="think-cell data - do not delete" hidden="1">
                        <a:extLst>
                          <a:ext uri="{FF2B5EF4-FFF2-40B4-BE49-F238E27FC236}">
                            <a16:creationId xmlns:a16="http://schemas.microsoft.com/office/drawing/2014/main" id="{E79C46B0-2378-8315-7738-F496692F14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itle 13">
            <a:extLst>
              <a:ext uri="{FF2B5EF4-FFF2-40B4-BE49-F238E27FC236}">
                <a16:creationId xmlns:a16="http://schemas.microsoft.com/office/drawing/2014/main" id="{0F8E5628-910C-C0D5-15E3-B53E4E481CB7}"/>
              </a:ext>
            </a:extLst>
          </p:cNvPr>
          <p:cNvSpPr>
            <a:spLocks noGrp="1"/>
          </p:cNvSpPr>
          <p:nvPr>
            <p:ph type="title"/>
          </p:nvPr>
        </p:nvSpPr>
        <p:spPr>
          <a:xfrm>
            <a:off x="521205" y="324212"/>
            <a:ext cx="5574790" cy="944787"/>
          </a:xfrm>
          <a:prstGeom prst="rect">
            <a:avLst/>
          </a:prstGeom>
        </p:spPr>
        <p:txBody>
          <a:bodyPr/>
          <a:lstStyle/>
          <a:p>
            <a:r>
              <a:rPr lang="en-US"/>
              <a:t>Click to edit Master title style</a:t>
            </a:r>
          </a:p>
        </p:txBody>
      </p:sp>
      <p:sp>
        <p:nvSpPr>
          <p:cNvPr id="2" name="Subtitle 2">
            <a:extLst>
              <a:ext uri="{FF2B5EF4-FFF2-40B4-BE49-F238E27FC236}">
                <a16:creationId xmlns:a16="http://schemas.microsoft.com/office/drawing/2014/main" id="{1BD4E40C-6AAC-CCB0-C8E0-9BC24B711729}"/>
              </a:ext>
            </a:extLst>
          </p:cNvPr>
          <p:cNvSpPr>
            <a:spLocks noGrp="1"/>
          </p:cNvSpPr>
          <p:nvPr>
            <p:ph type="body" sz="quarter" idx="16" hasCustomPrompt="1"/>
          </p:nvPr>
        </p:nvSpPr>
        <p:spPr>
          <a:xfrm>
            <a:off x="521208" y="1270518"/>
            <a:ext cx="5574790"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10" name="Content Placeholder 2">
            <a:extLst>
              <a:ext uri="{FF2B5EF4-FFF2-40B4-BE49-F238E27FC236}">
                <a16:creationId xmlns:a16="http://schemas.microsoft.com/office/drawing/2014/main" id="{96478E5B-145B-0010-DB06-68222476A002}"/>
              </a:ext>
            </a:extLst>
          </p:cNvPr>
          <p:cNvSpPr>
            <a:spLocks noGrp="1"/>
          </p:cNvSpPr>
          <p:nvPr>
            <p:ph sz="half" idx="1"/>
          </p:nvPr>
        </p:nvSpPr>
        <p:spPr>
          <a:xfrm>
            <a:off x="521208" y="1774800"/>
            <a:ext cx="5574790" cy="4273351"/>
          </a:xfrm>
          <a:prstGeom prst="rect">
            <a:avLst/>
          </a:prstGeom>
        </p:spPr>
        <p:txBody>
          <a:bodyPr/>
          <a:lstStyle>
            <a:lvl1pPr>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b="0" i="0">
                <a:solidFill>
                  <a:schemeClr val="tx1"/>
                </a:solidFill>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1" name="Picture Placeholder 6">
            <a:extLst>
              <a:ext uri="{FF2B5EF4-FFF2-40B4-BE49-F238E27FC236}">
                <a16:creationId xmlns:a16="http://schemas.microsoft.com/office/drawing/2014/main" id="{BD427E25-1A64-AFCB-DE33-A891C94440C8}"/>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6892176" y="1270799"/>
            <a:ext cx="4778612" cy="4777352"/>
          </a:xfrm>
          <a:custGeom>
            <a:avLst/>
            <a:gdLst>
              <a:gd name="connsiteX0" fmla="*/ 0 w 6836942"/>
              <a:gd name="connsiteY0" fmla="*/ 0 h 6857999"/>
              <a:gd name="connsiteX1" fmla="*/ 3318198 w 6836942"/>
              <a:gd name="connsiteY1" fmla="*/ 0 h 6857999"/>
              <a:gd name="connsiteX2" fmla="*/ 3412392 w 6836942"/>
              <a:gd name="connsiteY2" fmla="*/ 0 h 6857999"/>
              <a:gd name="connsiteX3" fmla="*/ 3424168 w 6836942"/>
              <a:gd name="connsiteY3" fmla="*/ 0 h 6857999"/>
              <a:gd name="connsiteX4" fmla="*/ 3518744 w 6836942"/>
              <a:gd name="connsiteY4" fmla="*/ 0 h 6857999"/>
              <a:gd name="connsiteX5" fmla="*/ 6836942 w 6836942"/>
              <a:gd name="connsiteY5" fmla="*/ 0 h 6857999"/>
              <a:gd name="connsiteX6" fmla="*/ 4902466 w 6836942"/>
              <a:gd name="connsiteY6" fmla="*/ 3428999 h 6857999"/>
              <a:gd name="connsiteX7" fmla="*/ 6836942 w 6836942"/>
              <a:gd name="connsiteY7" fmla="*/ 6857999 h 6857999"/>
              <a:gd name="connsiteX8" fmla="*/ 3518744 w 6836942"/>
              <a:gd name="connsiteY8" fmla="*/ 6857999 h 6857999"/>
              <a:gd name="connsiteX9" fmla="*/ 3424168 w 6836942"/>
              <a:gd name="connsiteY9" fmla="*/ 6857999 h 6857999"/>
              <a:gd name="connsiteX10" fmla="*/ 3412392 w 6836942"/>
              <a:gd name="connsiteY10" fmla="*/ 6857999 h 6857999"/>
              <a:gd name="connsiteX11" fmla="*/ 3318198 w 6836942"/>
              <a:gd name="connsiteY11" fmla="*/ 6857999 h 6857999"/>
              <a:gd name="connsiteX12" fmla="*/ 0 w 6836942"/>
              <a:gd name="connsiteY12" fmla="*/ 6857999 h 6857999"/>
              <a:gd name="connsiteX13" fmla="*/ 1934095 w 6836942"/>
              <a:gd name="connsiteY13" fmla="*/ 3428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36942" h="6857999">
                <a:moveTo>
                  <a:pt x="0" y="0"/>
                </a:moveTo>
                <a:lnTo>
                  <a:pt x="3318198" y="0"/>
                </a:lnTo>
                <a:lnTo>
                  <a:pt x="3412392" y="0"/>
                </a:lnTo>
                <a:lnTo>
                  <a:pt x="3424168" y="0"/>
                </a:lnTo>
                <a:lnTo>
                  <a:pt x="3518744" y="0"/>
                </a:lnTo>
                <a:lnTo>
                  <a:pt x="6836942" y="0"/>
                </a:lnTo>
                <a:lnTo>
                  <a:pt x="4902466" y="3428999"/>
                </a:lnTo>
                <a:lnTo>
                  <a:pt x="6836942" y="6857999"/>
                </a:lnTo>
                <a:lnTo>
                  <a:pt x="3518744" y="6857999"/>
                </a:lnTo>
                <a:lnTo>
                  <a:pt x="3424168" y="6857999"/>
                </a:lnTo>
                <a:lnTo>
                  <a:pt x="3412392" y="6857999"/>
                </a:lnTo>
                <a:lnTo>
                  <a:pt x="3318198" y="6857999"/>
                </a:lnTo>
                <a:lnTo>
                  <a:pt x="0" y="6857999"/>
                </a:lnTo>
                <a:lnTo>
                  <a:pt x="1934095" y="3428999"/>
                </a:lnTo>
                <a:close/>
              </a:path>
            </a:pathLst>
          </a:custGeom>
          <a:solidFill>
            <a:schemeClr val="bg1">
              <a:lumMod val="95000"/>
            </a:schemeClr>
          </a:solidFill>
        </p:spPr>
        <p:txBody>
          <a:bodyPr wrap="square" lIns="201600" tIns="201600" rIns="201600" bIns="201600">
            <a:noAutofit/>
          </a:bodyPr>
          <a:lstStyle>
            <a:lvl1pPr algn="ctr">
              <a:defRPr>
                <a:solidFill>
                  <a:schemeClr val="tx1"/>
                </a:solidFill>
              </a:defRPr>
            </a:lvl1pPr>
          </a:lstStyle>
          <a:p>
            <a:r>
              <a:rPr lang="en-US"/>
              <a:t>Click icon to insert an image</a:t>
            </a:r>
          </a:p>
        </p:txBody>
      </p:sp>
      <p:sp>
        <p:nvSpPr>
          <p:cNvPr id="13" name="Slide Number Placeholder 2">
            <a:extLst>
              <a:ext uri="{FF2B5EF4-FFF2-40B4-BE49-F238E27FC236}">
                <a16:creationId xmlns:a16="http://schemas.microsoft.com/office/drawing/2014/main" id="{EF4FC9FF-2346-8179-9D96-6FD11DC7B20C}"/>
              </a:ext>
              <a:ext uri="{C183D7F6-B498-43B3-948B-1728B52AA6E4}">
                <adec:decorative xmlns:adec="http://schemas.microsoft.com/office/drawing/2017/decorative" val="1"/>
              </a:ext>
            </a:extLst>
          </p:cNvPr>
          <p:cNvSpPr>
            <a:spLocks noGrp="1"/>
          </p:cNvSpPr>
          <p:nvPr>
            <p:ph type="sldNum" sz="quarter" idx="19"/>
          </p:nvPr>
        </p:nvSpPr>
        <p:spPr>
          <a:xfrm>
            <a:off x="-1" y="6048151"/>
            <a:ext cx="806402" cy="809849"/>
          </a:xfrm>
        </p:spPr>
        <p:txBody>
          <a:bodyPr bIns="309600"/>
          <a:lstStyle>
            <a:lvl1pPr>
              <a:defRPr>
                <a:solidFill>
                  <a:schemeClr val="tx1"/>
                </a:solidFill>
              </a:defRPr>
            </a:lvl1pPr>
          </a:lstStyle>
          <a:p>
            <a:fld id="{1C1606C5-D483-4832-A0E9-CF578A9B5883}" type="slidenum">
              <a:rPr lang="en-US" smtClean="0"/>
              <a:pPr/>
              <a:t>‹#›</a:t>
            </a:fld>
            <a:endParaRPr lang="en-US"/>
          </a:p>
        </p:txBody>
      </p:sp>
      <p:sp>
        <p:nvSpPr>
          <p:cNvPr id="5" name="footnotes">
            <a:extLst>
              <a:ext uri="{FF2B5EF4-FFF2-40B4-BE49-F238E27FC236}">
                <a16:creationId xmlns:a16="http://schemas.microsoft.com/office/drawing/2014/main" id="{54CF8CEF-41A3-AA88-C4BD-E05A9C36554E}"/>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2" name="Text Placeholder 7">
            <a:extLst>
              <a:ext uri="{FF2B5EF4-FFF2-40B4-BE49-F238E27FC236}">
                <a16:creationId xmlns:a16="http://schemas.microsoft.com/office/drawing/2014/main" id="{AE961797-0602-1447-A23B-8FBB57280B74}"/>
              </a:ext>
            </a:extLst>
          </p:cNvPr>
          <p:cNvSpPr>
            <a:spLocks noGrp="1"/>
          </p:cNvSpPr>
          <p:nvPr>
            <p:ph type="body" sz="quarter" idx="18"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152481799"/>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ubtitle, Cont, Image - White B">
    <p:spTree>
      <p:nvGrpSpPr>
        <p:cNvPr id="1" name=""/>
        <p:cNvGrpSpPr/>
        <p:nvPr/>
      </p:nvGrpSpPr>
      <p:grpSpPr>
        <a:xfrm>
          <a:off x="0" y="0"/>
          <a:ext cx="0" cy="0"/>
          <a:chOff x="0" y="0"/>
          <a:chExt cx="0" cy="0"/>
        </a:xfrm>
      </p:grpSpPr>
      <p:graphicFrame>
        <p:nvGraphicFramePr>
          <p:cNvPr id="7" name="think-cell data - do not delete">
            <a:extLst>
              <a:ext uri="{FF2B5EF4-FFF2-40B4-BE49-F238E27FC236}">
                <a16:creationId xmlns:a16="http://schemas.microsoft.com/office/drawing/2014/main" id="{7B238EE9-2F94-0CB1-FAED-27E13EFD0116}"/>
              </a:ext>
            </a:extLst>
          </p:cNvPr>
          <p:cNvGraphicFramePr>
            <a:graphicFrameLocks noChangeAspect="1"/>
          </p:cNvGraphicFramePr>
          <p:nvPr userDrawn="1">
            <p:custDataLst>
              <p:tags r:id="rId1"/>
            </p:custDataLst>
            <p:extLst>
              <p:ext uri="{D42A27DB-BD31-4B8C-83A1-F6EECF244321}">
                <p14:modId xmlns:p14="http://schemas.microsoft.com/office/powerpoint/2010/main" val="4011080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7" name="think-cell data - do not delete">
                        <a:extLst>
                          <a:ext uri="{FF2B5EF4-FFF2-40B4-BE49-F238E27FC236}">
                            <a16:creationId xmlns:a16="http://schemas.microsoft.com/office/drawing/2014/main" id="{7B238EE9-2F94-0CB1-FAED-27E13EFD01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D5FE5D1-6472-6F74-8C98-E6DC46AF9741}"/>
              </a:ext>
            </a:extLst>
          </p:cNvPr>
          <p:cNvSpPr>
            <a:spLocks noGrp="1"/>
          </p:cNvSpPr>
          <p:nvPr>
            <p:ph type="title"/>
          </p:nvPr>
        </p:nvSpPr>
        <p:spPr>
          <a:xfrm>
            <a:off x="521208" y="324362"/>
            <a:ext cx="5574792" cy="944637"/>
          </a:xfrm>
          <a:prstGeom prst="rect">
            <a:avLst/>
          </a:prstGeom>
        </p:spPr>
        <p:txBody>
          <a:bodyPr/>
          <a:lstStyle/>
          <a:p>
            <a:r>
              <a:rPr lang="en-US"/>
              <a:t>Click to edit Master title style</a:t>
            </a:r>
          </a:p>
        </p:txBody>
      </p:sp>
      <p:sp>
        <p:nvSpPr>
          <p:cNvPr id="6" name="Subtitle 2">
            <a:extLst>
              <a:ext uri="{FF2B5EF4-FFF2-40B4-BE49-F238E27FC236}">
                <a16:creationId xmlns:a16="http://schemas.microsoft.com/office/drawing/2014/main" id="{6AB4C73B-1CAB-F3E3-EA20-565CA9791C3D}"/>
              </a:ext>
            </a:extLst>
          </p:cNvPr>
          <p:cNvSpPr>
            <a:spLocks noGrp="1"/>
          </p:cNvSpPr>
          <p:nvPr>
            <p:ph type="body" sz="quarter" idx="17" hasCustomPrompt="1"/>
          </p:nvPr>
        </p:nvSpPr>
        <p:spPr>
          <a:xfrm>
            <a:off x="521208" y="1270518"/>
            <a:ext cx="5574792"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4" name="Content Placeholder 2">
            <a:extLst>
              <a:ext uri="{FF2B5EF4-FFF2-40B4-BE49-F238E27FC236}">
                <a16:creationId xmlns:a16="http://schemas.microsoft.com/office/drawing/2014/main" id="{D7ECA153-121A-CD69-3C84-5A96DFDAAF2D}"/>
              </a:ext>
            </a:extLst>
          </p:cNvPr>
          <p:cNvSpPr>
            <a:spLocks noGrp="1"/>
          </p:cNvSpPr>
          <p:nvPr>
            <p:ph idx="1"/>
          </p:nvPr>
        </p:nvSpPr>
        <p:spPr>
          <a:xfrm>
            <a:off x="521207" y="1774800"/>
            <a:ext cx="5574791"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 name="Picture Placeholder 3">
            <a:extLst>
              <a:ext uri="{FF2B5EF4-FFF2-40B4-BE49-F238E27FC236}">
                <a16:creationId xmlns:a16="http://schemas.microsoft.com/office/drawing/2014/main" id="{E7ED1FCC-D133-D9C2-D94E-D788FAABB148}"/>
              </a:ext>
            </a:extLst>
          </p:cNvPr>
          <p:cNvSpPr>
            <a:spLocks noGrp="1" noChangeAspect="1"/>
          </p:cNvSpPr>
          <p:nvPr>
            <p:ph type="pic" sz="quarter" idx="13" hasCustomPrompt="1"/>
          </p:nvPr>
        </p:nvSpPr>
        <p:spPr>
          <a:xfrm>
            <a:off x="6930766" y="1311298"/>
            <a:ext cx="4738651" cy="4738652"/>
          </a:xfrm>
          <a:custGeom>
            <a:avLst/>
            <a:gdLst>
              <a:gd name="connsiteX0" fmla="*/ 2954626 w 5909252"/>
              <a:gd name="connsiteY0" fmla="*/ 0 h 5909252"/>
              <a:gd name="connsiteX1" fmla="*/ 4780584 w 5909252"/>
              <a:gd name="connsiteY1" fmla="*/ 564332 h 5909252"/>
              <a:gd name="connsiteX2" fmla="*/ 5909252 w 5909252"/>
              <a:gd name="connsiteY2" fmla="*/ 2041645 h 5909252"/>
              <a:gd name="connsiteX3" fmla="*/ 5909252 w 5909252"/>
              <a:gd name="connsiteY3" fmla="*/ 3867607 h 5909252"/>
              <a:gd name="connsiteX4" fmla="*/ 4780584 w 5909252"/>
              <a:gd name="connsiteY4" fmla="*/ 5344920 h 5909252"/>
              <a:gd name="connsiteX5" fmla="*/ 2954626 w 5909252"/>
              <a:gd name="connsiteY5" fmla="*/ 5909252 h 5909252"/>
              <a:gd name="connsiteX6" fmla="*/ 1128668 w 5909252"/>
              <a:gd name="connsiteY6" fmla="*/ 5344920 h 5909252"/>
              <a:gd name="connsiteX7" fmla="*/ 0 w 5909252"/>
              <a:gd name="connsiteY7" fmla="*/ 3867607 h 5909252"/>
              <a:gd name="connsiteX8" fmla="*/ 0 w 5909252"/>
              <a:gd name="connsiteY8" fmla="*/ 2041645 h 5909252"/>
              <a:gd name="connsiteX9" fmla="*/ 1128668 w 5909252"/>
              <a:gd name="connsiteY9" fmla="*/ 564332 h 5909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09252" h="5909252">
                <a:moveTo>
                  <a:pt x="2954626" y="0"/>
                </a:moveTo>
                <a:lnTo>
                  <a:pt x="4780584" y="564332"/>
                </a:lnTo>
                <a:lnTo>
                  <a:pt x="5909252" y="2041645"/>
                </a:lnTo>
                <a:lnTo>
                  <a:pt x="5909252" y="3867607"/>
                </a:lnTo>
                <a:lnTo>
                  <a:pt x="4780584" y="5344920"/>
                </a:lnTo>
                <a:lnTo>
                  <a:pt x="2954626" y="5909252"/>
                </a:lnTo>
                <a:lnTo>
                  <a:pt x="1128668" y="5344920"/>
                </a:lnTo>
                <a:lnTo>
                  <a:pt x="0" y="3867607"/>
                </a:lnTo>
                <a:lnTo>
                  <a:pt x="0" y="2041645"/>
                </a:lnTo>
                <a:lnTo>
                  <a:pt x="1128668" y="564332"/>
                </a:lnTo>
                <a:close/>
              </a:path>
            </a:pathLst>
          </a:cu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wrap="square" lIns="203200" tIns="201600" rIns="201600" bIns="201600" anchor="ctr" anchorCtr="0">
            <a:noAutofit/>
          </a:bodyPr>
          <a:lstStyle>
            <a:lvl1pPr algn="ctr">
              <a:defRPr b="0" i="0">
                <a:latin typeface="Forever Forma Body Text" pitchFamily="2" charset="0"/>
              </a:defRPr>
            </a:lvl1pPr>
          </a:lstStyle>
          <a:p>
            <a:r>
              <a:rPr lang="en-US"/>
              <a:t>Click icon to insert an image</a:t>
            </a:r>
          </a:p>
        </p:txBody>
      </p:sp>
      <p:sp>
        <p:nvSpPr>
          <p:cNvPr id="5" name="Slide Number Placeholder 4">
            <a:extLst>
              <a:ext uri="{FF2B5EF4-FFF2-40B4-BE49-F238E27FC236}">
                <a16:creationId xmlns:a16="http://schemas.microsoft.com/office/drawing/2014/main" id="{A450C16C-4FD2-3762-E85A-31E72A8271C6}"/>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9" name="footnotes">
            <a:extLst>
              <a:ext uri="{FF2B5EF4-FFF2-40B4-BE49-F238E27FC236}">
                <a16:creationId xmlns:a16="http://schemas.microsoft.com/office/drawing/2014/main" id="{9BB8168B-AB98-CE02-DFD1-BC99582BC296}"/>
              </a:ext>
            </a:extLst>
          </p:cNvPr>
          <p:cNvSpPr>
            <a:spLocks noGrp="1"/>
          </p:cNvSpPr>
          <p:nvPr>
            <p:ph type="body" sz="quarter" idx="14" hasCustomPrompt="1"/>
          </p:nvPr>
        </p:nvSpPr>
        <p:spPr>
          <a:xfrm>
            <a:off x="806402" y="6049950"/>
            <a:ext cx="5289596"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0" name="Text Placeholder 7">
            <a:extLst>
              <a:ext uri="{FF2B5EF4-FFF2-40B4-BE49-F238E27FC236}">
                <a16:creationId xmlns:a16="http://schemas.microsoft.com/office/drawing/2014/main" id="{2C6CC6B2-7725-BE4D-B468-C5D27EB69D1A}"/>
              </a:ext>
            </a:extLst>
          </p:cNvPr>
          <p:cNvSpPr>
            <a:spLocks noGrp="1"/>
          </p:cNvSpPr>
          <p:nvPr>
            <p:ph type="body" sz="quarter" idx="18"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881563977"/>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ubtitle, Cont, Image - White C">
    <p:spTree>
      <p:nvGrpSpPr>
        <p:cNvPr id="1" name=""/>
        <p:cNvGrpSpPr/>
        <p:nvPr/>
      </p:nvGrpSpPr>
      <p:grpSpPr>
        <a:xfrm>
          <a:off x="0" y="0"/>
          <a:ext cx="0" cy="0"/>
          <a:chOff x="0" y="0"/>
          <a:chExt cx="0" cy="0"/>
        </a:xfrm>
      </p:grpSpPr>
      <p:graphicFrame>
        <p:nvGraphicFramePr>
          <p:cNvPr id="4" name="think-cell data - do not delete">
            <a:extLst>
              <a:ext uri="{FF2B5EF4-FFF2-40B4-BE49-F238E27FC236}">
                <a16:creationId xmlns:a16="http://schemas.microsoft.com/office/drawing/2014/main" id="{FAAD875E-5827-4E1D-7565-A4F6621344AA}"/>
              </a:ext>
            </a:extLst>
          </p:cNvPr>
          <p:cNvGraphicFramePr>
            <a:graphicFrameLocks noChangeAspect="1"/>
          </p:cNvGraphicFramePr>
          <p:nvPr userDrawn="1">
            <p:custDataLst>
              <p:tags r:id="rId1"/>
            </p:custDataLst>
            <p:extLst>
              <p:ext uri="{D42A27DB-BD31-4B8C-83A1-F6EECF244321}">
                <p14:modId xmlns:p14="http://schemas.microsoft.com/office/powerpoint/2010/main" val="4011080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think-cell data - do not delete">
                        <a:extLst>
                          <a:ext uri="{FF2B5EF4-FFF2-40B4-BE49-F238E27FC236}">
                            <a16:creationId xmlns:a16="http://schemas.microsoft.com/office/drawing/2014/main" id="{FAAD875E-5827-4E1D-7565-A4F6621344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90AD047-2264-215F-672B-88AEDF05734A}"/>
              </a:ext>
            </a:extLst>
          </p:cNvPr>
          <p:cNvSpPr>
            <a:spLocks noGrp="1"/>
          </p:cNvSpPr>
          <p:nvPr>
            <p:ph type="title"/>
          </p:nvPr>
        </p:nvSpPr>
        <p:spPr>
          <a:xfrm>
            <a:off x="521208" y="324362"/>
            <a:ext cx="5574792" cy="944637"/>
          </a:xfrm>
          <a:prstGeom prst="rect">
            <a:avLst/>
          </a:prstGeom>
        </p:spPr>
        <p:txBody>
          <a:bodyPr/>
          <a:lstStyle/>
          <a:p>
            <a:r>
              <a:rPr lang="en-US"/>
              <a:t>Click to edit Master title style</a:t>
            </a:r>
          </a:p>
        </p:txBody>
      </p:sp>
      <p:sp>
        <p:nvSpPr>
          <p:cNvPr id="6" name="Subtitle 2">
            <a:extLst>
              <a:ext uri="{FF2B5EF4-FFF2-40B4-BE49-F238E27FC236}">
                <a16:creationId xmlns:a16="http://schemas.microsoft.com/office/drawing/2014/main" id="{B4725C7B-BEEB-FC19-6AB1-B5A9BEA3FE8D}"/>
              </a:ext>
            </a:extLst>
          </p:cNvPr>
          <p:cNvSpPr>
            <a:spLocks noGrp="1"/>
          </p:cNvSpPr>
          <p:nvPr>
            <p:ph type="body" sz="quarter" idx="17" hasCustomPrompt="1"/>
          </p:nvPr>
        </p:nvSpPr>
        <p:spPr>
          <a:xfrm>
            <a:off x="521208" y="1270518"/>
            <a:ext cx="5574792"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3" name="Content Placeholder 2">
            <a:extLst>
              <a:ext uri="{FF2B5EF4-FFF2-40B4-BE49-F238E27FC236}">
                <a16:creationId xmlns:a16="http://schemas.microsoft.com/office/drawing/2014/main" id="{09403EA4-D37F-28EB-DE5F-925D7C4263A8}"/>
              </a:ext>
            </a:extLst>
          </p:cNvPr>
          <p:cNvSpPr>
            <a:spLocks noGrp="1"/>
          </p:cNvSpPr>
          <p:nvPr>
            <p:ph idx="1"/>
          </p:nvPr>
        </p:nvSpPr>
        <p:spPr>
          <a:xfrm>
            <a:off x="521207" y="1774800"/>
            <a:ext cx="5574791"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1" name="Picture Placeholder 20">
            <a:extLst>
              <a:ext uri="{FF2B5EF4-FFF2-40B4-BE49-F238E27FC236}">
                <a16:creationId xmlns:a16="http://schemas.microsoft.com/office/drawing/2014/main" id="{5B0A33B1-3FF4-4137-0B16-2BD702BBA6DB}"/>
              </a:ext>
            </a:extLst>
          </p:cNvPr>
          <p:cNvSpPr>
            <a:spLocks noGrp="1" noChangeAspect="1"/>
          </p:cNvSpPr>
          <p:nvPr>
            <p:ph type="pic" sz="quarter" idx="13" hasCustomPrompt="1"/>
          </p:nvPr>
        </p:nvSpPr>
        <p:spPr>
          <a:xfrm>
            <a:off x="6889088" y="1268251"/>
            <a:ext cx="4781700" cy="4781700"/>
          </a:xfrm>
          <a:custGeom>
            <a:avLst/>
            <a:gdLst>
              <a:gd name="connsiteX0" fmla="*/ 1892106 w 6459796"/>
              <a:gd name="connsiteY0" fmla="*/ 0 h 6459796"/>
              <a:gd name="connsiteX1" fmla="*/ 4567690 w 6459796"/>
              <a:gd name="connsiteY1" fmla="*/ 0 h 6459796"/>
              <a:gd name="connsiteX2" fmla="*/ 6459796 w 6459796"/>
              <a:gd name="connsiteY2" fmla="*/ 1892106 h 6459796"/>
              <a:gd name="connsiteX3" fmla="*/ 6459796 w 6459796"/>
              <a:gd name="connsiteY3" fmla="*/ 4567690 h 6459796"/>
              <a:gd name="connsiteX4" fmla="*/ 4567690 w 6459796"/>
              <a:gd name="connsiteY4" fmla="*/ 6459796 h 6459796"/>
              <a:gd name="connsiteX5" fmla="*/ 1892106 w 6459796"/>
              <a:gd name="connsiteY5" fmla="*/ 6459796 h 6459796"/>
              <a:gd name="connsiteX6" fmla="*/ 0 w 6459796"/>
              <a:gd name="connsiteY6" fmla="*/ 4567690 h 6459796"/>
              <a:gd name="connsiteX7" fmla="*/ 0 w 6459796"/>
              <a:gd name="connsiteY7" fmla="*/ 1892106 h 6459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59796" h="6459796">
                <a:moveTo>
                  <a:pt x="1892106" y="0"/>
                </a:moveTo>
                <a:lnTo>
                  <a:pt x="4567690" y="0"/>
                </a:lnTo>
                <a:lnTo>
                  <a:pt x="6459796" y="1892106"/>
                </a:lnTo>
                <a:lnTo>
                  <a:pt x="6459796" y="4567690"/>
                </a:lnTo>
                <a:lnTo>
                  <a:pt x="4567690" y="6459796"/>
                </a:lnTo>
                <a:lnTo>
                  <a:pt x="1892106" y="6459796"/>
                </a:lnTo>
                <a:lnTo>
                  <a:pt x="0" y="4567690"/>
                </a:lnTo>
                <a:lnTo>
                  <a:pt x="0" y="1892106"/>
                </a:lnTo>
                <a:close/>
              </a:path>
            </a:pathLst>
          </a:custGeom>
          <a:solidFill>
            <a:schemeClr val="bg1">
              <a:lumMod val="95000"/>
            </a:schemeClr>
          </a:solidFill>
        </p:spPr>
        <p:txBody>
          <a:bodyPr wrap="square" lIns="203200" tIns="201600" rIns="201600" bIns="201600" anchor="ctr" anchorCtr="0">
            <a:noAutofit/>
          </a:bodyPr>
          <a:lstStyle>
            <a:lvl1pPr algn="ctr">
              <a:defRPr/>
            </a:lvl1pPr>
          </a:lstStyle>
          <a:p>
            <a:r>
              <a:rPr lang="en-US"/>
              <a:t>Click icon to insert an image</a:t>
            </a:r>
          </a:p>
        </p:txBody>
      </p:sp>
      <p:sp>
        <p:nvSpPr>
          <p:cNvPr id="5" name="Slide Number Placeholder 4">
            <a:extLst>
              <a:ext uri="{FF2B5EF4-FFF2-40B4-BE49-F238E27FC236}">
                <a16:creationId xmlns:a16="http://schemas.microsoft.com/office/drawing/2014/main" id="{A450C16C-4FD2-3762-E85A-31E72A8271C6}"/>
              </a:ext>
              <a:ext uri="{C183D7F6-B498-43B3-948B-1728B52AA6E4}">
                <adec:decorative xmlns:adec="http://schemas.microsoft.com/office/drawing/2017/decorative" val="1"/>
              </a:ext>
            </a:extLst>
          </p:cNvPr>
          <p:cNvSpPr>
            <a:spLocks noGrp="1"/>
          </p:cNvSpPr>
          <p:nvPr>
            <p:ph type="sldNum" sz="quarter" idx="15"/>
          </p:nvPr>
        </p:nvSpPr>
        <p:spPr/>
        <p:txBody>
          <a:bodyPr bIns="309600"/>
          <a:lstStyle/>
          <a:p>
            <a:fld id="{1C1606C5-D483-4832-A0E9-CF578A9B5883}" type="slidenum">
              <a:rPr lang="en-US" smtClean="0"/>
              <a:pPr/>
              <a:t>‹#›</a:t>
            </a:fld>
            <a:endParaRPr lang="en-US"/>
          </a:p>
        </p:txBody>
      </p:sp>
      <p:sp>
        <p:nvSpPr>
          <p:cNvPr id="8" name="footnotes">
            <a:extLst>
              <a:ext uri="{FF2B5EF4-FFF2-40B4-BE49-F238E27FC236}">
                <a16:creationId xmlns:a16="http://schemas.microsoft.com/office/drawing/2014/main" id="{241DEE8C-64A5-90BA-D3ED-5B0A35FE8987}"/>
              </a:ext>
            </a:extLst>
          </p:cNvPr>
          <p:cNvSpPr>
            <a:spLocks noGrp="1"/>
          </p:cNvSpPr>
          <p:nvPr>
            <p:ph type="body" sz="quarter" idx="14" hasCustomPrompt="1"/>
          </p:nvPr>
        </p:nvSpPr>
        <p:spPr>
          <a:xfrm>
            <a:off x="806402" y="6049950"/>
            <a:ext cx="5289596"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0" name="Text Placeholder 7">
            <a:extLst>
              <a:ext uri="{FF2B5EF4-FFF2-40B4-BE49-F238E27FC236}">
                <a16:creationId xmlns:a16="http://schemas.microsoft.com/office/drawing/2014/main" id="{F6242459-FEF2-7A45-89CB-98BE02894ED2}"/>
              </a:ext>
            </a:extLst>
          </p:cNvPr>
          <p:cNvSpPr>
            <a:spLocks noGrp="1"/>
          </p:cNvSpPr>
          <p:nvPr>
            <p:ph type="body" sz="quarter" idx="18"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125418881"/>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ubtitle, Cont, Image - White D">
    <p:spTree>
      <p:nvGrpSpPr>
        <p:cNvPr id="1" name=""/>
        <p:cNvGrpSpPr/>
        <p:nvPr/>
      </p:nvGrpSpPr>
      <p:grpSpPr>
        <a:xfrm>
          <a:off x="0" y="0"/>
          <a:ext cx="0" cy="0"/>
          <a:chOff x="0" y="0"/>
          <a:chExt cx="0" cy="0"/>
        </a:xfrm>
      </p:grpSpPr>
      <p:graphicFrame>
        <p:nvGraphicFramePr>
          <p:cNvPr id="4" name="think-cell data - do not delete">
            <a:extLst>
              <a:ext uri="{FF2B5EF4-FFF2-40B4-BE49-F238E27FC236}">
                <a16:creationId xmlns:a16="http://schemas.microsoft.com/office/drawing/2014/main" id="{1E3F8525-4ED3-A7BC-71EF-B89319F66CDF}"/>
              </a:ext>
            </a:extLst>
          </p:cNvPr>
          <p:cNvGraphicFramePr>
            <a:graphicFrameLocks noChangeAspect="1"/>
          </p:cNvGraphicFramePr>
          <p:nvPr userDrawn="1">
            <p:custDataLst>
              <p:tags r:id="rId1"/>
            </p:custDataLst>
            <p:extLst>
              <p:ext uri="{D42A27DB-BD31-4B8C-83A1-F6EECF244321}">
                <p14:modId xmlns:p14="http://schemas.microsoft.com/office/powerpoint/2010/main" val="4011080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think-cell data - do not delete">
                        <a:extLst>
                          <a:ext uri="{FF2B5EF4-FFF2-40B4-BE49-F238E27FC236}">
                            <a16:creationId xmlns:a16="http://schemas.microsoft.com/office/drawing/2014/main" id="{1E3F8525-4ED3-A7BC-71EF-B89319F66C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A0CF35C-1CDD-A322-12F8-8F27579B56F8}"/>
              </a:ext>
            </a:extLst>
          </p:cNvPr>
          <p:cNvSpPr>
            <a:spLocks noGrp="1"/>
          </p:cNvSpPr>
          <p:nvPr>
            <p:ph type="title"/>
          </p:nvPr>
        </p:nvSpPr>
        <p:spPr>
          <a:xfrm>
            <a:off x="521208" y="324362"/>
            <a:ext cx="5574792" cy="944637"/>
          </a:xfrm>
          <a:prstGeom prst="rect">
            <a:avLst/>
          </a:prstGeom>
        </p:spPr>
        <p:txBody>
          <a:bodyPr/>
          <a:lstStyle/>
          <a:p>
            <a:r>
              <a:rPr lang="en-US"/>
              <a:t>Click to edit Master title style</a:t>
            </a:r>
          </a:p>
        </p:txBody>
      </p:sp>
      <p:sp>
        <p:nvSpPr>
          <p:cNvPr id="7" name="Subtitle 2">
            <a:extLst>
              <a:ext uri="{FF2B5EF4-FFF2-40B4-BE49-F238E27FC236}">
                <a16:creationId xmlns:a16="http://schemas.microsoft.com/office/drawing/2014/main" id="{C1201DE4-B349-AFBB-BCCF-941135F7C58F}"/>
              </a:ext>
            </a:extLst>
          </p:cNvPr>
          <p:cNvSpPr>
            <a:spLocks noGrp="1"/>
          </p:cNvSpPr>
          <p:nvPr>
            <p:ph type="body" sz="quarter" idx="17" hasCustomPrompt="1"/>
          </p:nvPr>
        </p:nvSpPr>
        <p:spPr>
          <a:xfrm>
            <a:off x="521208" y="1270518"/>
            <a:ext cx="5574792"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3" name="Content Placeholder 2">
            <a:extLst>
              <a:ext uri="{FF2B5EF4-FFF2-40B4-BE49-F238E27FC236}">
                <a16:creationId xmlns:a16="http://schemas.microsoft.com/office/drawing/2014/main" id="{F2FB5263-7D19-D5F7-ADAD-9B4315E61BE1}"/>
              </a:ext>
            </a:extLst>
          </p:cNvPr>
          <p:cNvSpPr>
            <a:spLocks noGrp="1"/>
          </p:cNvSpPr>
          <p:nvPr>
            <p:ph idx="1"/>
          </p:nvPr>
        </p:nvSpPr>
        <p:spPr>
          <a:xfrm>
            <a:off x="521207" y="1774800"/>
            <a:ext cx="5574791"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Picture Placeholder 5">
            <a:extLst>
              <a:ext uri="{FF2B5EF4-FFF2-40B4-BE49-F238E27FC236}">
                <a16:creationId xmlns:a16="http://schemas.microsoft.com/office/drawing/2014/main" id="{0836C864-2E1B-F41D-9435-2BAFE73305A6}"/>
              </a:ext>
            </a:extLst>
          </p:cNvPr>
          <p:cNvSpPr>
            <a:spLocks noGrp="1" noChangeAspect="1"/>
          </p:cNvSpPr>
          <p:nvPr>
            <p:ph type="pic" sz="quarter" idx="13" hasCustomPrompt="1"/>
          </p:nvPr>
        </p:nvSpPr>
        <p:spPr>
          <a:xfrm>
            <a:off x="6887851" y="1268250"/>
            <a:ext cx="4781566" cy="4781700"/>
          </a:xfrm>
          <a:custGeom>
            <a:avLst/>
            <a:gdLst>
              <a:gd name="connsiteX0" fmla="*/ 2810626 w 5621249"/>
              <a:gd name="connsiteY0" fmla="*/ 0 h 5886870"/>
              <a:gd name="connsiteX1" fmla="*/ 5621249 w 5621249"/>
              <a:gd name="connsiteY1" fmla="*/ 1455691 h 5886870"/>
              <a:gd name="connsiteX2" fmla="*/ 5621249 w 5621249"/>
              <a:gd name="connsiteY2" fmla="*/ 4431180 h 5886870"/>
              <a:gd name="connsiteX3" fmla="*/ 2810626 w 5621249"/>
              <a:gd name="connsiteY3" fmla="*/ 5886870 h 5886870"/>
              <a:gd name="connsiteX4" fmla="*/ 0 w 5621249"/>
              <a:gd name="connsiteY4" fmla="*/ 4431180 h 5886870"/>
              <a:gd name="connsiteX5" fmla="*/ 0 w 5621249"/>
              <a:gd name="connsiteY5" fmla="*/ 1455691 h 5886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21249" h="5886870">
                <a:moveTo>
                  <a:pt x="2810626" y="0"/>
                </a:moveTo>
                <a:lnTo>
                  <a:pt x="5621249" y="1455691"/>
                </a:lnTo>
                <a:lnTo>
                  <a:pt x="5621249" y="4431180"/>
                </a:lnTo>
                <a:lnTo>
                  <a:pt x="2810626" y="5886870"/>
                </a:lnTo>
                <a:lnTo>
                  <a:pt x="0" y="4431180"/>
                </a:lnTo>
                <a:lnTo>
                  <a:pt x="0" y="1455691"/>
                </a:lnTo>
                <a:close/>
              </a:path>
            </a:pathLst>
          </a:custGeom>
          <a:solidFill>
            <a:schemeClr val="bg1">
              <a:lumMod val="95000"/>
            </a:schemeClr>
          </a:solidFill>
        </p:spPr>
        <p:txBody>
          <a:bodyPr wrap="square" lIns="203200" tIns="201600" rIns="201600" bIns="201600" anchor="ctr" anchorCtr="0">
            <a:noAutofit/>
          </a:bodyPr>
          <a:lstStyle>
            <a:lvl1pPr algn="ctr">
              <a:defRPr/>
            </a:lvl1pPr>
          </a:lstStyle>
          <a:p>
            <a:r>
              <a:rPr lang="en-US"/>
              <a:t>Click icon to insert an image</a:t>
            </a:r>
          </a:p>
        </p:txBody>
      </p:sp>
      <p:sp>
        <p:nvSpPr>
          <p:cNvPr id="5" name="Slide Number Placeholder 4">
            <a:extLst>
              <a:ext uri="{FF2B5EF4-FFF2-40B4-BE49-F238E27FC236}">
                <a16:creationId xmlns:a16="http://schemas.microsoft.com/office/drawing/2014/main" id="{A450C16C-4FD2-3762-E85A-31E72A8271C6}"/>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8" name="Text Placeholder 7">
            <a:extLst>
              <a:ext uri="{FF2B5EF4-FFF2-40B4-BE49-F238E27FC236}">
                <a16:creationId xmlns:a16="http://schemas.microsoft.com/office/drawing/2014/main" id="{89EE7AA3-B876-1959-58EE-A99EF46D242D}"/>
              </a:ext>
            </a:extLst>
          </p:cNvPr>
          <p:cNvSpPr>
            <a:spLocks noGrp="1"/>
          </p:cNvSpPr>
          <p:nvPr>
            <p:ph type="body" sz="quarter" idx="18"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
        <p:nvSpPr>
          <p:cNvPr id="9" name="footnotes">
            <a:extLst>
              <a:ext uri="{FF2B5EF4-FFF2-40B4-BE49-F238E27FC236}">
                <a16:creationId xmlns:a16="http://schemas.microsoft.com/office/drawing/2014/main" id="{40CDD296-6ABD-D769-FE8E-82EC1FBEAC86}"/>
              </a:ext>
            </a:extLst>
          </p:cNvPr>
          <p:cNvSpPr>
            <a:spLocks noGrp="1"/>
          </p:cNvSpPr>
          <p:nvPr>
            <p:ph type="body" sz="quarter" idx="14" hasCustomPrompt="1"/>
          </p:nvPr>
        </p:nvSpPr>
        <p:spPr>
          <a:xfrm>
            <a:off x="806402" y="6049950"/>
            <a:ext cx="5289596"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365361785"/>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ubtitle, Cont, Image - White E">
    <p:spTree>
      <p:nvGrpSpPr>
        <p:cNvPr id="1" name=""/>
        <p:cNvGrpSpPr/>
        <p:nvPr/>
      </p:nvGrpSpPr>
      <p:grpSpPr>
        <a:xfrm>
          <a:off x="0" y="0"/>
          <a:ext cx="0" cy="0"/>
          <a:chOff x="0" y="0"/>
          <a:chExt cx="0" cy="0"/>
        </a:xfrm>
      </p:grpSpPr>
      <p:graphicFrame>
        <p:nvGraphicFramePr>
          <p:cNvPr id="5" name="think-cell data - do not delete">
            <a:extLst>
              <a:ext uri="{FF2B5EF4-FFF2-40B4-BE49-F238E27FC236}">
                <a16:creationId xmlns:a16="http://schemas.microsoft.com/office/drawing/2014/main" id="{A75AA571-FDD8-906D-5A68-8B7280CD7984}"/>
              </a:ext>
            </a:extLst>
          </p:cNvPr>
          <p:cNvGraphicFramePr>
            <a:graphicFrameLocks noChangeAspect="1"/>
          </p:cNvGraphicFramePr>
          <p:nvPr userDrawn="1">
            <p:custDataLst>
              <p:tags r:id="rId1"/>
            </p:custDataLst>
            <p:extLst>
              <p:ext uri="{D42A27DB-BD31-4B8C-83A1-F6EECF244321}">
                <p14:modId xmlns:p14="http://schemas.microsoft.com/office/powerpoint/2010/main" val="4011080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think-cell data - do not delete">
                        <a:extLst>
                          <a:ext uri="{FF2B5EF4-FFF2-40B4-BE49-F238E27FC236}">
                            <a16:creationId xmlns:a16="http://schemas.microsoft.com/office/drawing/2014/main" id="{A75AA571-FDD8-906D-5A68-8B7280CD79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0BC0235-0706-C595-7DC9-A8A2ABA2F356}"/>
              </a:ext>
            </a:extLst>
          </p:cNvPr>
          <p:cNvSpPr>
            <a:spLocks noGrp="1"/>
          </p:cNvSpPr>
          <p:nvPr>
            <p:ph type="title"/>
          </p:nvPr>
        </p:nvSpPr>
        <p:spPr>
          <a:xfrm>
            <a:off x="6095999" y="324362"/>
            <a:ext cx="5574790" cy="944637"/>
          </a:xfrm>
          <a:prstGeom prst="rect">
            <a:avLst/>
          </a:prstGeom>
        </p:spPr>
        <p:txBody>
          <a:bodyPr/>
          <a:lstStyle/>
          <a:p>
            <a:r>
              <a:rPr lang="en-US"/>
              <a:t>Click to edit Master title style</a:t>
            </a:r>
          </a:p>
        </p:txBody>
      </p:sp>
      <p:sp>
        <p:nvSpPr>
          <p:cNvPr id="9" name="Subtitle 2">
            <a:extLst>
              <a:ext uri="{FF2B5EF4-FFF2-40B4-BE49-F238E27FC236}">
                <a16:creationId xmlns:a16="http://schemas.microsoft.com/office/drawing/2014/main" id="{FA9336B0-F4CA-865C-C61D-B6D7F43F5130}"/>
              </a:ext>
            </a:extLst>
          </p:cNvPr>
          <p:cNvSpPr>
            <a:spLocks noGrp="1"/>
          </p:cNvSpPr>
          <p:nvPr>
            <p:ph type="body" sz="quarter" idx="17" hasCustomPrompt="1"/>
          </p:nvPr>
        </p:nvSpPr>
        <p:spPr>
          <a:xfrm>
            <a:off x="6095998" y="1270518"/>
            <a:ext cx="5574790"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4" name="Content Placeholder 2">
            <a:extLst>
              <a:ext uri="{FF2B5EF4-FFF2-40B4-BE49-F238E27FC236}">
                <a16:creationId xmlns:a16="http://schemas.microsoft.com/office/drawing/2014/main" id="{3A97F0B8-7A42-B657-AE37-811510FDB77B}"/>
              </a:ext>
            </a:extLst>
          </p:cNvPr>
          <p:cNvSpPr>
            <a:spLocks noGrp="1"/>
          </p:cNvSpPr>
          <p:nvPr>
            <p:ph idx="1"/>
          </p:nvPr>
        </p:nvSpPr>
        <p:spPr>
          <a:xfrm>
            <a:off x="6095998" y="1774800"/>
            <a:ext cx="5574790"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Picture Placeholder 6">
            <a:extLst>
              <a:ext uri="{FF2B5EF4-FFF2-40B4-BE49-F238E27FC236}">
                <a16:creationId xmlns:a16="http://schemas.microsoft.com/office/drawing/2014/main" id="{8E6E698B-4E80-CAB9-E1ED-F9444A921692}"/>
              </a:ext>
            </a:extLst>
          </p:cNvPr>
          <p:cNvSpPr>
            <a:spLocks noGrp="1"/>
          </p:cNvSpPr>
          <p:nvPr>
            <p:ph type="pic" sz="quarter" idx="19" hasCustomPrompt="1"/>
          </p:nvPr>
        </p:nvSpPr>
        <p:spPr>
          <a:xfrm>
            <a:off x="0" y="-4"/>
            <a:ext cx="5627995" cy="6858006"/>
          </a:xfrm>
          <a:custGeom>
            <a:avLst/>
            <a:gdLst>
              <a:gd name="connsiteX0" fmla="*/ 0 w 5627995"/>
              <a:gd name="connsiteY0" fmla="*/ 0 h 6858006"/>
              <a:gd name="connsiteX1" fmla="*/ 3000000 w 5627995"/>
              <a:gd name="connsiteY1" fmla="*/ 0 h 6858006"/>
              <a:gd name="connsiteX2" fmla="*/ 3000000 w 5627995"/>
              <a:gd name="connsiteY2" fmla="*/ 11 h 6858006"/>
              <a:gd name="connsiteX3" fmla="*/ 3714196 w 5627995"/>
              <a:gd name="connsiteY3" fmla="*/ 11 h 6858006"/>
              <a:gd name="connsiteX4" fmla="*/ 5627995 w 5627995"/>
              <a:gd name="connsiteY4" fmla="*/ 3429006 h 6858006"/>
              <a:gd name="connsiteX5" fmla="*/ 3714196 w 5627995"/>
              <a:gd name="connsiteY5" fmla="*/ 6858006 h 6858006"/>
              <a:gd name="connsiteX6" fmla="*/ 0 w 5627995"/>
              <a:gd name="connsiteY6" fmla="*/ 6858006 h 6858006"/>
              <a:gd name="connsiteX7" fmla="*/ 0 w 5627995"/>
              <a:gd name="connsiteY7" fmla="*/ 6858003 h 6858006"/>
              <a:gd name="connsiteX8" fmla="*/ 0 w 5627995"/>
              <a:gd name="connsiteY8" fmla="*/ 11 h 6858006"/>
              <a:gd name="connsiteX0" fmla="*/ 0 w 5627995"/>
              <a:gd name="connsiteY0" fmla="*/ 0 h 6858006"/>
              <a:gd name="connsiteX1" fmla="*/ 3000000 w 5627995"/>
              <a:gd name="connsiteY1" fmla="*/ 0 h 6858006"/>
              <a:gd name="connsiteX2" fmla="*/ 3714196 w 5627995"/>
              <a:gd name="connsiteY2" fmla="*/ 11 h 6858006"/>
              <a:gd name="connsiteX3" fmla="*/ 5627995 w 5627995"/>
              <a:gd name="connsiteY3" fmla="*/ 3429006 h 6858006"/>
              <a:gd name="connsiteX4" fmla="*/ 3714196 w 5627995"/>
              <a:gd name="connsiteY4" fmla="*/ 6858006 h 6858006"/>
              <a:gd name="connsiteX5" fmla="*/ 0 w 5627995"/>
              <a:gd name="connsiteY5" fmla="*/ 6858006 h 6858006"/>
              <a:gd name="connsiteX6" fmla="*/ 0 w 5627995"/>
              <a:gd name="connsiteY6" fmla="*/ 6858003 h 6858006"/>
              <a:gd name="connsiteX7" fmla="*/ 0 w 5627995"/>
              <a:gd name="connsiteY7" fmla="*/ 11 h 6858006"/>
              <a:gd name="connsiteX8" fmla="*/ 0 w 5627995"/>
              <a:gd name="connsiteY8" fmla="*/ 0 h 6858006"/>
              <a:gd name="connsiteX0" fmla="*/ 0 w 5627995"/>
              <a:gd name="connsiteY0" fmla="*/ 0 h 6858006"/>
              <a:gd name="connsiteX1" fmla="*/ 3714196 w 5627995"/>
              <a:gd name="connsiteY1" fmla="*/ 11 h 6858006"/>
              <a:gd name="connsiteX2" fmla="*/ 5627995 w 5627995"/>
              <a:gd name="connsiteY2" fmla="*/ 3429006 h 6858006"/>
              <a:gd name="connsiteX3" fmla="*/ 3714196 w 5627995"/>
              <a:gd name="connsiteY3" fmla="*/ 6858006 h 6858006"/>
              <a:gd name="connsiteX4" fmla="*/ 0 w 5627995"/>
              <a:gd name="connsiteY4" fmla="*/ 6858006 h 6858006"/>
              <a:gd name="connsiteX5" fmla="*/ 0 w 5627995"/>
              <a:gd name="connsiteY5" fmla="*/ 6858003 h 6858006"/>
              <a:gd name="connsiteX6" fmla="*/ 0 w 5627995"/>
              <a:gd name="connsiteY6" fmla="*/ 11 h 6858006"/>
              <a:gd name="connsiteX7" fmla="*/ 0 w 5627995"/>
              <a:gd name="connsiteY7" fmla="*/ 0 h 68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27995" h="6858006">
                <a:moveTo>
                  <a:pt x="0" y="0"/>
                </a:moveTo>
                <a:lnTo>
                  <a:pt x="3714196" y="11"/>
                </a:lnTo>
                <a:lnTo>
                  <a:pt x="5627995" y="3429006"/>
                </a:lnTo>
                <a:lnTo>
                  <a:pt x="3714196" y="6858006"/>
                </a:lnTo>
                <a:lnTo>
                  <a:pt x="0" y="6858006"/>
                </a:lnTo>
                <a:lnTo>
                  <a:pt x="0" y="6858003"/>
                </a:lnTo>
                <a:lnTo>
                  <a:pt x="0" y="11"/>
                </a:lnTo>
                <a:lnTo>
                  <a:pt x="0" y="0"/>
                </a:lnTo>
                <a:close/>
              </a:path>
            </a:pathLst>
          </a:custGeom>
          <a:solidFill>
            <a:schemeClr val="bg1">
              <a:lumMod val="95000"/>
            </a:schemeClr>
          </a:solidFill>
        </p:spPr>
        <p:txBody>
          <a:bodyPr vert="horz" wrap="square" lIns="201600" tIns="201600" rIns="201600" bIns="201600" rtlCol="0">
            <a:noAutofit/>
          </a:bodyPr>
          <a:lstStyle>
            <a:lvl1pPr>
              <a:defRPr lang="nl-NL"/>
            </a:lvl1pPr>
          </a:lstStyle>
          <a:p>
            <a:r>
              <a:rPr lang="en-US"/>
              <a:t>Click icon to insert an image</a:t>
            </a:r>
          </a:p>
        </p:txBody>
      </p:sp>
      <p:sp>
        <p:nvSpPr>
          <p:cNvPr id="6" name="Slide Number Placeholder 5">
            <a:extLst>
              <a:ext uri="{FF2B5EF4-FFF2-40B4-BE49-F238E27FC236}">
                <a16:creationId xmlns:a16="http://schemas.microsoft.com/office/drawing/2014/main" id="{2A60036F-0EFD-9372-6E0A-038761FCF5E7}"/>
              </a:ext>
              <a:ext uri="{C183D7F6-B498-43B3-948B-1728B52AA6E4}">
                <adec:decorative xmlns:adec="http://schemas.microsoft.com/office/drawing/2017/decorative" val="1"/>
              </a:ext>
            </a:extLst>
          </p:cNvPr>
          <p:cNvSpPr>
            <a:spLocks noGrp="1"/>
          </p:cNvSpPr>
          <p:nvPr>
            <p:ph type="sldNum" sz="quarter" idx="18"/>
          </p:nvPr>
        </p:nvSpPr>
        <p:spPr/>
        <p:txBody>
          <a:bodyPr/>
          <a:lstStyle/>
          <a:p>
            <a:fld id="{1C1606C5-D483-4832-A0E9-CF578A9B5883}" type="slidenum">
              <a:rPr lang="en-US" smtClean="0"/>
              <a:pPr/>
              <a:t>‹#›</a:t>
            </a:fld>
            <a:endParaRPr lang="en-US"/>
          </a:p>
        </p:txBody>
      </p:sp>
      <p:sp>
        <p:nvSpPr>
          <p:cNvPr id="8" name="footnotes">
            <a:extLst>
              <a:ext uri="{FF2B5EF4-FFF2-40B4-BE49-F238E27FC236}">
                <a16:creationId xmlns:a16="http://schemas.microsoft.com/office/drawing/2014/main" id="{6A5D82C3-1D73-E41A-E481-419DB579B82C}"/>
              </a:ext>
            </a:extLst>
          </p:cNvPr>
          <p:cNvSpPr>
            <a:spLocks noGrp="1"/>
          </p:cNvSpPr>
          <p:nvPr>
            <p:ph type="body" sz="quarter" idx="14" hasCustomPrompt="1"/>
          </p:nvPr>
        </p:nvSpPr>
        <p:spPr>
          <a:xfrm>
            <a:off x="6095998" y="6049950"/>
            <a:ext cx="3703202"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3" name="Text Placeholder 7">
            <a:extLst>
              <a:ext uri="{FF2B5EF4-FFF2-40B4-BE49-F238E27FC236}">
                <a16:creationId xmlns:a16="http://schemas.microsoft.com/office/drawing/2014/main" id="{A124B768-DE26-828A-85B0-4E8AF6246FD2}"/>
              </a:ext>
            </a:extLst>
          </p:cNvPr>
          <p:cNvSpPr>
            <a:spLocks noGrp="1"/>
          </p:cNvSpPr>
          <p:nvPr>
            <p:ph type="body" sz="quarter" idx="20" hasCustomPrompt="1"/>
          </p:nvPr>
        </p:nvSpPr>
        <p:spPr>
          <a:xfrm>
            <a:off x="1100957" y="6313320"/>
            <a:ext cx="1014772" cy="298870"/>
          </a:xfrm>
          <a:prstGeom prst="rect">
            <a:avLst/>
          </a:prstGeom>
          <a:solidFill>
            <a:srgbClr val="1D2550"/>
          </a:solidFill>
        </p:spPr>
        <p:txBody>
          <a:bodyPr wrap="none" lIns="75600" tIns="75600" rIns="75600" bIns="75600" anchor="b" anchorCtr="0">
            <a:spAutoFit/>
          </a:bodyPr>
          <a:lstStyle>
            <a:lvl1pPr algn="l">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1444461766"/>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itle, Subtitle, Cont, Image - White F">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BD084E3F-6B60-F2AC-3050-F41C300549CD}"/>
              </a:ext>
            </a:extLst>
          </p:cNvPr>
          <p:cNvGraphicFramePr>
            <a:graphicFrameLocks noChangeAspect="1"/>
          </p:cNvGraphicFramePr>
          <p:nvPr userDrawn="1">
            <p:custDataLst>
              <p:tags r:id="rId1"/>
            </p:custDataLst>
            <p:extLst>
              <p:ext uri="{D42A27DB-BD31-4B8C-83A1-F6EECF244321}">
                <p14:modId xmlns:p14="http://schemas.microsoft.com/office/powerpoint/2010/main" val="2756570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BD084E3F-6B60-F2AC-3050-F41C300549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B0E68E7-6C81-A798-AAE3-0C79EEED544C}"/>
              </a:ext>
            </a:extLst>
          </p:cNvPr>
          <p:cNvSpPr>
            <a:spLocks noGrp="1"/>
          </p:cNvSpPr>
          <p:nvPr>
            <p:ph type="title"/>
          </p:nvPr>
        </p:nvSpPr>
        <p:spPr>
          <a:xfrm>
            <a:off x="521208" y="324362"/>
            <a:ext cx="4854792" cy="944637"/>
          </a:xfrm>
          <a:prstGeom prst="rect">
            <a:avLst/>
          </a:prstGeom>
        </p:spPr>
        <p:txBody>
          <a:bodyPr/>
          <a:lstStyle/>
          <a:p>
            <a:r>
              <a:rPr lang="en-US"/>
              <a:t>Click to edit Master title style</a:t>
            </a:r>
          </a:p>
        </p:txBody>
      </p:sp>
      <p:sp>
        <p:nvSpPr>
          <p:cNvPr id="14" name="Subtitle 2">
            <a:extLst>
              <a:ext uri="{FF2B5EF4-FFF2-40B4-BE49-F238E27FC236}">
                <a16:creationId xmlns:a16="http://schemas.microsoft.com/office/drawing/2014/main" id="{67DD1ED6-F227-6467-1402-DDB75FC9C1F7}"/>
              </a:ext>
            </a:extLst>
          </p:cNvPr>
          <p:cNvSpPr>
            <a:spLocks noGrp="1"/>
          </p:cNvSpPr>
          <p:nvPr>
            <p:ph type="body" sz="quarter" idx="17" hasCustomPrompt="1"/>
          </p:nvPr>
        </p:nvSpPr>
        <p:spPr>
          <a:xfrm>
            <a:off x="521208" y="1270518"/>
            <a:ext cx="4854792"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13" name="Content Placeholder 2">
            <a:extLst>
              <a:ext uri="{FF2B5EF4-FFF2-40B4-BE49-F238E27FC236}">
                <a16:creationId xmlns:a16="http://schemas.microsoft.com/office/drawing/2014/main" id="{80644F2B-6CE2-6AA7-39B4-7943BE9EC67C}"/>
              </a:ext>
            </a:extLst>
          </p:cNvPr>
          <p:cNvSpPr>
            <a:spLocks noGrp="1"/>
          </p:cNvSpPr>
          <p:nvPr>
            <p:ph idx="1"/>
          </p:nvPr>
        </p:nvSpPr>
        <p:spPr>
          <a:xfrm>
            <a:off x="521208" y="1774800"/>
            <a:ext cx="4854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2" name="Picture Placeholder">
            <a:extLst>
              <a:ext uri="{FF2B5EF4-FFF2-40B4-BE49-F238E27FC236}">
                <a16:creationId xmlns:a16="http://schemas.microsoft.com/office/drawing/2014/main" id="{7CD72D88-5D1D-E74A-AFD3-2B5784D66EEC}"/>
              </a:ext>
            </a:extLst>
          </p:cNvPr>
          <p:cNvSpPr>
            <a:spLocks noGrp="1"/>
          </p:cNvSpPr>
          <p:nvPr>
            <p:ph type="pic" sz="quarter" idx="13" hasCustomPrompt="1"/>
          </p:nvPr>
        </p:nvSpPr>
        <p:spPr>
          <a:xfrm>
            <a:off x="5628001" y="1"/>
            <a:ext cx="6563999" cy="6857999"/>
          </a:xfrm>
          <a:custGeom>
            <a:avLst/>
            <a:gdLst>
              <a:gd name="connsiteX0" fmla="*/ 4397477 w 6563999"/>
              <a:gd name="connsiteY0" fmla="*/ 0 h 6857999"/>
              <a:gd name="connsiteX1" fmla="*/ 6563999 w 6563999"/>
              <a:gd name="connsiteY1" fmla="*/ 0 h 6857999"/>
              <a:gd name="connsiteX2" fmla="*/ 6563999 w 6563999"/>
              <a:gd name="connsiteY2" fmla="*/ 6857999 h 6857999"/>
              <a:gd name="connsiteX3" fmla="*/ 4397477 w 6563999"/>
              <a:gd name="connsiteY3" fmla="*/ 6857999 h 6857999"/>
              <a:gd name="connsiteX4" fmla="*/ 1215509 w 6563999"/>
              <a:gd name="connsiteY4" fmla="*/ 5548121 h 6857999"/>
              <a:gd name="connsiteX5" fmla="*/ 0 w 6563999"/>
              <a:gd name="connsiteY5" fmla="*/ 3429000 h 6857999"/>
              <a:gd name="connsiteX6" fmla="*/ 1215509 w 6563999"/>
              <a:gd name="connsiteY6" fmla="*/ 1309878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63999" h="6857999">
                <a:moveTo>
                  <a:pt x="4397477" y="0"/>
                </a:moveTo>
                <a:lnTo>
                  <a:pt x="6563999" y="0"/>
                </a:lnTo>
                <a:lnTo>
                  <a:pt x="6563999" y="6857999"/>
                </a:lnTo>
                <a:lnTo>
                  <a:pt x="4397477" y="6857999"/>
                </a:lnTo>
                <a:lnTo>
                  <a:pt x="1215509" y="5548121"/>
                </a:lnTo>
                <a:lnTo>
                  <a:pt x="0" y="3429000"/>
                </a:lnTo>
                <a:lnTo>
                  <a:pt x="1215509" y="1309878"/>
                </a:lnTo>
                <a:close/>
              </a:path>
            </a:pathLst>
          </a:custGeom>
          <a:solidFill>
            <a:schemeClr val="bg1">
              <a:lumMod val="95000"/>
            </a:schemeClr>
          </a:solidFill>
        </p:spPr>
        <p:txBody>
          <a:bodyPr wrap="square" lIns="203200" tIns="201600" rIns="201600" bIns="201600" anchor="ctr" anchorCtr="0">
            <a:noAutofit/>
          </a:bodyPr>
          <a:lstStyle>
            <a:lvl1pPr algn="ctr">
              <a:defRPr/>
            </a:lvl1pPr>
          </a:lstStyle>
          <a:p>
            <a:r>
              <a:rPr lang="en-US"/>
              <a:t>Click icon to insert an image</a:t>
            </a:r>
          </a:p>
        </p:txBody>
      </p:sp>
      <p:sp>
        <p:nvSpPr>
          <p:cNvPr id="5" name="Slide Number Placeholder 4">
            <a:extLst>
              <a:ext uri="{FF2B5EF4-FFF2-40B4-BE49-F238E27FC236}">
                <a16:creationId xmlns:a16="http://schemas.microsoft.com/office/drawing/2014/main" id="{A450C16C-4FD2-3762-E85A-31E72A8271C6}"/>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9" name="footnotes">
            <a:extLst>
              <a:ext uri="{FF2B5EF4-FFF2-40B4-BE49-F238E27FC236}">
                <a16:creationId xmlns:a16="http://schemas.microsoft.com/office/drawing/2014/main" id="{178136EF-4EE6-DEB1-B0A1-0DB2E0D45D6A}"/>
              </a:ext>
            </a:extLst>
          </p:cNvPr>
          <p:cNvSpPr>
            <a:spLocks noGrp="1"/>
          </p:cNvSpPr>
          <p:nvPr>
            <p:ph type="body" sz="quarter" idx="14" hasCustomPrompt="1"/>
          </p:nvPr>
        </p:nvSpPr>
        <p:spPr>
          <a:xfrm>
            <a:off x="806401" y="6049950"/>
            <a:ext cx="4569599"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6" name="Text Placeholder 7">
            <a:extLst>
              <a:ext uri="{FF2B5EF4-FFF2-40B4-BE49-F238E27FC236}">
                <a16:creationId xmlns:a16="http://schemas.microsoft.com/office/drawing/2014/main" id="{40EAFC22-3ADC-8FAC-A0F8-1E5D9143158E}"/>
              </a:ext>
            </a:extLst>
          </p:cNvPr>
          <p:cNvSpPr>
            <a:spLocks noGrp="1"/>
          </p:cNvSpPr>
          <p:nvPr>
            <p:ph type="body" sz="quarter" idx="32" hasCustomPrompt="1"/>
          </p:nvPr>
        </p:nvSpPr>
        <p:spPr>
          <a:xfrm>
            <a:off x="10836865" y="246565"/>
            <a:ext cx="1014771" cy="298870"/>
          </a:xfrm>
          <a:prstGeom prst="rect">
            <a:avLst/>
          </a:prstGeom>
          <a:solidFill>
            <a:srgbClr val="1D2550"/>
          </a:solidFill>
        </p:spPr>
        <p:txBody>
          <a:bodyPr wrap="none" lIns="75600" tIns="75600" rIns="75600" bIns="75600" anchor="t"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232641708"/>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le, Subtitle, Cont, Image - Light Bk A">
    <p:bg>
      <p:bgPr>
        <a:solidFill>
          <a:srgbClr val="E7FF00"/>
        </a:solidFill>
        <a:effectLst/>
      </p:bgPr>
    </p:bg>
    <p:spTree>
      <p:nvGrpSpPr>
        <p:cNvPr id="1" name=""/>
        <p:cNvGrpSpPr/>
        <p:nvPr/>
      </p:nvGrpSpPr>
      <p:grpSpPr>
        <a:xfrm>
          <a:off x="0" y="0"/>
          <a:ext cx="0" cy="0"/>
          <a:chOff x="0" y="0"/>
          <a:chExt cx="0" cy="0"/>
        </a:xfrm>
      </p:grpSpPr>
      <p:pic>
        <p:nvPicPr>
          <p:cNvPr id="10" name="logo sm" descr="Transamerica Logo">
            <a:extLst>
              <a:ext uri="{FF2B5EF4-FFF2-40B4-BE49-F238E27FC236}">
                <a16:creationId xmlns:a16="http://schemas.microsoft.com/office/drawing/2014/main" id="{3078B632-E025-4EA5-CBA6-B70904F379D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799200" y="6053051"/>
            <a:ext cx="2138399" cy="804949"/>
          </a:xfrm>
          <a:prstGeom prst="rect">
            <a:avLst/>
          </a:prstGeom>
        </p:spPr>
      </p:pic>
      <p:sp>
        <p:nvSpPr>
          <p:cNvPr id="8" name="Title 7">
            <a:extLst>
              <a:ext uri="{FF2B5EF4-FFF2-40B4-BE49-F238E27FC236}">
                <a16:creationId xmlns:a16="http://schemas.microsoft.com/office/drawing/2014/main" id="{9D949020-569A-BB4A-146E-EF26E7985E6D}"/>
              </a:ext>
            </a:extLst>
          </p:cNvPr>
          <p:cNvSpPr>
            <a:spLocks noGrp="1"/>
          </p:cNvSpPr>
          <p:nvPr>
            <p:ph type="title"/>
          </p:nvPr>
        </p:nvSpPr>
        <p:spPr>
          <a:xfrm>
            <a:off x="521208" y="324362"/>
            <a:ext cx="5574792" cy="944637"/>
          </a:xfrm>
          <a:prstGeom prst="rect">
            <a:avLst/>
          </a:prstGeom>
        </p:spPr>
        <p:txBody>
          <a:bodyPr/>
          <a:lstStyle>
            <a:lvl1pPr>
              <a:defRPr>
                <a:solidFill>
                  <a:schemeClr val="tx1"/>
                </a:solidFill>
              </a:defRPr>
            </a:lvl1pPr>
          </a:lstStyle>
          <a:p>
            <a:r>
              <a:rPr lang="en-US"/>
              <a:t>Click to edit Master title style</a:t>
            </a:r>
          </a:p>
        </p:txBody>
      </p:sp>
      <p:sp>
        <p:nvSpPr>
          <p:cNvPr id="12" name="Subtitle 2">
            <a:extLst>
              <a:ext uri="{FF2B5EF4-FFF2-40B4-BE49-F238E27FC236}">
                <a16:creationId xmlns:a16="http://schemas.microsoft.com/office/drawing/2014/main" id="{E7804080-31FF-4578-DADD-BA74A6D0CCEC}"/>
              </a:ext>
            </a:extLst>
          </p:cNvPr>
          <p:cNvSpPr>
            <a:spLocks noGrp="1"/>
          </p:cNvSpPr>
          <p:nvPr>
            <p:ph type="body" sz="quarter" idx="16" hasCustomPrompt="1"/>
          </p:nvPr>
        </p:nvSpPr>
        <p:spPr>
          <a:xfrm>
            <a:off x="521208" y="1270518"/>
            <a:ext cx="5574790" cy="358482"/>
          </a:xfrm>
          <a:prstGeom prst="rect">
            <a:avLst/>
          </a:prstGeom>
        </p:spPr>
        <p:txBody>
          <a:bodyPr>
            <a:noAutofit/>
          </a:bodyPr>
          <a:lstStyle>
            <a:lvl1pPr>
              <a:lnSpc>
                <a:spcPct val="90000"/>
              </a:lnSpc>
              <a:defRPr sz="2200" b="0" i="0">
                <a:solidFill>
                  <a:schemeClr val="tx1"/>
                </a:solidFill>
                <a:latin typeface="Forever Forma Heading" pitchFamily="2" charset="0"/>
              </a:defRPr>
            </a:lvl1pPr>
          </a:lstStyle>
          <a:p>
            <a:pPr lvl="0"/>
            <a:r>
              <a:rPr lang="en-US"/>
              <a:t>Click to edit subtitle</a:t>
            </a:r>
          </a:p>
        </p:txBody>
      </p:sp>
      <p:sp>
        <p:nvSpPr>
          <p:cNvPr id="5" name="Content Placeholder 2">
            <a:extLst>
              <a:ext uri="{FF2B5EF4-FFF2-40B4-BE49-F238E27FC236}">
                <a16:creationId xmlns:a16="http://schemas.microsoft.com/office/drawing/2014/main" id="{C77C46BC-E8F2-AAA2-6B32-3A7A4F80DC31}"/>
              </a:ext>
            </a:extLst>
          </p:cNvPr>
          <p:cNvSpPr>
            <a:spLocks noGrp="1"/>
          </p:cNvSpPr>
          <p:nvPr>
            <p:ph sz="half" idx="1"/>
          </p:nvPr>
        </p:nvSpPr>
        <p:spPr>
          <a:xfrm>
            <a:off x="521208" y="1774800"/>
            <a:ext cx="5574790" cy="4275150"/>
          </a:xfrm>
          <a:prstGeom prst="rect">
            <a:avLst/>
          </a:prstGeom>
        </p:spPr>
        <p:txBody>
          <a:bodyPr/>
          <a:lstStyle>
            <a:lvl1pPr>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b="0" i="0">
                <a:solidFill>
                  <a:schemeClr val="tx1"/>
                </a:solidFill>
                <a:latin typeface="Forever Forma Body Text" pitchFamily="2" charset="0"/>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Picture Placeholder 6">
            <a:extLst>
              <a:ext uri="{FF2B5EF4-FFF2-40B4-BE49-F238E27FC236}">
                <a16:creationId xmlns:a16="http://schemas.microsoft.com/office/drawing/2014/main" id="{802405E5-6A7A-4021-CD56-04CA8B4A9662}"/>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6890377" y="1270799"/>
            <a:ext cx="4780411" cy="4779151"/>
          </a:xfrm>
          <a:custGeom>
            <a:avLst/>
            <a:gdLst>
              <a:gd name="connsiteX0" fmla="*/ 0 w 6836942"/>
              <a:gd name="connsiteY0" fmla="*/ 0 h 6857999"/>
              <a:gd name="connsiteX1" fmla="*/ 3318198 w 6836942"/>
              <a:gd name="connsiteY1" fmla="*/ 0 h 6857999"/>
              <a:gd name="connsiteX2" fmla="*/ 3412392 w 6836942"/>
              <a:gd name="connsiteY2" fmla="*/ 0 h 6857999"/>
              <a:gd name="connsiteX3" fmla="*/ 3424168 w 6836942"/>
              <a:gd name="connsiteY3" fmla="*/ 0 h 6857999"/>
              <a:gd name="connsiteX4" fmla="*/ 3518744 w 6836942"/>
              <a:gd name="connsiteY4" fmla="*/ 0 h 6857999"/>
              <a:gd name="connsiteX5" fmla="*/ 6836942 w 6836942"/>
              <a:gd name="connsiteY5" fmla="*/ 0 h 6857999"/>
              <a:gd name="connsiteX6" fmla="*/ 4902466 w 6836942"/>
              <a:gd name="connsiteY6" fmla="*/ 3428999 h 6857999"/>
              <a:gd name="connsiteX7" fmla="*/ 6836942 w 6836942"/>
              <a:gd name="connsiteY7" fmla="*/ 6857999 h 6857999"/>
              <a:gd name="connsiteX8" fmla="*/ 3518744 w 6836942"/>
              <a:gd name="connsiteY8" fmla="*/ 6857999 h 6857999"/>
              <a:gd name="connsiteX9" fmla="*/ 3424168 w 6836942"/>
              <a:gd name="connsiteY9" fmla="*/ 6857999 h 6857999"/>
              <a:gd name="connsiteX10" fmla="*/ 3412392 w 6836942"/>
              <a:gd name="connsiteY10" fmla="*/ 6857999 h 6857999"/>
              <a:gd name="connsiteX11" fmla="*/ 3318198 w 6836942"/>
              <a:gd name="connsiteY11" fmla="*/ 6857999 h 6857999"/>
              <a:gd name="connsiteX12" fmla="*/ 0 w 6836942"/>
              <a:gd name="connsiteY12" fmla="*/ 6857999 h 6857999"/>
              <a:gd name="connsiteX13" fmla="*/ 1934095 w 6836942"/>
              <a:gd name="connsiteY13" fmla="*/ 3428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36942" h="6857999">
                <a:moveTo>
                  <a:pt x="0" y="0"/>
                </a:moveTo>
                <a:lnTo>
                  <a:pt x="3318198" y="0"/>
                </a:lnTo>
                <a:lnTo>
                  <a:pt x="3412392" y="0"/>
                </a:lnTo>
                <a:lnTo>
                  <a:pt x="3424168" y="0"/>
                </a:lnTo>
                <a:lnTo>
                  <a:pt x="3518744" y="0"/>
                </a:lnTo>
                <a:lnTo>
                  <a:pt x="6836942" y="0"/>
                </a:lnTo>
                <a:lnTo>
                  <a:pt x="4902466" y="3428999"/>
                </a:lnTo>
                <a:lnTo>
                  <a:pt x="6836942" y="6857999"/>
                </a:lnTo>
                <a:lnTo>
                  <a:pt x="3518744" y="6857999"/>
                </a:lnTo>
                <a:lnTo>
                  <a:pt x="3424168" y="6857999"/>
                </a:lnTo>
                <a:lnTo>
                  <a:pt x="3412392" y="6857999"/>
                </a:lnTo>
                <a:lnTo>
                  <a:pt x="3318198" y="6857999"/>
                </a:lnTo>
                <a:lnTo>
                  <a:pt x="0" y="6857999"/>
                </a:lnTo>
                <a:lnTo>
                  <a:pt x="1934095" y="3428999"/>
                </a:lnTo>
                <a:close/>
              </a:path>
            </a:pathLst>
          </a:custGeom>
          <a:solidFill>
            <a:schemeClr val="bg1">
              <a:lumMod val="95000"/>
            </a:schemeClr>
          </a:solidFill>
        </p:spPr>
        <p:txBody>
          <a:bodyPr wrap="square" lIns="201600" tIns="201600" rIns="201600" bIns="201600">
            <a:noAutofit/>
          </a:bodyPr>
          <a:lstStyle>
            <a:lvl1pPr algn="ctr">
              <a:defRPr>
                <a:solidFill>
                  <a:schemeClr val="tx1"/>
                </a:solidFill>
              </a:defRPr>
            </a:lvl1pPr>
          </a:lstStyle>
          <a:p>
            <a:r>
              <a:rPr lang="en-US"/>
              <a:t>Click icon to insert an image</a:t>
            </a:r>
          </a:p>
        </p:txBody>
      </p:sp>
      <p:sp>
        <p:nvSpPr>
          <p:cNvPr id="3" name="Slide Number Placeholder 2">
            <a:extLst>
              <a:ext uri="{FF2B5EF4-FFF2-40B4-BE49-F238E27FC236}">
                <a16:creationId xmlns:a16="http://schemas.microsoft.com/office/drawing/2014/main" id="{B906E6C0-9859-78F0-3B8F-18262328F079}"/>
              </a:ext>
              <a:ext uri="{C183D7F6-B498-43B3-948B-1728B52AA6E4}">
                <adec:decorative xmlns:adec="http://schemas.microsoft.com/office/drawing/2017/decorative" val="1"/>
              </a:ext>
            </a:extLst>
          </p:cNvPr>
          <p:cNvSpPr>
            <a:spLocks noGrp="1"/>
          </p:cNvSpPr>
          <p:nvPr>
            <p:ph type="sldNum" sz="quarter" idx="19"/>
          </p:nvPr>
        </p:nvSpPr>
        <p:spPr/>
        <p:txBody>
          <a:bodyPr/>
          <a:lstStyle>
            <a:lvl1pPr>
              <a:defRPr>
                <a:solidFill>
                  <a:schemeClr val="tx1"/>
                </a:solidFill>
              </a:defRPr>
            </a:lvl1pPr>
          </a:lstStyle>
          <a:p>
            <a:fld id="{1C1606C5-D483-4832-A0E9-CF578A9B5883}" type="slidenum">
              <a:rPr lang="en-US" smtClean="0"/>
              <a:pPr/>
              <a:t>‹#›</a:t>
            </a:fld>
            <a:endParaRPr lang="en-US"/>
          </a:p>
        </p:txBody>
      </p:sp>
      <p:sp>
        <p:nvSpPr>
          <p:cNvPr id="14" name="footnotes">
            <a:extLst>
              <a:ext uri="{FF2B5EF4-FFF2-40B4-BE49-F238E27FC236}">
                <a16:creationId xmlns:a16="http://schemas.microsoft.com/office/drawing/2014/main" id="{36260FBB-67FD-F459-518F-A24DCA07592F}"/>
              </a:ext>
            </a:extLst>
          </p:cNvPr>
          <p:cNvSpPr>
            <a:spLocks noGrp="1"/>
          </p:cNvSpPr>
          <p:nvPr>
            <p:ph type="body" sz="quarter" idx="14" hasCustomPrompt="1"/>
          </p:nvPr>
        </p:nvSpPr>
        <p:spPr>
          <a:xfrm>
            <a:off x="806401" y="6049950"/>
            <a:ext cx="5289597" cy="808050"/>
          </a:xfrm>
          <a:prstGeom prst="rect">
            <a:avLst/>
          </a:prstGeom>
        </p:spPr>
        <p:txBody>
          <a:bodyPr bIns="309600" anchor="b" anchorCtr="0"/>
          <a:lstStyle>
            <a:lvl1pPr>
              <a:lnSpc>
                <a:spcPct val="90000"/>
              </a:lnSpc>
              <a:spcBef>
                <a:spcPts val="0"/>
              </a:spcBef>
              <a:defRPr sz="1000">
                <a:solidFill>
                  <a:schemeClr val="tx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2" name="Group 1">
            <a:extLst>
              <a:ext uri="{FF2B5EF4-FFF2-40B4-BE49-F238E27FC236}">
                <a16:creationId xmlns:a16="http://schemas.microsoft.com/office/drawing/2014/main" id="{A58DA143-518A-FB59-7159-D5D2D1A337B2}"/>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4" name="Content Placeholder 15">
              <a:extLst>
                <a:ext uri="{FF2B5EF4-FFF2-40B4-BE49-F238E27FC236}">
                  <a16:creationId xmlns:a16="http://schemas.microsoft.com/office/drawing/2014/main" id="{947D3AA4-E368-1FA2-C1C6-0681B2875020}"/>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6" name="TextBox 5">
              <a:extLst>
                <a:ext uri="{FF2B5EF4-FFF2-40B4-BE49-F238E27FC236}">
                  <a16:creationId xmlns:a16="http://schemas.microsoft.com/office/drawing/2014/main" id="{33FE7DBB-83E3-5890-EA95-1B035D297390}"/>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light background)</a:t>
              </a:r>
            </a:p>
            <a:p>
              <a:pPr algn="l">
                <a:buNone/>
              </a:pPr>
              <a:endParaRPr lang="en-US" sz="1200" kern="100" spc="-30"/>
            </a:p>
          </p:txBody>
        </p:sp>
        <p:pic>
          <p:nvPicPr>
            <p:cNvPr id="9" name="Picture 8" descr="A screenshot of a color chart&#10;&#10;Description automatically generated">
              <a:extLst>
                <a:ext uri="{FF2B5EF4-FFF2-40B4-BE49-F238E27FC236}">
                  <a16:creationId xmlns:a16="http://schemas.microsoft.com/office/drawing/2014/main" id="{5AC7F15D-C132-51D9-1053-097FE52A2ADB}"/>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1" name="Rectangle 10">
              <a:extLst>
                <a:ext uri="{FF2B5EF4-FFF2-40B4-BE49-F238E27FC236}">
                  <a16:creationId xmlns:a16="http://schemas.microsoft.com/office/drawing/2014/main" id="{4BE02DD4-0232-FD81-54DC-8B396A80361C}"/>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B6A5585-6392-4B07-4534-2DA1F638540F}"/>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a:extLst>
                <a:ext uri="{FF2B5EF4-FFF2-40B4-BE49-F238E27FC236}">
                  <a16:creationId xmlns:a16="http://schemas.microsoft.com/office/drawing/2014/main" id="{85C7B6FA-0C3F-3D66-2A57-5D6F77F6C4EA}"/>
                </a:ext>
              </a:extLst>
            </p:cNvPr>
            <p:cNvGrpSpPr/>
            <p:nvPr userDrawn="1"/>
          </p:nvGrpSpPr>
          <p:grpSpPr>
            <a:xfrm>
              <a:off x="-2740234" y="3819615"/>
              <a:ext cx="2227594" cy="2600236"/>
              <a:chOff x="-3323174" y="3918039"/>
              <a:chExt cx="2782425" cy="3247881"/>
            </a:xfrm>
          </p:grpSpPr>
          <p:sp>
            <p:nvSpPr>
              <p:cNvPr id="18" name="Rectangle 17">
                <a:extLst>
                  <a:ext uri="{FF2B5EF4-FFF2-40B4-BE49-F238E27FC236}">
                    <a16:creationId xmlns:a16="http://schemas.microsoft.com/office/drawing/2014/main" id="{C5F1DC24-C5D9-6454-FC64-8CEBA2E9A1B4}"/>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9" name="Rectangle 18">
                <a:extLst>
                  <a:ext uri="{FF2B5EF4-FFF2-40B4-BE49-F238E27FC236}">
                    <a16:creationId xmlns:a16="http://schemas.microsoft.com/office/drawing/2014/main" id="{50B9E016-C045-C4B1-50E4-9B040DAB02E4}"/>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0" name="Rectangle 19">
                <a:extLst>
                  <a:ext uri="{FF2B5EF4-FFF2-40B4-BE49-F238E27FC236}">
                    <a16:creationId xmlns:a16="http://schemas.microsoft.com/office/drawing/2014/main" id="{D4716BB2-705B-AAEC-68A3-A0325BBC4AB2}"/>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1" name="TextBox 20">
                <a:extLst>
                  <a:ext uri="{FF2B5EF4-FFF2-40B4-BE49-F238E27FC236}">
                    <a16:creationId xmlns:a16="http://schemas.microsoft.com/office/drawing/2014/main" id="{8C991BD7-B96C-77AC-05C1-F9FDBD832837}"/>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Light Background Colors</a:t>
                </a:r>
              </a:p>
            </p:txBody>
          </p:sp>
          <p:sp>
            <p:nvSpPr>
              <p:cNvPr id="22" name="Right Brace 21">
                <a:extLst>
                  <a:ext uri="{FF2B5EF4-FFF2-40B4-BE49-F238E27FC236}">
                    <a16:creationId xmlns:a16="http://schemas.microsoft.com/office/drawing/2014/main" id="{EC5F1D65-43C8-13B9-CC5E-8838A4167C92}"/>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3" name="Rectangle 22">
                <a:extLst>
                  <a:ext uri="{FF2B5EF4-FFF2-40B4-BE49-F238E27FC236}">
                    <a16:creationId xmlns:a16="http://schemas.microsoft.com/office/drawing/2014/main" id="{89BC9688-0879-6788-10A5-3474B8E05E2E}"/>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sp>
            <p:nvSpPr>
              <p:cNvPr id="24" name="Rectangle 23">
                <a:extLst>
                  <a:ext uri="{FF2B5EF4-FFF2-40B4-BE49-F238E27FC236}">
                    <a16:creationId xmlns:a16="http://schemas.microsoft.com/office/drawing/2014/main" id="{46F6D77A-C403-D761-500E-B2E4E8D63DC2}"/>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6" name="Picture 15">
              <a:extLst>
                <a:ext uri="{FF2B5EF4-FFF2-40B4-BE49-F238E27FC236}">
                  <a16:creationId xmlns:a16="http://schemas.microsoft.com/office/drawing/2014/main" id="{03A8A8A1-2A2B-8422-2C36-090D20564A2A}"/>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632579" y="972962"/>
              <a:ext cx="1260329" cy="802028"/>
            </a:xfrm>
            <a:prstGeom prst="rect">
              <a:avLst/>
            </a:prstGeom>
            <a:ln>
              <a:solidFill>
                <a:schemeClr val="accent6"/>
              </a:solidFill>
            </a:ln>
          </p:spPr>
        </p:pic>
        <p:pic>
          <p:nvPicPr>
            <p:cNvPr id="17" name="Picture 16">
              <a:extLst>
                <a:ext uri="{FF2B5EF4-FFF2-40B4-BE49-F238E27FC236}">
                  <a16:creationId xmlns:a16="http://schemas.microsoft.com/office/drawing/2014/main" id="{6E2547B0-C927-6F89-502C-56580DD8CD1E}"/>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5411" y="2002090"/>
              <a:ext cx="1265993" cy="943035"/>
            </a:xfrm>
            <a:prstGeom prst="rect">
              <a:avLst/>
            </a:prstGeom>
            <a:ln>
              <a:solidFill>
                <a:schemeClr val="accent6"/>
              </a:solidFill>
            </a:ln>
          </p:spPr>
        </p:pic>
      </p:grpSp>
      <p:sp>
        <p:nvSpPr>
          <p:cNvPr id="26" name="Text Placeholder 7">
            <a:extLst>
              <a:ext uri="{FF2B5EF4-FFF2-40B4-BE49-F238E27FC236}">
                <a16:creationId xmlns:a16="http://schemas.microsoft.com/office/drawing/2014/main" id="{82F93A27-EB8D-0648-AC97-B1ED167E85DB}"/>
              </a:ext>
            </a:extLst>
          </p:cNvPr>
          <p:cNvSpPr>
            <a:spLocks noGrp="1"/>
          </p:cNvSpPr>
          <p:nvPr>
            <p:ph type="body" sz="quarter" idx="18"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473412675"/>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Subtitle, Cont, Image - Light Bk B">
    <p:bg>
      <p:bgPr>
        <a:solidFill>
          <a:srgbClr val="4CD300"/>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EEC2AB0-18D6-E530-7D25-819260F77155}"/>
              </a:ext>
            </a:extLst>
          </p:cNvPr>
          <p:cNvGraphicFramePr>
            <a:graphicFrameLocks noChangeAspect="1"/>
          </p:cNvGraphicFramePr>
          <p:nvPr userDrawn="1">
            <p:custDataLst>
              <p:tags r:id="rId1"/>
            </p:custDataLst>
            <p:extLst>
              <p:ext uri="{D42A27DB-BD31-4B8C-83A1-F6EECF244321}">
                <p14:modId xmlns:p14="http://schemas.microsoft.com/office/powerpoint/2010/main" val="392658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think-cell data - do not delete" hidden="1">
                        <a:extLst>
                          <a:ext uri="{FF2B5EF4-FFF2-40B4-BE49-F238E27FC236}">
                            <a16:creationId xmlns:a16="http://schemas.microsoft.com/office/drawing/2014/main" id="{6EEC2AB0-18D6-E530-7D25-819260F771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logo sm" descr="Transamerica Logo">
            <a:extLst>
              <a:ext uri="{FF2B5EF4-FFF2-40B4-BE49-F238E27FC236}">
                <a16:creationId xmlns:a16="http://schemas.microsoft.com/office/drawing/2014/main" id="{DCC6D309-A1AC-EF0F-95E2-E6E742A1EDF6}"/>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9799200" y="6053051"/>
            <a:ext cx="2138399" cy="804949"/>
          </a:xfrm>
          <a:prstGeom prst="rect">
            <a:avLst/>
          </a:prstGeom>
        </p:spPr>
      </p:pic>
      <p:sp>
        <p:nvSpPr>
          <p:cNvPr id="8" name="Title 1">
            <a:extLst>
              <a:ext uri="{FF2B5EF4-FFF2-40B4-BE49-F238E27FC236}">
                <a16:creationId xmlns:a16="http://schemas.microsoft.com/office/drawing/2014/main" id="{78B16D64-6D5A-EF95-4F66-90048E75DEEB}"/>
              </a:ext>
            </a:extLst>
          </p:cNvPr>
          <p:cNvSpPr>
            <a:spLocks noGrp="1"/>
          </p:cNvSpPr>
          <p:nvPr>
            <p:ph type="title"/>
          </p:nvPr>
        </p:nvSpPr>
        <p:spPr>
          <a:xfrm>
            <a:off x="521206" y="324362"/>
            <a:ext cx="5574793" cy="944637"/>
          </a:xfrm>
          <a:prstGeom prst="rect">
            <a:avLst/>
          </a:prstGeom>
        </p:spPr>
        <p:txBody>
          <a:bodyPr/>
          <a:lstStyle>
            <a:lvl1pPr>
              <a:defRPr>
                <a:solidFill>
                  <a:schemeClr val="tx1"/>
                </a:solidFill>
              </a:defRPr>
            </a:lvl1pPr>
          </a:lstStyle>
          <a:p>
            <a:r>
              <a:rPr lang="en-US"/>
              <a:t>Click to edit Master title style</a:t>
            </a:r>
          </a:p>
        </p:txBody>
      </p:sp>
      <p:sp>
        <p:nvSpPr>
          <p:cNvPr id="2" name="Subtitle 2">
            <a:extLst>
              <a:ext uri="{FF2B5EF4-FFF2-40B4-BE49-F238E27FC236}">
                <a16:creationId xmlns:a16="http://schemas.microsoft.com/office/drawing/2014/main" id="{7C2D91B6-2DC2-AAA0-50AF-E9D39814EA72}"/>
              </a:ext>
            </a:extLst>
          </p:cNvPr>
          <p:cNvSpPr>
            <a:spLocks noGrp="1"/>
          </p:cNvSpPr>
          <p:nvPr>
            <p:ph type="body" sz="quarter" idx="17" hasCustomPrompt="1"/>
          </p:nvPr>
        </p:nvSpPr>
        <p:spPr>
          <a:xfrm>
            <a:off x="521208" y="1270518"/>
            <a:ext cx="5574792" cy="358482"/>
          </a:xfrm>
          <a:prstGeom prst="rect">
            <a:avLst/>
          </a:prstGeom>
        </p:spPr>
        <p:txBody>
          <a:bodyPr>
            <a:noAutofit/>
          </a:bodyPr>
          <a:lstStyle>
            <a:lvl1pPr>
              <a:lnSpc>
                <a:spcPct val="90000"/>
              </a:lnSpc>
              <a:defRPr sz="2200" b="0" i="0">
                <a:solidFill>
                  <a:schemeClr val="tx1"/>
                </a:solidFill>
                <a:latin typeface="Forever Forma Heading" pitchFamily="2" charset="0"/>
              </a:defRPr>
            </a:lvl1pPr>
          </a:lstStyle>
          <a:p>
            <a:pPr lvl="0"/>
            <a:r>
              <a:rPr lang="en-US"/>
              <a:t>Click to edit subtitle</a:t>
            </a:r>
          </a:p>
        </p:txBody>
      </p:sp>
      <p:sp>
        <p:nvSpPr>
          <p:cNvPr id="5" name="Content Placeholder 2">
            <a:extLst>
              <a:ext uri="{FF2B5EF4-FFF2-40B4-BE49-F238E27FC236}">
                <a16:creationId xmlns:a16="http://schemas.microsoft.com/office/drawing/2014/main" id="{DCF1D581-2C2D-ED08-59A4-96813E5DA457}"/>
              </a:ext>
            </a:extLst>
          </p:cNvPr>
          <p:cNvSpPr>
            <a:spLocks noGrp="1"/>
          </p:cNvSpPr>
          <p:nvPr>
            <p:ph sz="half" idx="1"/>
          </p:nvPr>
        </p:nvSpPr>
        <p:spPr>
          <a:xfrm>
            <a:off x="521207" y="1774800"/>
            <a:ext cx="5574791" cy="4275150"/>
          </a:xfrm>
          <a:prstGeom prst="rect">
            <a:avLst/>
          </a:prstGeom>
        </p:spPr>
        <p:txBody>
          <a:bodyPr/>
          <a:lstStyle>
            <a:lvl1pPr>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b="0" i="0">
                <a:solidFill>
                  <a:schemeClr val="tx1"/>
                </a:solidFill>
                <a:latin typeface="Forever Forma Body Text" pitchFamily="2" charset="0"/>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Picture Placeholder 3">
            <a:extLst>
              <a:ext uri="{FF2B5EF4-FFF2-40B4-BE49-F238E27FC236}">
                <a16:creationId xmlns:a16="http://schemas.microsoft.com/office/drawing/2014/main" id="{162A4A71-E9A6-6C7D-AB1E-00C04D468E59}"/>
              </a:ext>
            </a:extLst>
          </p:cNvPr>
          <p:cNvSpPr>
            <a:spLocks noGrp="1" noChangeAspect="1"/>
          </p:cNvSpPr>
          <p:nvPr userDrawn="1">
            <p:ph type="pic" sz="quarter" idx="13" hasCustomPrompt="1"/>
          </p:nvPr>
        </p:nvSpPr>
        <p:spPr>
          <a:xfrm>
            <a:off x="6887718" y="1268251"/>
            <a:ext cx="4781699" cy="4781699"/>
          </a:xfrm>
          <a:custGeom>
            <a:avLst/>
            <a:gdLst>
              <a:gd name="connsiteX0" fmla="*/ 2954626 w 5909252"/>
              <a:gd name="connsiteY0" fmla="*/ 0 h 5909252"/>
              <a:gd name="connsiteX1" fmla="*/ 4780584 w 5909252"/>
              <a:gd name="connsiteY1" fmla="*/ 564332 h 5909252"/>
              <a:gd name="connsiteX2" fmla="*/ 5909252 w 5909252"/>
              <a:gd name="connsiteY2" fmla="*/ 2041645 h 5909252"/>
              <a:gd name="connsiteX3" fmla="*/ 5909252 w 5909252"/>
              <a:gd name="connsiteY3" fmla="*/ 3867607 h 5909252"/>
              <a:gd name="connsiteX4" fmla="*/ 4780584 w 5909252"/>
              <a:gd name="connsiteY4" fmla="*/ 5344920 h 5909252"/>
              <a:gd name="connsiteX5" fmla="*/ 2954626 w 5909252"/>
              <a:gd name="connsiteY5" fmla="*/ 5909252 h 5909252"/>
              <a:gd name="connsiteX6" fmla="*/ 1128668 w 5909252"/>
              <a:gd name="connsiteY6" fmla="*/ 5344920 h 5909252"/>
              <a:gd name="connsiteX7" fmla="*/ 0 w 5909252"/>
              <a:gd name="connsiteY7" fmla="*/ 3867607 h 5909252"/>
              <a:gd name="connsiteX8" fmla="*/ 0 w 5909252"/>
              <a:gd name="connsiteY8" fmla="*/ 2041645 h 5909252"/>
              <a:gd name="connsiteX9" fmla="*/ 1128668 w 5909252"/>
              <a:gd name="connsiteY9" fmla="*/ 564332 h 5909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09252" h="5909252">
                <a:moveTo>
                  <a:pt x="2954626" y="0"/>
                </a:moveTo>
                <a:lnTo>
                  <a:pt x="4780584" y="564332"/>
                </a:lnTo>
                <a:lnTo>
                  <a:pt x="5909252" y="2041645"/>
                </a:lnTo>
                <a:lnTo>
                  <a:pt x="5909252" y="3867607"/>
                </a:lnTo>
                <a:lnTo>
                  <a:pt x="4780584" y="5344920"/>
                </a:lnTo>
                <a:lnTo>
                  <a:pt x="2954626" y="5909252"/>
                </a:lnTo>
                <a:lnTo>
                  <a:pt x="1128668" y="5344920"/>
                </a:lnTo>
                <a:lnTo>
                  <a:pt x="0" y="3867607"/>
                </a:lnTo>
                <a:lnTo>
                  <a:pt x="0" y="2041645"/>
                </a:lnTo>
                <a:lnTo>
                  <a:pt x="1128668" y="564332"/>
                </a:lnTo>
                <a:close/>
              </a:path>
            </a:pathLst>
          </a:cu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wrap="square" lIns="203200" tIns="201600" rIns="201600" bIns="201600" anchor="ctr" anchorCtr="0">
            <a:noAutofit/>
          </a:bodyPr>
          <a:lstStyle>
            <a:lvl1pPr algn="ctr">
              <a:defRPr b="0" i="0">
                <a:latin typeface="Forever Forma Body Text" pitchFamily="2" charset="0"/>
              </a:defRPr>
            </a:lvl1pPr>
          </a:lstStyle>
          <a:p>
            <a:r>
              <a:rPr lang="en-US"/>
              <a:t>Click icon to insert an image</a:t>
            </a:r>
          </a:p>
        </p:txBody>
      </p:sp>
      <p:sp>
        <p:nvSpPr>
          <p:cNvPr id="6" name="Slide Number Placeholder 5">
            <a:extLst>
              <a:ext uri="{FF2B5EF4-FFF2-40B4-BE49-F238E27FC236}">
                <a16:creationId xmlns:a16="http://schemas.microsoft.com/office/drawing/2014/main" id="{FEFED797-268F-0A4E-6712-4C5FAD34D056}"/>
              </a:ext>
              <a:ext uri="{C183D7F6-B498-43B3-948B-1728B52AA6E4}">
                <adec:decorative xmlns:adec="http://schemas.microsoft.com/office/drawing/2017/decorative" val="1"/>
              </a:ext>
            </a:extLst>
          </p:cNvPr>
          <p:cNvSpPr>
            <a:spLocks noGrp="1"/>
          </p:cNvSpPr>
          <p:nvPr userDrawn="1">
            <p:ph type="sldNum" sz="quarter" idx="15"/>
          </p:nvPr>
        </p:nvSpPr>
        <p:spPr/>
        <p:txBody>
          <a:bodyPr/>
          <a:lstStyle>
            <a:lvl1pPr>
              <a:defRPr>
                <a:solidFill>
                  <a:schemeClr val="tx1"/>
                </a:solidFill>
              </a:defRPr>
            </a:lvl1pPr>
          </a:lstStyle>
          <a:p>
            <a:fld id="{1C1606C5-D483-4832-A0E9-CF578A9B5883}" type="slidenum">
              <a:rPr lang="en-US" smtClean="0"/>
              <a:pPr/>
              <a:t>‹#›</a:t>
            </a:fld>
            <a:endParaRPr lang="en-US"/>
          </a:p>
        </p:txBody>
      </p:sp>
      <p:sp>
        <p:nvSpPr>
          <p:cNvPr id="7" name="footnotes">
            <a:extLst>
              <a:ext uri="{FF2B5EF4-FFF2-40B4-BE49-F238E27FC236}">
                <a16:creationId xmlns:a16="http://schemas.microsoft.com/office/drawing/2014/main" id="{3B8FD109-6359-72D9-3F79-83E178276FE6}"/>
              </a:ext>
            </a:extLst>
          </p:cNvPr>
          <p:cNvSpPr>
            <a:spLocks noGrp="1"/>
          </p:cNvSpPr>
          <p:nvPr>
            <p:ph type="body" sz="quarter" idx="14" hasCustomPrompt="1"/>
          </p:nvPr>
        </p:nvSpPr>
        <p:spPr>
          <a:xfrm>
            <a:off x="806401" y="6049950"/>
            <a:ext cx="5289597" cy="808050"/>
          </a:xfrm>
          <a:prstGeom prst="rect">
            <a:avLst/>
          </a:prstGeom>
        </p:spPr>
        <p:txBody>
          <a:bodyPr bIns="309600" anchor="b" anchorCtr="0"/>
          <a:lstStyle>
            <a:lvl1pPr>
              <a:lnSpc>
                <a:spcPct val="90000"/>
              </a:lnSpc>
              <a:spcBef>
                <a:spcPts val="0"/>
              </a:spcBef>
              <a:defRPr sz="1000">
                <a:solidFill>
                  <a:schemeClr val="tx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9" name="Group 8">
            <a:extLst>
              <a:ext uri="{FF2B5EF4-FFF2-40B4-BE49-F238E27FC236}">
                <a16:creationId xmlns:a16="http://schemas.microsoft.com/office/drawing/2014/main" id="{07802C1A-B590-1629-BF1B-C6793775023D}"/>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11" name="Content Placeholder 15">
              <a:extLst>
                <a:ext uri="{FF2B5EF4-FFF2-40B4-BE49-F238E27FC236}">
                  <a16:creationId xmlns:a16="http://schemas.microsoft.com/office/drawing/2014/main" id="{EC0DF95A-6D49-F3AC-585B-FD0DF9A5ECDB}"/>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12" name="TextBox 11">
              <a:extLst>
                <a:ext uri="{FF2B5EF4-FFF2-40B4-BE49-F238E27FC236}">
                  <a16:creationId xmlns:a16="http://schemas.microsoft.com/office/drawing/2014/main" id="{3D10B76B-91D5-D853-EA20-2E30165D95B6}"/>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light background)</a:t>
              </a:r>
            </a:p>
            <a:p>
              <a:pPr algn="l">
                <a:buNone/>
              </a:pPr>
              <a:endParaRPr lang="en-US" sz="1200" kern="100" spc="-30"/>
            </a:p>
          </p:txBody>
        </p:sp>
        <p:pic>
          <p:nvPicPr>
            <p:cNvPr id="13" name="Picture 12" descr="A screenshot of a color chart&#10;&#10;Description automatically generated">
              <a:extLst>
                <a:ext uri="{FF2B5EF4-FFF2-40B4-BE49-F238E27FC236}">
                  <a16:creationId xmlns:a16="http://schemas.microsoft.com/office/drawing/2014/main" id="{95572C3D-CBEF-E1D3-DD11-5FC73F22C77B}"/>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4" name="Rectangle 13">
              <a:extLst>
                <a:ext uri="{FF2B5EF4-FFF2-40B4-BE49-F238E27FC236}">
                  <a16:creationId xmlns:a16="http://schemas.microsoft.com/office/drawing/2014/main" id="{4C588365-F6FD-9153-CEC1-8DBB9DD4C833}"/>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D0BA1115-4AD7-7A85-BB6D-82D62DADFB27}"/>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 name="Group 15">
              <a:extLst>
                <a:ext uri="{FF2B5EF4-FFF2-40B4-BE49-F238E27FC236}">
                  <a16:creationId xmlns:a16="http://schemas.microsoft.com/office/drawing/2014/main" id="{F7A422EE-500D-65D7-8CED-A48C24CE873A}"/>
                </a:ext>
              </a:extLst>
            </p:cNvPr>
            <p:cNvGrpSpPr/>
            <p:nvPr userDrawn="1"/>
          </p:nvGrpSpPr>
          <p:grpSpPr>
            <a:xfrm>
              <a:off x="-2740234" y="3819615"/>
              <a:ext cx="2227594" cy="2600236"/>
              <a:chOff x="-3323174" y="3918039"/>
              <a:chExt cx="2782425" cy="3247881"/>
            </a:xfrm>
          </p:grpSpPr>
          <p:sp>
            <p:nvSpPr>
              <p:cNvPr id="19" name="Rectangle 18">
                <a:extLst>
                  <a:ext uri="{FF2B5EF4-FFF2-40B4-BE49-F238E27FC236}">
                    <a16:creationId xmlns:a16="http://schemas.microsoft.com/office/drawing/2014/main" id="{224A59EB-12B9-5350-259B-EF10122C6EAD}"/>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20" name="Rectangle 19">
                <a:extLst>
                  <a:ext uri="{FF2B5EF4-FFF2-40B4-BE49-F238E27FC236}">
                    <a16:creationId xmlns:a16="http://schemas.microsoft.com/office/drawing/2014/main" id="{F780AEBD-C2A8-4027-561F-FF03542C5CBB}"/>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1" name="Rectangle 20">
                <a:extLst>
                  <a:ext uri="{FF2B5EF4-FFF2-40B4-BE49-F238E27FC236}">
                    <a16:creationId xmlns:a16="http://schemas.microsoft.com/office/drawing/2014/main" id="{2E7F6DA9-55ED-EB5E-0091-EBD393667EDC}"/>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2" name="TextBox 21">
                <a:extLst>
                  <a:ext uri="{FF2B5EF4-FFF2-40B4-BE49-F238E27FC236}">
                    <a16:creationId xmlns:a16="http://schemas.microsoft.com/office/drawing/2014/main" id="{E4CF5D47-86CC-985A-ED64-A5674D2DEB65}"/>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Light Background Colors</a:t>
                </a:r>
              </a:p>
            </p:txBody>
          </p:sp>
          <p:sp>
            <p:nvSpPr>
              <p:cNvPr id="23" name="Right Brace 22">
                <a:extLst>
                  <a:ext uri="{FF2B5EF4-FFF2-40B4-BE49-F238E27FC236}">
                    <a16:creationId xmlns:a16="http://schemas.microsoft.com/office/drawing/2014/main" id="{586A6ECB-66C6-9BE5-82F3-F8E568122313}"/>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4" name="Rectangle 23">
                <a:extLst>
                  <a:ext uri="{FF2B5EF4-FFF2-40B4-BE49-F238E27FC236}">
                    <a16:creationId xmlns:a16="http://schemas.microsoft.com/office/drawing/2014/main" id="{E3DC5725-FDD5-C16F-6C4F-58E7AF18D828}"/>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sp>
            <p:nvSpPr>
              <p:cNvPr id="25" name="Rectangle 24">
                <a:extLst>
                  <a:ext uri="{FF2B5EF4-FFF2-40B4-BE49-F238E27FC236}">
                    <a16:creationId xmlns:a16="http://schemas.microsoft.com/office/drawing/2014/main" id="{96A1AC26-A390-E75B-B112-9CA1BCC2740F}"/>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7" name="Picture 16">
              <a:extLst>
                <a:ext uri="{FF2B5EF4-FFF2-40B4-BE49-F238E27FC236}">
                  <a16:creationId xmlns:a16="http://schemas.microsoft.com/office/drawing/2014/main" id="{E159B22D-E112-64FF-2C48-36FA4C11C87B}"/>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18" name="Picture 17">
              <a:extLst>
                <a:ext uri="{FF2B5EF4-FFF2-40B4-BE49-F238E27FC236}">
                  <a16:creationId xmlns:a16="http://schemas.microsoft.com/office/drawing/2014/main" id="{F3C12DE1-6314-4E1D-88DA-1564B1332CF7}"/>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
        <p:nvSpPr>
          <p:cNvPr id="27" name="Text Placeholder 7">
            <a:extLst>
              <a:ext uri="{FF2B5EF4-FFF2-40B4-BE49-F238E27FC236}">
                <a16:creationId xmlns:a16="http://schemas.microsoft.com/office/drawing/2014/main" id="{9926D60C-1DD8-7145-8994-367B5872EA58}"/>
              </a:ext>
            </a:extLst>
          </p:cNvPr>
          <p:cNvSpPr>
            <a:spLocks noGrp="1"/>
          </p:cNvSpPr>
          <p:nvPr>
            <p:ph type="body" sz="quarter" idx="18"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608452719"/>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Subtitle, Cont, Image - Light Bk C">
    <p:bg>
      <p:bgPr>
        <a:solidFill>
          <a:srgbClr val="FA69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EEC2AB0-18D6-E530-7D25-819260F77155}"/>
              </a:ext>
            </a:extLst>
          </p:cNvPr>
          <p:cNvGraphicFramePr>
            <a:graphicFrameLocks noChangeAspect="1"/>
          </p:cNvGraphicFramePr>
          <p:nvPr userDrawn="1">
            <p:custDataLst>
              <p:tags r:id="rId1"/>
            </p:custDataLst>
            <p:extLst>
              <p:ext uri="{D42A27DB-BD31-4B8C-83A1-F6EECF244321}">
                <p14:modId xmlns:p14="http://schemas.microsoft.com/office/powerpoint/2010/main" val="392658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think-cell data - do not delete" hidden="1">
                        <a:extLst>
                          <a:ext uri="{FF2B5EF4-FFF2-40B4-BE49-F238E27FC236}">
                            <a16:creationId xmlns:a16="http://schemas.microsoft.com/office/drawing/2014/main" id="{6EEC2AB0-18D6-E530-7D25-819260F771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logo sm" descr="Transamerica Logo">
            <a:extLst>
              <a:ext uri="{FF2B5EF4-FFF2-40B4-BE49-F238E27FC236}">
                <a16:creationId xmlns:a16="http://schemas.microsoft.com/office/drawing/2014/main" id="{74314361-5A8A-92FB-DFF9-353A1ED01E38}"/>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9799200" y="6053051"/>
            <a:ext cx="2138399" cy="804949"/>
          </a:xfrm>
          <a:prstGeom prst="rect">
            <a:avLst/>
          </a:prstGeom>
        </p:spPr>
      </p:pic>
      <p:sp>
        <p:nvSpPr>
          <p:cNvPr id="8" name="Title 7">
            <a:extLst>
              <a:ext uri="{FF2B5EF4-FFF2-40B4-BE49-F238E27FC236}">
                <a16:creationId xmlns:a16="http://schemas.microsoft.com/office/drawing/2014/main" id="{9A76C876-1006-1F2E-5CCD-A5FAB44D4919}"/>
              </a:ext>
            </a:extLst>
          </p:cNvPr>
          <p:cNvSpPr>
            <a:spLocks noGrp="1"/>
          </p:cNvSpPr>
          <p:nvPr>
            <p:ph type="title"/>
          </p:nvPr>
        </p:nvSpPr>
        <p:spPr>
          <a:xfrm>
            <a:off x="521206" y="324362"/>
            <a:ext cx="5574793" cy="944637"/>
          </a:xfrm>
          <a:prstGeom prst="rect">
            <a:avLst/>
          </a:prstGeom>
        </p:spPr>
        <p:txBody>
          <a:bodyPr/>
          <a:lstStyle>
            <a:lvl1pPr>
              <a:defRPr>
                <a:solidFill>
                  <a:schemeClr val="tx1"/>
                </a:solidFill>
              </a:defRPr>
            </a:lvl1pPr>
          </a:lstStyle>
          <a:p>
            <a:r>
              <a:rPr lang="en-US"/>
              <a:t>Click to edit Master title style</a:t>
            </a:r>
          </a:p>
        </p:txBody>
      </p:sp>
      <p:sp>
        <p:nvSpPr>
          <p:cNvPr id="4" name="Subtitle 2">
            <a:extLst>
              <a:ext uri="{FF2B5EF4-FFF2-40B4-BE49-F238E27FC236}">
                <a16:creationId xmlns:a16="http://schemas.microsoft.com/office/drawing/2014/main" id="{A121946F-A8E4-4EF9-C9AD-9E18743E4894}"/>
              </a:ext>
            </a:extLst>
          </p:cNvPr>
          <p:cNvSpPr>
            <a:spLocks noGrp="1"/>
          </p:cNvSpPr>
          <p:nvPr>
            <p:ph type="body" sz="quarter" idx="17" hasCustomPrompt="1"/>
          </p:nvPr>
        </p:nvSpPr>
        <p:spPr>
          <a:xfrm>
            <a:off x="521208" y="1270518"/>
            <a:ext cx="5574792" cy="358482"/>
          </a:xfrm>
          <a:prstGeom prst="rect">
            <a:avLst/>
          </a:prstGeom>
        </p:spPr>
        <p:txBody>
          <a:bodyPr>
            <a:noAutofit/>
          </a:bodyPr>
          <a:lstStyle>
            <a:lvl1pPr>
              <a:lnSpc>
                <a:spcPct val="90000"/>
              </a:lnSpc>
              <a:defRPr sz="2200" b="0" i="0">
                <a:solidFill>
                  <a:schemeClr val="tx1"/>
                </a:solidFill>
                <a:latin typeface="Forever Forma Heading" pitchFamily="2" charset="0"/>
              </a:defRPr>
            </a:lvl1pPr>
          </a:lstStyle>
          <a:p>
            <a:pPr lvl="0"/>
            <a:r>
              <a:rPr lang="en-US"/>
              <a:t>Click to edit subtitle</a:t>
            </a:r>
          </a:p>
        </p:txBody>
      </p:sp>
      <p:sp>
        <p:nvSpPr>
          <p:cNvPr id="5" name="Content Placeholder 2">
            <a:extLst>
              <a:ext uri="{FF2B5EF4-FFF2-40B4-BE49-F238E27FC236}">
                <a16:creationId xmlns:a16="http://schemas.microsoft.com/office/drawing/2014/main" id="{57D70AAC-696B-E03C-CF62-0B48E39FD26B}"/>
              </a:ext>
            </a:extLst>
          </p:cNvPr>
          <p:cNvSpPr>
            <a:spLocks noGrp="1"/>
          </p:cNvSpPr>
          <p:nvPr>
            <p:ph sz="half" idx="1"/>
          </p:nvPr>
        </p:nvSpPr>
        <p:spPr>
          <a:xfrm>
            <a:off x="521207" y="1774800"/>
            <a:ext cx="5574791" cy="4275150"/>
          </a:xfrm>
          <a:prstGeom prst="rect">
            <a:avLst/>
          </a:prstGeom>
        </p:spPr>
        <p:txBody>
          <a:bodyPr/>
          <a:lstStyle>
            <a:lvl1pPr>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b="0" i="0">
                <a:solidFill>
                  <a:schemeClr val="tx1"/>
                </a:solidFill>
                <a:latin typeface="Forever Forma Body Text" pitchFamily="2" charset="0"/>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 name="Picture Placeholder 20">
            <a:extLst>
              <a:ext uri="{FF2B5EF4-FFF2-40B4-BE49-F238E27FC236}">
                <a16:creationId xmlns:a16="http://schemas.microsoft.com/office/drawing/2014/main" id="{45CE999B-04A1-3A90-6F17-B643E7F0EEBC}"/>
              </a:ext>
            </a:extLst>
          </p:cNvPr>
          <p:cNvSpPr>
            <a:spLocks noGrp="1" noChangeAspect="1"/>
          </p:cNvSpPr>
          <p:nvPr>
            <p:ph type="pic" sz="quarter" idx="13" hasCustomPrompt="1"/>
          </p:nvPr>
        </p:nvSpPr>
        <p:spPr>
          <a:xfrm>
            <a:off x="6887850" y="1268251"/>
            <a:ext cx="4781567" cy="4781700"/>
          </a:xfrm>
          <a:custGeom>
            <a:avLst/>
            <a:gdLst>
              <a:gd name="connsiteX0" fmla="*/ 1892106 w 6459796"/>
              <a:gd name="connsiteY0" fmla="*/ 0 h 6459796"/>
              <a:gd name="connsiteX1" fmla="*/ 4567690 w 6459796"/>
              <a:gd name="connsiteY1" fmla="*/ 0 h 6459796"/>
              <a:gd name="connsiteX2" fmla="*/ 6459796 w 6459796"/>
              <a:gd name="connsiteY2" fmla="*/ 1892106 h 6459796"/>
              <a:gd name="connsiteX3" fmla="*/ 6459796 w 6459796"/>
              <a:gd name="connsiteY3" fmla="*/ 4567690 h 6459796"/>
              <a:gd name="connsiteX4" fmla="*/ 4567690 w 6459796"/>
              <a:gd name="connsiteY4" fmla="*/ 6459796 h 6459796"/>
              <a:gd name="connsiteX5" fmla="*/ 1892106 w 6459796"/>
              <a:gd name="connsiteY5" fmla="*/ 6459796 h 6459796"/>
              <a:gd name="connsiteX6" fmla="*/ 0 w 6459796"/>
              <a:gd name="connsiteY6" fmla="*/ 4567690 h 6459796"/>
              <a:gd name="connsiteX7" fmla="*/ 0 w 6459796"/>
              <a:gd name="connsiteY7" fmla="*/ 1892106 h 6459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59796" h="6459796">
                <a:moveTo>
                  <a:pt x="1892106" y="0"/>
                </a:moveTo>
                <a:lnTo>
                  <a:pt x="4567690" y="0"/>
                </a:lnTo>
                <a:lnTo>
                  <a:pt x="6459796" y="1892106"/>
                </a:lnTo>
                <a:lnTo>
                  <a:pt x="6459796" y="4567690"/>
                </a:lnTo>
                <a:lnTo>
                  <a:pt x="4567690" y="6459796"/>
                </a:lnTo>
                <a:lnTo>
                  <a:pt x="1892106" y="6459796"/>
                </a:lnTo>
                <a:lnTo>
                  <a:pt x="0" y="4567690"/>
                </a:lnTo>
                <a:lnTo>
                  <a:pt x="0" y="1892106"/>
                </a:lnTo>
                <a:close/>
              </a:path>
            </a:pathLst>
          </a:custGeom>
          <a:solidFill>
            <a:schemeClr val="bg1">
              <a:lumMod val="95000"/>
            </a:schemeClr>
          </a:solidFill>
        </p:spPr>
        <p:txBody>
          <a:bodyPr wrap="square" lIns="203200" tIns="201600" rIns="201600" bIns="201600" anchor="ctr" anchorCtr="0">
            <a:noAutofit/>
          </a:bodyPr>
          <a:lstStyle>
            <a:lvl1pPr algn="ctr">
              <a:defRPr/>
            </a:lvl1pPr>
          </a:lstStyle>
          <a:p>
            <a:r>
              <a:rPr lang="en-US"/>
              <a:t>Click icon to insert an image</a:t>
            </a:r>
          </a:p>
        </p:txBody>
      </p:sp>
      <p:sp>
        <p:nvSpPr>
          <p:cNvPr id="6" name="Slide Number Placeholder 5">
            <a:extLst>
              <a:ext uri="{FF2B5EF4-FFF2-40B4-BE49-F238E27FC236}">
                <a16:creationId xmlns:a16="http://schemas.microsoft.com/office/drawing/2014/main" id="{FEFED797-268F-0A4E-6712-4C5FAD34D056}"/>
              </a:ext>
              <a:ext uri="{C183D7F6-B498-43B3-948B-1728B52AA6E4}">
                <adec:decorative xmlns:adec="http://schemas.microsoft.com/office/drawing/2017/decorative" val="1"/>
              </a:ext>
            </a:extLst>
          </p:cNvPr>
          <p:cNvSpPr>
            <a:spLocks noGrp="1"/>
          </p:cNvSpPr>
          <p:nvPr userDrawn="1">
            <p:ph type="sldNum" sz="quarter" idx="15"/>
          </p:nvPr>
        </p:nvSpPr>
        <p:spPr/>
        <p:txBody>
          <a:bodyPr/>
          <a:lstStyle>
            <a:lvl1pPr>
              <a:defRPr>
                <a:solidFill>
                  <a:schemeClr val="tx1"/>
                </a:solidFill>
              </a:defRPr>
            </a:lvl1pPr>
          </a:lstStyle>
          <a:p>
            <a:fld id="{1C1606C5-D483-4832-A0E9-CF578A9B5883}" type="slidenum">
              <a:rPr lang="en-US" smtClean="0"/>
              <a:pPr/>
              <a:t>‹#›</a:t>
            </a:fld>
            <a:endParaRPr lang="en-US"/>
          </a:p>
        </p:txBody>
      </p:sp>
      <p:sp>
        <p:nvSpPr>
          <p:cNvPr id="7" name="footnotes">
            <a:extLst>
              <a:ext uri="{FF2B5EF4-FFF2-40B4-BE49-F238E27FC236}">
                <a16:creationId xmlns:a16="http://schemas.microsoft.com/office/drawing/2014/main" id="{2F12D0BA-13AF-F546-206F-64E952ACA9C5}"/>
              </a:ext>
            </a:extLst>
          </p:cNvPr>
          <p:cNvSpPr>
            <a:spLocks noGrp="1"/>
          </p:cNvSpPr>
          <p:nvPr>
            <p:ph type="body" sz="quarter" idx="14" hasCustomPrompt="1"/>
          </p:nvPr>
        </p:nvSpPr>
        <p:spPr>
          <a:xfrm>
            <a:off x="806401" y="6049950"/>
            <a:ext cx="5289597" cy="808050"/>
          </a:xfrm>
          <a:prstGeom prst="rect">
            <a:avLst/>
          </a:prstGeom>
        </p:spPr>
        <p:txBody>
          <a:bodyPr bIns="309600" anchor="b" anchorCtr="0"/>
          <a:lstStyle>
            <a:lvl1pPr>
              <a:lnSpc>
                <a:spcPct val="90000"/>
              </a:lnSpc>
              <a:spcBef>
                <a:spcPts val="0"/>
              </a:spcBef>
              <a:defRPr sz="1000">
                <a:solidFill>
                  <a:schemeClr val="tx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9" name="Group 8">
            <a:extLst>
              <a:ext uri="{FF2B5EF4-FFF2-40B4-BE49-F238E27FC236}">
                <a16:creationId xmlns:a16="http://schemas.microsoft.com/office/drawing/2014/main" id="{FBCE5DE5-9189-AF39-10E1-BB22608B8FB9}"/>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10" name="Content Placeholder 15">
              <a:extLst>
                <a:ext uri="{FF2B5EF4-FFF2-40B4-BE49-F238E27FC236}">
                  <a16:creationId xmlns:a16="http://schemas.microsoft.com/office/drawing/2014/main" id="{BD9F8272-B026-5CBA-04FF-0C6BBAC78F0A}"/>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12" name="TextBox 11">
              <a:extLst>
                <a:ext uri="{FF2B5EF4-FFF2-40B4-BE49-F238E27FC236}">
                  <a16:creationId xmlns:a16="http://schemas.microsoft.com/office/drawing/2014/main" id="{DA5C3EC0-4E4D-EBEB-D58C-EA6CE4D53D8B}"/>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light background)</a:t>
              </a:r>
            </a:p>
            <a:p>
              <a:pPr algn="l">
                <a:buNone/>
              </a:pPr>
              <a:endParaRPr lang="en-US" sz="1200" kern="100" spc="-30"/>
            </a:p>
          </p:txBody>
        </p:sp>
        <p:pic>
          <p:nvPicPr>
            <p:cNvPr id="13" name="Picture 12" descr="A screenshot of a color chart&#10;&#10;Description automatically generated">
              <a:extLst>
                <a:ext uri="{FF2B5EF4-FFF2-40B4-BE49-F238E27FC236}">
                  <a16:creationId xmlns:a16="http://schemas.microsoft.com/office/drawing/2014/main" id="{6E2105D1-5E68-07DD-7986-B4A6F40CCB25}"/>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4" name="Rectangle 13">
              <a:extLst>
                <a:ext uri="{FF2B5EF4-FFF2-40B4-BE49-F238E27FC236}">
                  <a16:creationId xmlns:a16="http://schemas.microsoft.com/office/drawing/2014/main" id="{007E56D2-96CE-2165-9923-E82C387B7B56}"/>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8DB59704-F8EE-4DD6-B14F-4C68BACC2493}"/>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 name="Group 15">
              <a:extLst>
                <a:ext uri="{FF2B5EF4-FFF2-40B4-BE49-F238E27FC236}">
                  <a16:creationId xmlns:a16="http://schemas.microsoft.com/office/drawing/2014/main" id="{4643EA99-0ACE-EDAD-3CCA-8A519348280E}"/>
                </a:ext>
              </a:extLst>
            </p:cNvPr>
            <p:cNvGrpSpPr/>
            <p:nvPr userDrawn="1"/>
          </p:nvGrpSpPr>
          <p:grpSpPr>
            <a:xfrm>
              <a:off x="-2740234" y="3819615"/>
              <a:ext cx="2227594" cy="2600236"/>
              <a:chOff x="-3323174" y="3918039"/>
              <a:chExt cx="2782425" cy="3247881"/>
            </a:xfrm>
          </p:grpSpPr>
          <p:sp>
            <p:nvSpPr>
              <p:cNvPr id="19" name="Rectangle 18">
                <a:extLst>
                  <a:ext uri="{FF2B5EF4-FFF2-40B4-BE49-F238E27FC236}">
                    <a16:creationId xmlns:a16="http://schemas.microsoft.com/office/drawing/2014/main" id="{AED60E2C-CB0A-CC96-4E3C-865BCA56E285}"/>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20" name="Rectangle 19">
                <a:extLst>
                  <a:ext uri="{FF2B5EF4-FFF2-40B4-BE49-F238E27FC236}">
                    <a16:creationId xmlns:a16="http://schemas.microsoft.com/office/drawing/2014/main" id="{03A2F729-19A5-E5CF-48A0-A28A6F10C6F6}"/>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1" name="Rectangle 20">
                <a:extLst>
                  <a:ext uri="{FF2B5EF4-FFF2-40B4-BE49-F238E27FC236}">
                    <a16:creationId xmlns:a16="http://schemas.microsoft.com/office/drawing/2014/main" id="{8597C9BE-F3D3-196E-80E2-C7BC3B5312DE}"/>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2" name="TextBox 21">
                <a:extLst>
                  <a:ext uri="{FF2B5EF4-FFF2-40B4-BE49-F238E27FC236}">
                    <a16:creationId xmlns:a16="http://schemas.microsoft.com/office/drawing/2014/main" id="{0B50D9B4-D146-E08F-307E-96ECDDAD44BB}"/>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Light Background Colors</a:t>
                </a:r>
              </a:p>
            </p:txBody>
          </p:sp>
          <p:sp>
            <p:nvSpPr>
              <p:cNvPr id="23" name="Right Brace 22">
                <a:extLst>
                  <a:ext uri="{FF2B5EF4-FFF2-40B4-BE49-F238E27FC236}">
                    <a16:creationId xmlns:a16="http://schemas.microsoft.com/office/drawing/2014/main" id="{168B50C2-E9E2-C5B5-0AAC-DBB73C70CD4C}"/>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4" name="Rectangle 23">
                <a:extLst>
                  <a:ext uri="{FF2B5EF4-FFF2-40B4-BE49-F238E27FC236}">
                    <a16:creationId xmlns:a16="http://schemas.microsoft.com/office/drawing/2014/main" id="{5888EF2A-1794-07A4-86C4-13F0D0FD70AE}"/>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sp>
            <p:nvSpPr>
              <p:cNvPr id="25" name="Rectangle 24">
                <a:extLst>
                  <a:ext uri="{FF2B5EF4-FFF2-40B4-BE49-F238E27FC236}">
                    <a16:creationId xmlns:a16="http://schemas.microsoft.com/office/drawing/2014/main" id="{0C67805D-7DF4-B156-4A73-5B7BF499BA6A}"/>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7" name="Picture 16">
              <a:extLst>
                <a:ext uri="{FF2B5EF4-FFF2-40B4-BE49-F238E27FC236}">
                  <a16:creationId xmlns:a16="http://schemas.microsoft.com/office/drawing/2014/main" id="{D461CD94-417C-D99E-9545-B671A70FEDC5}"/>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18" name="Picture 17">
              <a:extLst>
                <a:ext uri="{FF2B5EF4-FFF2-40B4-BE49-F238E27FC236}">
                  <a16:creationId xmlns:a16="http://schemas.microsoft.com/office/drawing/2014/main" id="{B563D823-2F0F-FBCC-91A9-86BC964B73E5}"/>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
        <p:nvSpPr>
          <p:cNvPr id="26" name="Text Placeholder 7">
            <a:extLst>
              <a:ext uri="{FF2B5EF4-FFF2-40B4-BE49-F238E27FC236}">
                <a16:creationId xmlns:a16="http://schemas.microsoft.com/office/drawing/2014/main" id="{7D75855C-CF09-9E9D-DE0C-60AD3D05F21C}"/>
              </a:ext>
            </a:extLst>
          </p:cNvPr>
          <p:cNvSpPr>
            <a:spLocks noGrp="1"/>
          </p:cNvSpPr>
          <p:nvPr>
            <p:ph type="body" sz="quarter" idx="18"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4027997073"/>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Subtitle, Cont, Image - Light Bk D">
    <p:bg>
      <p:bgPr>
        <a:solidFill>
          <a:srgbClr val="63B6FF"/>
        </a:solidFill>
        <a:effectLst/>
      </p:bgPr>
    </p:bg>
    <p:spTree>
      <p:nvGrpSpPr>
        <p:cNvPr id="1" name=""/>
        <p:cNvGrpSpPr/>
        <p:nvPr/>
      </p:nvGrpSpPr>
      <p:grpSpPr>
        <a:xfrm>
          <a:off x="0" y="0"/>
          <a:ext cx="0" cy="0"/>
          <a:chOff x="0" y="0"/>
          <a:chExt cx="0" cy="0"/>
        </a:xfrm>
      </p:grpSpPr>
      <p:pic>
        <p:nvPicPr>
          <p:cNvPr id="8" name="logo sm" descr="Transamerica Logo">
            <a:extLst>
              <a:ext uri="{FF2B5EF4-FFF2-40B4-BE49-F238E27FC236}">
                <a16:creationId xmlns:a16="http://schemas.microsoft.com/office/drawing/2014/main" id="{606C69B2-8257-CAE9-AB84-38CF6F76ED63}"/>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799200" y="6053051"/>
            <a:ext cx="2138399" cy="804949"/>
          </a:xfrm>
          <a:prstGeom prst="rect">
            <a:avLst/>
          </a:prstGeom>
        </p:spPr>
      </p:pic>
      <p:sp>
        <p:nvSpPr>
          <p:cNvPr id="10" name="Title 9">
            <a:extLst>
              <a:ext uri="{FF2B5EF4-FFF2-40B4-BE49-F238E27FC236}">
                <a16:creationId xmlns:a16="http://schemas.microsoft.com/office/drawing/2014/main" id="{E1FBEF16-611A-9DBA-B516-E3E4B1C9556F}"/>
              </a:ext>
            </a:extLst>
          </p:cNvPr>
          <p:cNvSpPr>
            <a:spLocks noGrp="1"/>
          </p:cNvSpPr>
          <p:nvPr>
            <p:ph type="title"/>
          </p:nvPr>
        </p:nvSpPr>
        <p:spPr>
          <a:xfrm>
            <a:off x="521208" y="324362"/>
            <a:ext cx="5574792" cy="944637"/>
          </a:xfrm>
          <a:prstGeom prst="rect">
            <a:avLst/>
          </a:prstGeom>
        </p:spPr>
        <p:txBody>
          <a:bodyPr/>
          <a:lstStyle>
            <a:lvl1pPr>
              <a:defRPr>
                <a:solidFill>
                  <a:schemeClr val="tx1"/>
                </a:solidFill>
              </a:defRPr>
            </a:lvl1pPr>
          </a:lstStyle>
          <a:p>
            <a:r>
              <a:rPr lang="en-US"/>
              <a:t>Click to edit Master title style</a:t>
            </a:r>
          </a:p>
        </p:txBody>
      </p:sp>
      <p:sp>
        <p:nvSpPr>
          <p:cNvPr id="4" name="Subtitle 2">
            <a:extLst>
              <a:ext uri="{FF2B5EF4-FFF2-40B4-BE49-F238E27FC236}">
                <a16:creationId xmlns:a16="http://schemas.microsoft.com/office/drawing/2014/main" id="{D4BE82FE-DFC3-73E5-39BF-CB57D0D1006A}"/>
              </a:ext>
            </a:extLst>
          </p:cNvPr>
          <p:cNvSpPr>
            <a:spLocks noGrp="1"/>
          </p:cNvSpPr>
          <p:nvPr>
            <p:ph type="body" sz="quarter" idx="17" hasCustomPrompt="1"/>
          </p:nvPr>
        </p:nvSpPr>
        <p:spPr>
          <a:xfrm>
            <a:off x="521208" y="1270518"/>
            <a:ext cx="5574792" cy="358482"/>
          </a:xfrm>
          <a:prstGeom prst="rect">
            <a:avLst/>
          </a:prstGeom>
        </p:spPr>
        <p:txBody>
          <a:bodyPr>
            <a:noAutofit/>
          </a:bodyPr>
          <a:lstStyle>
            <a:lvl1pPr>
              <a:lnSpc>
                <a:spcPct val="90000"/>
              </a:lnSpc>
              <a:defRPr sz="2200" b="0" i="0">
                <a:solidFill>
                  <a:schemeClr val="tx1"/>
                </a:solidFill>
                <a:latin typeface="Forever Forma Heading" pitchFamily="2" charset="0"/>
              </a:defRPr>
            </a:lvl1pPr>
          </a:lstStyle>
          <a:p>
            <a:pPr lvl="0"/>
            <a:r>
              <a:rPr lang="en-US"/>
              <a:t>Click to edit subtitle</a:t>
            </a:r>
          </a:p>
        </p:txBody>
      </p:sp>
      <p:sp>
        <p:nvSpPr>
          <p:cNvPr id="5" name="Content Placeholder 2">
            <a:extLst>
              <a:ext uri="{FF2B5EF4-FFF2-40B4-BE49-F238E27FC236}">
                <a16:creationId xmlns:a16="http://schemas.microsoft.com/office/drawing/2014/main" id="{81C4C049-7312-EDC8-B658-F1500DE70E18}"/>
              </a:ext>
            </a:extLst>
          </p:cNvPr>
          <p:cNvSpPr>
            <a:spLocks noGrp="1"/>
          </p:cNvSpPr>
          <p:nvPr>
            <p:ph sz="half" idx="1"/>
          </p:nvPr>
        </p:nvSpPr>
        <p:spPr>
          <a:xfrm>
            <a:off x="521207" y="1774800"/>
            <a:ext cx="5574791" cy="4275150"/>
          </a:xfrm>
          <a:prstGeom prst="rect">
            <a:avLst/>
          </a:prstGeom>
        </p:spPr>
        <p:txBody>
          <a:bodyPr/>
          <a:lstStyle>
            <a:lvl1pPr>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b="0" i="0">
                <a:solidFill>
                  <a:schemeClr val="tx1"/>
                </a:solidFill>
                <a:latin typeface="Forever Forma Body Text" pitchFamily="2" charset="0"/>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 name="Picture Placeholder 5">
            <a:extLst>
              <a:ext uri="{FF2B5EF4-FFF2-40B4-BE49-F238E27FC236}">
                <a16:creationId xmlns:a16="http://schemas.microsoft.com/office/drawing/2014/main" id="{6079F735-8B69-E633-5D95-AE3D7D688380}"/>
              </a:ext>
            </a:extLst>
          </p:cNvPr>
          <p:cNvSpPr>
            <a:spLocks noGrp="1" noChangeAspect="1"/>
          </p:cNvSpPr>
          <p:nvPr>
            <p:ph type="pic" sz="quarter" idx="13" hasCustomPrompt="1"/>
          </p:nvPr>
        </p:nvSpPr>
        <p:spPr>
          <a:xfrm>
            <a:off x="6887851" y="1268250"/>
            <a:ext cx="4781566" cy="4781700"/>
          </a:xfrm>
          <a:custGeom>
            <a:avLst/>
            <a:gdLst>
              <a:gd name="connsiteX0" fmla="*/ 2810626 w 5621249"/>
              <a:gd name="connsiteY0" fmla="*/ 0 h 5886870"/>
              <a:gd name="connsiteX1" fmla="*/ 5621249 w 5621249"/>
              <a:gd name="connsiteY1" fmla="*/ 1455691 h 5886870"/>
              <a:gd name="connsiteX2" fmla="*/ 5621249 w 5621249"/>
              <a:gd name="connsiteY2" fmla="*/ 4431180 h 5886870"/>
              <a:gd name="connsiteX3" fmla="*/ 2810626 w 5621249"/>
              <a:gd name="connsiteY3" fmla="*/ 5886870 h 5886870"/>
              <a:gd name="connsiteX4" fmla="*/ 0 w 5621249"/>
              <a:gd name="connsiteY4" fmla="*/ 4431180 h 5886870"/>
              <a:gd name="connsiteX5" fmla="*/ 0 w 5621249"/>
              <a:gd name="connsiteY5" fmla="*/ 1455691 h 5886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21249" h="5886870">
                <a:moveTo>
                  <a:pt x="2810626" y="0"/>
                </a:moveTo>
                <a:lnTo>
                  <a:pt x="5621249" y="1455691"/>
                </a:lnTo>
                <a:lnTo>
                  <a:pt x="5621249" y="4431180"/>
                </a:lnTo>
                <a:lnTo>
                  <a:pt x="2810626" y="5886870"/>
                </a:lnTo>
                <a:lnTo>
                  <a:pt x="0" y="4431180"/>
                </a:lnTo>
                <a:lnTo>
                  <a:pt x="0" y="1455691"/>
                </a:lnTo>
                <a:close/>
              </a:path>
            </a:pathLst>
          </a:custGeom>
          <a:solidFill>
            <a:schemeClr val="bg1">
              <a:lumMod val="95000"/>
            </a:schemeClr>
          </a:solidFill>
        </p:spPr>
        <p:txBody>
          <a:bodyPr wrap="square" lIns="203200" tIns="201600" rIns="201600" bIns="201600" anchor="ctr" anchorCtr="0">
            <a:noAutofit/>
          </a:bodyPr>
          <a:lstStyle>
            <a:lvl1pPr algn="ctr">
              <a:defRPr/>
            </a:lvl1pPr>
          </a:lstStyle>
          <a:p>
            <a:r>
              <a:rPr lang="en-US"/>
              <a:t>Click icon to insert an image</a:t>
            </a:r>
          </a:p>
        </p:txBody>
      </p:sp>
      <p:sp>
        <p:nvSpPr>
          <p:cNvPr id="6" name="Slide Number Placeholder 5">
            <a:extLst>
              <a:ext uri="{FF2B5EF4-FFF2-40B4-BE49-F238E27FC236}">
                <a16:creationId xmlns:a16="http://schemas.microsoft.com/office/drawing/2014/main" id="{FEFED797-268F-0A4E-6712-4C5FAD34D056}"/>
              </a:ext>
              <a:ext uri="{C183D7F6-B498-43B3-948B-1728B52AA6E4}">
                <adec:decorative xmlns:adec="http://schemas.microsoft.com/office/drawing/2017/decorative" val="1"/>
              </a:ext>
            </a:extLst>
          </p:cNvPr>
          <p:cNvSpPr>
            <a:spLocks noGrp="1"/>
          </p:cNvSpPr>
          <p:nvPr userDrawn="1">
            <p:ph type="sldNum" sz="quarter" idx="15"/>
          </p:nvPr>
        </p:nvSpPr>
        <p:spPr/>
        <p:txBody>
          <a:bodyPr/>
          <a:lstStyle>
            <a:lvl1pPr>
              <a:defRPr>
                <a:solidFill>
                  <a:schemeClr val="tx1"/>
                </a:solidFill>
              </a:defRPr>
            </a:lvl1pPr>
          </a:lstStyle>
          <a:p>
            <a:fld id="{1C1606C5-D483-4832-A0E9-CF578A9B5883}" type="slidenum">
              <a:rPr lang="en-US" smtClean="0"/>
              <a:pPr/>
              <a:t>‹#›</a:t>
            </a:fld>
            <a:endParaRPr lang="en-US"/>
          </a:p>
        </p:txBody>
      </p:sp>
      <p:sp>
        <p:nvSpPr>
          <p:cNvPr id="7" name="footnotes">
            <a:extLst>
              <a:ext uri="{FF2B5EF4-FFF2-40B4-BE49-F238E27FC236}">
                <a16:creationId xmlns:a16="http://schemas.microsoft.com/office/drawing/2014/main" id="{603D9E27-3F02-FE5E-606F-389B9CEA2047}"/>
              </a:ext>
            </a:extLst>
          </p:cNvPr>
          <p:cNvSpPr>
            <a:spLocks noGrp="1"/>
          </p:cNvSpPr>
          <p:nvPr>
            <p:ph type="body" sz="quarter" idx="14" hasCustomPrompt="1"/>
          </p:nvPr>
        </p:nvSpPr>
        <p:spPr>
          <a:xfrm>
            <a:off x="806401" y="6049950"/>
            <a:ext cx="5289597" cy="808050"/>
          </a:xfrm>
          <a:prstGeom prst="rect">
            <a:avLst/>
          </a:prstGeom>
        </p:spPr>
        <p:txBody>
          <a:bodyPr bIns="309600" anchor="b" anchorCtr="0"/>
          <a:lstStyle>
            <a:lvl1pPr>
              <a:lnSpc>
                <a:spcPct val="90000"/>
              </a:lnSpc>
              <a:spcBef>
                <a:spcPts val="0"/>
              </a:spcBef>
              <a:defRPr sz="1000">
                <a:solidFill>
                  <a:schemeClr val="tx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3" name="Group 2">
            <a:extLst>
              <a:ext uri="{FF2B5EF4-FFF2-40B4-BE49-F238E27FC236}">
                <a16:creationId xmlns:a16="http://schemas.microsoft.com/office/drawing/2014/main" id="{4C9CD968-F4DD-2C7D-5ECC-84008A3A00A7}"/>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9" name="Content Placeholder 15">
              <a:extLst>
                <a:ext uri="{FF2B5EF4-FFF2-40B4-BE49-F238E27FC236}">
                  <a16:creationId xmlns:a16="http://schemas.microsoft.com/office/drawing/2014/main" id="{83FE1E6E-65E8-A82E-7175-73D777D3071B}"/>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11" name="TextBox 10">
              <a:extLst>
                <a:ext uri="{FF2B5EF4-FFF2-40B4-BE49-F238E27FC236}">
                  <a16:creationId xmlns:a16="http://schemas.microsoft.com/office/drawing/2014/main" id="{65E583F0-7923-53C7-CA83-6E16AC578EF8}"/>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light background)</a:t>
              </a:r>
            </a:p>
            <a:p>
              <a:pPr algn="l">
                <a:buNone/>
              </a:pPr>
              <a:endParaRPr lang="en-US" sz="1200" kern="100" spc="-30"/>
            </a:p>
          </p:txBody>
        </p:sp>
        <p:pic>
          <p:nvPicPr>
            <p:cNvPr id="12" name="Picture 11" descr="A screenshot of a color chart&#10;&#10;Description automatically generated">
              <a:extLst>
                <a:ext uri="{FF2B5EF4-FFF2-40B4-BE49-F238E27FC236}">
                  <a16:creationId xmlns:a16="http://schemas.microsoft.com/office/drawing/2014/main" id="{9D320630-1CBA-F177-7D73-4C51A4DCB7A4}"/>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3" name="Rectangle 12">
              <a:extLst>
                <a:ext uri="{FF2B5EF4-FFF2-40B4-BE49-F238E27FC236}">
                  <a16:creationId xmlns:a16="http://schemas.microsoft.com/office/drawing/2014/main" id="{6F664747-3C5D-7316-5029-C6184A66C4EF}"/>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C0814B42-E7CB-AD5B-14FA-4D53C59632EA}"/>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a:extLst>
                <a:ext uri="{FF2B5EF4-FFF2-40B4-BE49-F238E27FC236}">
                  <a16:creationId xmlns:a16="http://schemas.microsoft.com/office/drawing/2014/main" id="{BBAE1AEB-F031-5A4C-E535-ABD824476EA2}"/>
                </a:ext>
              </a:extLst>
            </p:cNvPr>
            <p:cNvGrpSpPr/>
            <p:nvPr userDrawn="1"/>
          </p:nvGrpSpPr>
          <p:grpSpPr>
            <a:xfrm>
              <a:off x="-2740234" y="3819615"/>
              <a:ext cx="2227594" cy="2600236"/>
              <a:chOff x="-3323174" y="3918039"/>
              <a:chExt cx="2782425" cy="3247881"/>
            </a:xfrm>
          </p:grpSpPr>
          <p:sp>
            <p:nvSpPr>
              <p:cNvPr id="18" name="Rectangle 17">
                <a:extLst>
                  <a:ext uri="{FF2B5EF4-FFF2-40B4-BE49-F238E27FC236}">
                    <a16:creationId xmlns:a16="http://schemas.microsoft.com/office/drawing/2014/main" id="{CC1C66A9-B88C-7AC5-6294-E3A2F9BACC83}"/>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9" name="Rectangle 18">
                <a:extLst>
                  <a:ext uri="{FF2B5EF4-FFF2-40B4-BE49-F238E27FC236}">
                    <a16:creationId xmlns:a16="http://schemas.microsoft.com/office/drawing/2014/main" id="{B076BF31-3448-0F6E-8E3E-9295B145756F}"/>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0" name="Rectangle 19">
                <a:extLst>
                  <a:ext uri="{FF2B5EF4-FFF2-40B4-BE49-F238E27FC236}">
                    <a16:creationId xmlns:a16="http://schemas.microsoft.com/office/drawing/2014/main" id="{529E5215-1951-8FA8-73F0-3F8EB6F84572}"/>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1" name="TextBox 20">
                <a:extLst>
                  <a:ext uri="{FF2B5EF4-FFF2-40B4-BE49-F238E27FC236}">
                    <a16:creationId xmlns:a16="http://schemas.microsoft.com/office/drawing/2014/main" id="{14C7DFCA-4212-0758-54BD-40B74651D3F3}"/>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Light Background Colors</a:t>
                </a:r>
              </a:p>
            </p:txBody>
          </p:sp>
          <p:sp>
            <p:nvSpPr>
              <p:cNvPr id="22" name="Right Brace 21">
                <a:extLst>
                  <a:ext uri="{FF2B5EF4-FFF2-40B4-BE49-F238E27FC236}">
                    <a16:creationId xmlns:a16="http://schemas.microsoft.com/office/drawing/2014/main" id="{886A84D1-FA35-8A2F-3C5F-648852394284}"/>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3" name="Rectangle 22">
                <a:extLst>
                  <a:ext uri="{FF2B5EF4-FFF2-40B4-BE49-F238E27FC236}">
                    <a16:creationId xmlns:a16="http://schemas.microsoft.com/office/drawing/2014/main" id="{79645864-E6AB-363F-D71C-2612AE55E7D1}"/>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sp>
            <p:nvSpPr>
              <p:cNvPr id="24" name="Rectangle 23">
                <a:extLst>
                  <a:ext uri="{FF2B5EF4-FFF2-40B4-BE49-F238E27FC236}">
                    <a16:creationId xmlns:a16="http://schemas.microsoft.com/office/drawing/2014/main" id="{AB340140-D487-6197-C73B-3F9926E74628}"/>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6" name="Picture 15">
              <a:extLst>
                <a:ext uri="{FF2B5EF4-FFF2-40B4-BE49-F238E27FC236}">
                  <a16:creationId xmlns:a16="http://schemas.microsoft.com/office/drawing/2014/main" id="{AB054345-71DE-F772-03B1-7679E3AAC839}"/>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632579" y="972962"/>
              <a:ext cx="1260329" cy="802028"/>
            </a:xfrm>
            <a:prstGeom prst="rect">
              <a:avLst/>
            </a:prstGeom>
            <a:ln>
              <a:solidFill>
                <a:schemeClr val="accent6"/>
              </a:solidFill>
            </a:ln>
          </p:spPr>
        </p:pic>
        <p:pic>
          <p:nvPicPr>
            <p:cNvPr id="17" name="Picture 16">
              <a:extLst>
                <a:ext uri="{FF2B5EF4-FFF2-40B4-BE49-F238E27FC236}">
                  <a16:creationId xmlns:a16="http://schemas.microsoft.com/office/drawing/2014/main" id="{8D7DF9CA-C907-E035-03FA-727020AB859F}"/>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5411" y="2002090"/>
              <a:ext cx="1265993" cy="943035"/>
            </a:xfrm>
            <a:prstGeom prst="rect">
              <a:avLst/>
            </a:prstGeom>
            <a:ln>
              <a:solidFill>
                <a:schemeClr val="accent6"/>
              </a:solidFill>
            </a:ln>
          </p:spPr>
        </p:pic>
      </p:grpSp>
      <p:sp>
        <p:nvSpPr>
          <p:cNvPr id="25" name="Text Placeholder 7">
            <a:extLst>
              <a:ext uri="{FF2B5EF4-FFF2-40B4-BE49-F238E27FC236}">
                <a16:creationId xmlns:a16="http://schemas.microsoft.com/office/drawing/2014/main" id="{5EC57DC5-ADB8-DA0C-3923-B1A871DF798E}"/>
              </a:ext>
            </a:extLst>
          </p:cNvPr>
          <p:cNvSpPr>
            <a:spLocks noGrp="1"/>
          </p:cNvSpPr>
          <p:nvPr>
            <p:ph type="body" sz="quarter" idx="18"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4179622541"/>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heading, Content">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5E2BD40F-8EFE-EC7E-1572-2D0E1E79CE1B}"/>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772431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5E2BD40F-8EFE-EC7E-1572-2D0E1E79CE1B}"/>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DAB6C979-AA63-ADCB-CFCE-8AF6D43E8492}"/>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13" name="Subtitle">
            <a:extLst>
              <a:ext uri="{FF2B5EF4-FFF2-40B4-BE49-F238E27FC236}">
                <a16:creationId xmlns:a16="http://schemas.microsoft.com/office/drawing/2014/main" id="{20D6B804-4D45-977C-0430-B1BB52485EB6}"/>
              </a:ext>
            </a:extLst>
          </p:cNvPr>
          <p:cNvSpPr>
            <a:spLocks noGrp="1"/>
          </p:cNvSpPr>
          <p:nvPr>
            <p:ph type="body" sz="quarter" idx="13" hasCustomPrompt="1"/>
          </p:nvPr>
        </p:nvSpPr>
        <p:spPr>
          <a:xfrm>
            <a:off x="521208" y="1414800"/>
            <a:ext cx="11149580" cy="324000"/>
          </a:xfrm>
          <a:prstGeom prst="rect">
            <a:avLst/>
          </a:prstGeom>
        </p:spPr>
        <p:txBody>
          <a:bodyPr>
            <a:noAutofit/>
          </a:bodyPr>
          <a:lstStyle>
            <a:lvl1pPr>
              <a:defRPr sz="2000" b="0" i="0">
                <a:latin typeface="+mj-lt"/>
              </a:defRPr>
            </a:lvl1pPr>
          </a:lstStyle>
          <a:p>
            <a:pPr lvl="0"/>
            <a:r>
              <a:rPr lang="en-US"/>
              <a:t>Click to edit subheading</a:t>
            </a:r>
          </a:p>
        </p:txBody>
      </p:sp>
      <p:sp>
        <p:nvSpPr>
          <p:cNvPr id="8" name="Content Placeholder 3">
            <a:extLst>
              <a:ext uri="{FF2B5EF4-FFF2-40B4-BE49-F238E27FC236}">
                <a16:creationId xmlns:a16="http://schemas.microsoft.com/office/drawing/2014/main" id="{D66EF941-EE88-DD77-B4D2-7DFEB2329BA4}"/>
              </a:ext>
            </a:extLst>
          </p:cNvPr>
          <p:cNvSpPr>
            <a:spLocks noGrp="1"/>
          </p:cNvSpPr>
          <p:nvPr>
            <p:ph sz="half" idx="2"/>
          </p:nvPr>
        </p:nvSpPr>
        <p:spPr>
          <a:xfrm>
            <a:off x="521208" y="1774800"/>
            <a:ext cx="11149580"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3" name="Slide Number Placeholder 2">
            <a:extLst>
              <a:ext uri="{FF2B5EF4-FFF2-40B4-BE49-F238E27FC236}">
                <a16:creationId xmlns:a16="http://schemas.microsoft.com/office/drawing/2014/main" id="{428AA125-81EB-634A-58F7-F6ED1D26FC0C}"/>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9" name="footnotes">
            <a:extLst>
              <a:ext uri="{FF2B5EF4-FFF2-40B4-BE49-F238E27FC236}">
                <a16:creationId xmlns:a16="http://schemas.microsoft.com/office/drawing/2014/main" id="{AB920BAE-8B84-FA4E-BC30-F37DC53E33F2}"/>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0" name="Text Placeholder 7">
            <a:extLst>
              <a:ext uri="{FF2B5EF4-FFF2-40B4-BE49-F238E27FC236}">
                <a16:creationId xmlns:a16="http://schemas.microsoft.com/office/drawing/2014/main" id="{710C4264-C05E-4F4E-B7D3-1EF75A425E16}"/>
              </a:ext>
            </a:extLst>
          </p:cNvPr>
          <p:cNvSpPr>
            <a:spLocks noGrp="1"/>
          </p:cNvSpPr>
          <p:nvPr>
            <p:ph type="body" sz="quarter" idx="19"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024106778"/>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itle, Subtitle, Cont, Image - Light Bk E">
    <p:bg>
      <p:bgPr>
        <a:solidFill>
          <a:srgbClr val="E7FF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BC0235-0706-C595-7DC9-A8A2ABA2F356}"/>
              </a:ext>
            </a:extLst>
          </p:cNvPr>
          <p:cNvSpPr>
            <a:spLocks noGrp="1"/>
          </p:cNvSpPr>
          <p:nvPr>
            <p:ph type="title"/>
          </p:nvPr>
        </p:nvSpPr>
        <p:spPr>
          <a:xfrm>
            <a:off x="6095999" y="324362"/>
            <a:ext cx="5574790" cy="944637"/>
          </a:xfrm>
          <a:prstGeom prst="rect">
            <a:avLst/>
          </a:prstGeom>
        </p:spPr>
        <p:txBody>
          <a:bodyPr/>
          <a:lstStyle/>
          <a:p>
            <a:r>
              <a:rPr lang="en-US"/>
              <a:t>Click to edit Master title style</a:t>
            </a:r>
          </a:p>
        </p:txBody>
      </p:sp>
      <p:sp>
        <p:nvSpPr>
          <p:cNvPr id="9" name="Subtitle 2">
            <a:extLst>
              <a:ext uri="{FF2B5EF4-FFF2-40B4-BE49-F238E27FC236}">
                <a16:creationId xmlns:a16="http://schemas.microsoft.com/office/drawing/2014/main" id="{FA9336B0-F4CA-865C-C61D-B6D7F43F5130}"/>
              </a:ext>
            </a:extLst>
          </p:cNvPr>
          <p:cNvSpPr>
            <a:spLocks noGrp="1"/>
          </p:cNvSpPr>
          <p:nvPr>
            <p:ph type="body" sz="quarter" idx="17" hasCustomPrompt="1"/>
          </p:nvPr>
        </p:nvSpPr>
        <p:spPr>
          <a:xfrm>
            <a:off x="6095998" y="1270518"/>
            <a:ext cx="5574790"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4" name="Content Placeholder 2">
            <a:extLst>
              <a:ext uri="{FF2B5EF4-FFF2-40B4-BE49-F238E27FC236}">
                <a16:creationId xmlns:a16="http://schemas.microsoft.com/office/drawing/2014/main" id="{3A97F0B8-7A42-B657-AE37-811510FDB77B}"/>
              </a:ext>
            </a:extLst>
          </p:cNvPr>
          <p:cNvSpPr>
            <a:spLocks noGrp="1"/>
          </p:cNvSpPr>
          <p:nvPr>
            <p:ph idx="1"/>
          </p:nvPr>
        </p:nvSpPr>
        <p:spPr>
          <a:xfrm>
            <a:off x="6095998" y="1774800"/>
            <a:ext cx="5574790"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Picture Placeholder 6">
            <a:extLst>
              <a:ext uri="{FF2B5EF4-FFF2-40B4-BE49-F238E27FC236}">
                <a16:creationId xmlns:a16="http://schemas.microsoft.com/office/drawing/2014/main" id="{8E6E698B-4E80-CAB9-E1ED-F9444A921692}"/>
              </a:ext>
            </a:extLst>
          </p:cNvPr>
          <p:cNvSpPr>
            <a:spLocks noGrp="1"/>
          </p:cNvSpPr>
          <p:nvPr>
            <p:ph type="pic" sz="quarter" idx="19" hasCustomPrompt="1"/>
          </p:nvPr>
        </p:nvSpPr>
        <p:spPr>
          <a:xfrm>
            <a:off x="0" y="-4"/>
            <a:ext cx="5627995" cy="6858006"/>
          </a:xfrm>
          <a:custGeom>
            <a:avLst/>
            <a:gdLst>
              <a:gd name="connsiteX0" fmla="*/ 0 w 5627995"/>
              <a:gd name="connsiteY0" fmla="*/ 0 h 6858006"/>
              <a:gd name="connsiteX1" fmla="*/ 3000000 w 5627995"/>
              <a:gd name="connsiteY1" fmla="*/ 0 h 6858006"/>
              <a:gd name="connsiteX2" fmla="*/ 3000000 w 5627995"/>
              <a:gd name="connsiteY2" fmla="*/ 11 h 6858006"/>
              <a:gd name="connsiteX3" fmla="*/ 3714196 w 5627995"/>
              <a:gd name="connsiteY3" fmla="*/ 11 h 6858006"/>
              <a:gd name="connsiteX4" fmla="*/ 5627995 w 5627995"/>
              <a:gd name="connsiteY4" fmla="*/ 3429006 h 6858006"/>
              <a:gd name="connsiteX5" fmla="*/ 3714196 w 5627995"/>
              <a:gd name="connsiteY5" fmla="*/ 6858006 h 6858006"/>
              <a:gd name="connsiteX6" fmla="*/ 0 w 5627995"/>
              <a:gd name="connsiteY6" fmla="*/ 6858006 h 6858006"/>
              <a:gd name="connsiteX7" fmla="*/ 0 w 5627995"/>
              <a:gd name="connsiteY7" fmla="*/ 6858003 h 6858006"/>
              <a:gd name="connsiteX8" fmla="*/ 0 w 5627995"/>
              <a:gd name="connsiteY8" fmla="*/ 11 h 6858006"/>
              <a:gd name="connsiteX0" fmla="*/ 0 w 5627995"/>
              <a:gd name="connsiteY0" fmla="*/ 0 h 6858006"/>
              <a:gd name="connsiteX1" fmla="*/ 3000000 w 5627995"/>
              <a:gd name="connsiteY1" fmla="*/ 0 h 6858006"/>
              <a:gd name="connsiteX2" fmla="*/ 3714196 w 5627995"/>
              <a:gd name="connsiteY2" fmla="*/ 11 h 6858006"/>
              <a:gd name="connsiteX3" fmla="*/ 5627995 w 5627995"/>
              <a:gd name="connsiteY3" fmla="*/ 3429006 h 6858006"/>
              <a:gd name="connsiteX4" fmla="*/ 3714196 w 5627995"/>
              <a:gd name="connsiteY4" fmla="*/ 6858006 h 6858006"/>
              <a:gd name="connsiteX5" fmla="*/ 0 w 5627995"/>
              <a:gd name="connsiteY5" fmla="*/ 6858006 h 6858006"/>
              <a:gd name="connsiteX6" fmla="*/ 0 w 5627995"/>
              <a:gd name="connsiteY6" fmla="*/ 6858003 h 6858006"/>
              <a:gd name="connsiteX7" fmla="*/ 0 w 5627995"/>
              <a:gd name="connsiteY7" fmla="*/ 11 h 6858006"/>
              <a:gd name="connsiteX8" fmla="*/ 0 w 5627995"/>
              <a:gd name="connsiteY8" fmla="*/ 0 h 6858006"/>
              <a:gd name="connsiteX0" fmla="*/ 0 w 5627995"/>
              <a:gd name="connsiteY0" fmla="*/ 0 h 6858006"/>
              <a:gd name="connsiteX1" fmla="*/ 3714196 w 5627995"/>
              <a:gd name="connsiteY1" fmla="*/ 11 h 6858006"/>
              <a:gd name="connsiteX2" fmla="*/ 5627995 w 5627995"/>
              <a:gd name="connsiteY2" fmla="*/ 3429006 h 6858006"/>
              <a:gd name="connsiteX3" fmla="*/ 3714196 w 5627995"/>
              <a:gd name="connsiteY3" fmla="*/ 6858006 h 6858006"/>
              <a:gd name="connsiteX4" fmla="*/ 0 w 5627995"/>
              <a:gd name="connsiteY4" fmla="*/ 6858006 h 6858006"/>
              <a:gd name="connsiteX5" fmla="*/ 0 w 5627995"/>
              <a:gd name="connsiteY5" fmla="*/ 6858003 h 6858006"/>
              <a:gd name="connsiteX6" fmla="*/ 0 w 5627995"/>
              <a:gd name="connsiteY6" fmla="*/ 11 h 6858006"/>
              <a:gd name="connsiteX7" fmla="*/ 0 w 5627995"/>
              <a:gd name="connsiteY7" fmla="*/ 0 h 68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27995" h="6858006">
                <a:moveTo>
                  <a:pt x="0" y="0"/>
                </a:moveTo>
                <a:lnTo>
                  <a:pt x="3714196" y="11"/>
                </a:lnTo>
                <a:lnTo>
                  <a:pt x="5627995" y="3429006"/>
                </a:lnTo>
                <a:lnTo>
                  <a:pt x="3714196" y="6858006"/>
                </a:lnTo>
                <a:lnTo>
                  <a:pt x="0" y="6858006"/>
                </a:lnTo>
                <a:lnTo>
                  <a:pt x="0" y="6858003"/>
                </a:lnTo>
                <a:lnTo>
                  <a:pt x="0" y="11"/>
                </a:lnTo>
                <a:lnTo>
                  <a:pt x="0" y="0"/>
                </a:lnTo>
                <a:close/>
              </a:path>
            </a:pathLst>
          </a:custGeom>
          <a:solidFill>
            <a:schemeClr val="bg1">
              <a:lumMod val="95000"/>
            </a:schemeClr>
          </a:solidFill>
        </p:spPr>
        <p:txBody>
          <a:bodyPr vert="horz" wrap="square" lIns="201600" tIns="201600" rIns="201600" bIns="201600" rtlCol="0">
            <a:noAutofit/>
          </a:bodyPr>
          <a:lstStyle>
            <a:lvl1pPr>
              <a:defRPr lang="nl-NL"/>
            </a:lvl1pPr>
          </a:lstStyle>
          <a:p>
            <a:r>
              <a:rPr lang="en-US"/>
              <a:t>Click icon to insert an image</a:t>
            </a:r>
          </a:p>
        </p:txBody>
      </p:sp>
      <p:sp>
        <p:nvSpPr>
          <p:cNvPr id="6" name="Slide Number Placeholder 5">
            <a:extLst>
              <a:ext uri="{FF2B5EF4-FFF2-40B4-BE49-F238E27FC236}">
                <a16:creationId xmlns:a16="http://schemas.microsoft.com/office/drawing/2014/main" id="{2A60036F-0EFD-9372-6E0A-038761FCF5E7}"/>
              </a:ext>
              <a:ext uri="{C183D7F6-B498-43B3-948B-1728B52AA6E4}">
                <adec:decorative xmlns:adec="http://schemas.microsoft.com/office/drawing/2017/decorative" val="1"/>
              </a:ext>
            </a:extLst>
          </p:cNvPr>
          <p:cNvSpPr>
            <a:spLocks noGrp="1"/>
          </p:cNvSpPr>
          <p:nvPr>
            <p:ph type="sldNum" sz="quarter" idx="18"/>
          </p:nvPr>
        </p:nvSpPr>
        <p:spPr/>
        <p:txBody>
          <a:bodyPr/>
          <a:lstStyle/>
          <a:p>
            <a:fld id="{1C1606C5-D483-4832-A0E9-CF578A9B5883}" type="slidenum">
              <a:rPr lang="en-US" smtClean="0"/>
              <a:pPr/>
              <a:t>‹#›</a:t>
            </a:fld>
            <a:endParaRPr lang="en-US"/>
          </a:p>
        </p:txBody>
      </p:sp>
      <p:sp>
        <p:nvSpPr>
          <p:cNvPr id="8" name="footnotes">
            <a:extLst>
              <a:ext uri="{FF2B5EF4-FFF2-40B4-BE49-F238E27FC236}">
                <a16:creationId xmlns:a16="http://schemas.microsoft.com/office/drawing/2014/main" id="{6A5D82C3-1D73-E41A-E481-419DB579B82C}"/>
              </a:ext>
            </a:extLst>
          </p:cNvPr>
          <p:cNvSpPr>
            <a:spLocks noGrp="1"/>
          </p:cNvSpPr>
          <p:nvPr>
            <p:ph type="body" sz="quarter" idx="14" hasCustomPrompt="1"/>
          </p:nvPr>
        </p:nvSpPr>
        <p:spPr>
          <a:xfrm>
            <a:off x="6095998" y="6049950"/>
            <a:ext cx="3703202"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pic>
        <p:nvPicPr>
          <p:cNvPr id="3" name="logo sm" descr="Transamerica Logo">
            <a:extLst>
              <a:ext uri="{FF2B5EF4-FFF2-40B4-BE49-F238E27FC236}">
                <a16:creationId xmlns:a16="http://schemas.microsoft.com/office/drawing/2014/main" id="{D5603CE4-7E4A-BE04-E433-C07E9310807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799200" y="6053051"/>
            <a:ext cx="2138399" cy="804949"/>
          </a:xfrm>
          <a:prstGeom prst="rect">
            <a:avLst/>
          </a:prstGeom>
        </p:spPr>
      </p:pic>
      <p:grpSp>
        <p:nvGrpSpPr>
          <p:cNvPr id="5" name="Group 4">
            <a:extLst>
              <a:ext uri="{FF2B5EF4-FFF2-40B4-BE49-F238E27FC236}">
                <a16:creationId xmlns:a16="http://schemas.microsoft.com/office/drawing/2014/main" id="{F8C1AACA-97F1-4DD1-1683-EABB201BA380}"/>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10" name="Content Placeholder 15">
              <a:extLst>
                <a:ext uri="{FF2B5EF4-FFF2-40B4-BE49-F238E27FC236}">
                  <a16:creationId xmlns:a16="http://schemas.microsoft.com/office/drawing/2014/main" id="{C40F464F-4F55-9A84-A5D8-3637DD6A6F2B}"/>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11" name="TextBox 10">
              <a:extLst>
                <a:ext uri="{FF2B5EF4-FFF2-40B4-BE49-F238E27FC236}">
                  <a16:creationId xmlns:a16="http://schemas.microsoft.com/office/drawing/2014/main" id="{1E6523CC-E951-8DA3-1319-548BB0E24881}"/>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light background)</a:t>
              </a:r>
            </a:p>
            <a:p>
              <a:pPr algn="l">
                <a:buNone/>
              </a:pPr>
              <a:endParaRPr lang="en-US" sz="1200" kern="100" spc="-30"/>
            </a:p>
          </p:txBody>
        </p:sp>
        <p:pic>
          <p:nvPicPr>
            <p:cNvPr id="12" name="Picture 11" descr="A screenshot of a color chart&#10;&#10;Description automatically generated">
              <a:extLst>
                <a:ext uri="{FF2B5EF4-FFF2-40B4-BE49-F238E27FC236}">
                  <a16:creationId xmlns:a16="http://schemas.microsoft.com/office/drawing/2014/main" id="{96F6A7B6-034C-FFB8-195B-22FFB71DD56A}"/>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3" name="Rectangle 12">
              <a:extLst>
                <a:ext uri="{FF2B5EF4-FFF2-40B4-BE49-F238E27FC236}">
                  <a16:creationId xmlns:a16="http://schemas.microsoft.com/office/drawing/2014/main" id="{7C6BCAFD-97C7-F893-EF76-B19BCF9C693B}"/>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45FA3BF5-20FD-9DCD-054B-4617F0D38686}"/>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a:extLst>
                <a:ext uri="{FF2B5EF4-FFF2-40B4-BE49-F238E27FC236}">
                  <a16:creationId xmlns:a16="http://schemas.microsoft.com/office/drawing/2014/main" id="{4A89BC48-975D-20EA-EA62-B147E61948E2}"/>
                </a:ext>
              </a:extLst>
            </p:cNvPr>
            <p:cNvGrpSpPr/>
            <p:nvPr userDrawn="1"/>
          </p:nvGrpSpPr>
          <p:grpSpPr>
            <a:xfrm>
              <a:off x="-2740234" y="3819615"/>
              <a:ext cx="2227594" cy="2600236"/>
              <a:chOff x="-3323174" y="3918039"/>
              <a:chExt cx="2782425" cy="3247881"/>
            </a:xfrm>
          </p:grpSpPr>
          <p:sp>
            <p:nvSpPr>
              <p:cNvPr id="18" name="Rectangle 17">
                <a:extLst>
                  <a:ext uri="{FF2B5EF4-FFF2-40B4-BE49-F238E27FC236}">
                    <a16:creationId xmlns:a16="http://schemas.microsoft.com/office/drawing/2014/main" id="{E1A9EC03-BA94-C5BD-CDE8-672622D16B69}"/>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9" name="Rectangle 18">
                <a:extLst>
                  <a:ext uri="{FF2B5EF4-FFF2-40B4-BE49-F238E27FC236}">
                    <a16:creationId xmlns:a16="http://schemas.microsoft.com/office/drawing/2014/main" id="{AA1ECAA9-5BEC-9A33-5EAC-95DB4F54CB03}"/>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0" name="Rectangle 19">
                <a:extLst>
                  <a:ext uri="{FF2B5EF4-FFF2-40B4-BE49-F238E27FC236}">
                    <a16:creationId xmlns:a16="http://schemas.microsoft.com/office/drawing/2014/main" id="{8D09AC37-D951-DC46-9974-4A292C04F784}"/>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1" name="TextBox 20">
                <a:extLst>
                  <a:ext uri="{FF2B5EF4-FFF2-40B4-BE49-F238E27FC236}">
                    <a16:creationId xmlns:a16="http://schemas.microsoft.com/office/drawing/2014/main" id="{F49F3AA5-2A16-1887-2830-3BBB23540DA8}"/>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Light Background Colors</a:t>
                </a:r>
              </a:p>
            </p:txBody>
          </p:sp>
          <p:sp>
            <p:nvSpPr>
              <p:cNvPr id="22" name="Right Brace 21">
                <a:extLst>
                  <a:ext uri="{FF2B5EF4-FFF2-40B4-BE49-F238E27FC236}">
                    <a16:creationId xmlns:a16="http://schemas.microsoft.com/office/drawing/2014/main" id="{AF7FB626-A284-0F87-BF7A-A2550CECA2DE}"/>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3" name="Rectangle 22">
                <a:extLst>
                  <a:ext uri="{FF2B5EF4-FFF2-40B4-BE49-F238E27FC236}">
                    <a16:creationId xmlns:a16="http://schemas.microsoft.com/office/drawing/2014/main" id="{6232FD60-BB14-7CDE-C50A-7E1002EACAAB}"/>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sp>
            <p:nvSpPr>
              <p:cNvPr id="24" name="Rectangle 23">
                <a:extLst>
                  <a:ext uri="{FF2B5EF4-FFF2-40B4-BE49-F238E27FC236}">
                    <a16:creationId xmlns:a16="http://schemas.microsoft.com/office/drawing/2014/main" id="{04037B41-82F7-642A-5259-905AD55190D4}"/>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6" name="Picture 15">
              <a:extLst>
                <a:ext uri="{FF2B5EF4-FFF2-40B4-BE49-F238E27FC236}">
                  <a16:creationId xmlns:a16="http://schemas.microsoft.com/office/drawing/2014/main" id="{18947690-DC4A-2D0D-64ED-61BF469A59AB}"/>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632579" y="972962"/>
              <a:ext cx="1260329" cy="802028"/>
            </a:xfrm>
            <a:prstGeom prst="rect">
              <a:avLst/>
            </a:prstGeom>
            <a:ln>
              <a:solidFill>
                <a:schemeClr val="accent6"/>
              </a:solidFill>
            </a:ln>
          </p:spPr>
        </p:pic>
        <p:pic>
          <p:nvPicPr>
            <p:cNvPr id="17" name="Picture 16">
              <a:extLst>
                <a:ext uri="{FF2B5EF4-FFF2-40B4-BE49-F238E27FC236}">
                  <a16:creationId xmlns:a16="http://schemas.microsoft.com/office/drawing/2014/main" id="{1CD0F11F-D67C-72C8-7CF1-97B6DC96DA23}"/>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5411" y="2002090"/>
              <a:ext cx="1265993" cy="943035"/>
            </a:xfrm>
            <a:prstGeom prst="rect">
              <a:avLst/>
            </a:prstGeom>
            <a:ln>
              <a:solidFill>
                <a:schemeClr val="accent6"/>
              </a:solidFill>
            </a:ln>
          </p:spPr>
        </p:pic>
      </p:grpSp>
      <p:sp>
        <p:nvSpPr>
          <p:cNvPr id="25" name="Text Placeholder 7">
            <a:extLst>
              <a:ext uri="{FF2B5EF4-FFF2-40B4-BE49-F238E27FC236}">
                <a16:creationId xmlns:a16="http://schemas.microsoft.com/office/drawing/2014/main" id="{0817C2F2-E5B8-8C76-F43D-95174C71D8C9}"/>
              </a:ext>
            </a:extLst>
          </p:cNvPr>
          <p:cNvSpPr>
            <a:spLocks noGrp="1"/>
          </p:cNvSpPr>
          <p:nvPr>
            <p:ph type="body" sz="quarter" idx="20" hasCustomPrompt="1"/>
          </p:nvPr>
        </p:nvSpPr>
        <p:spPr>
          <a:xfrm>
            <a:off x="1100957" y="6313320"/>
            <a:ext cx="1014772" cy="298870"/>
          </a:xfrm>
          <a:prstGeom prst="rect">
            <a:avLst/>
          </a:prstGeom>
          <a:solidFill>
            <a:srgbClr val="1D2550"/>
          </a:solidFill>
        </p:spPr>
        <p:txBody>
          <a:bodyPr wrap="none" lIns="75600" tIns="75600" rIns="75600" bIns="75600" anchor="b" anchorCtr="0">
            <a:spAutoFit/>
          </a:bodyPr>
          <a:lstStyle>
            <a:lvl1pPr algn="l">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1135632577"/>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le, Subtitle, Cont, Image - Light Bk F">
    <p:bg>
      <p:bgPr>
        <a:solidFill>
          <a:srgbClr val="4CD3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743A4-B4CB-4B38-A367-DBD5C867AC4C}"/>
              </a:ext>
            </a:extLst>
          </p:cNvPr>
          <p:cNvSpPr>
            <a:spLocks noGrp="1"/>
          </p:cNvSpPr>
          <p:nvPr>
            <p:ph type="title"/>
          </p:nvPr>
        </p:nvSpPr>
        <p:spPr>
          <a:xfrm>
            <a:off x="521208" y="324362"/>
            <a:ext cx="4854792" cy="944637"/>
          </a:xfrm>
          <a:prstGeom prst="rect">
            <a:avLst/>
          </a:prstGeom>
        </p:spPr>
        <p:txBody>
          <a:bodyPr/>
          <a:lstStyle>
            <a:lvl1pPr>
              <a:defRPr>
                <a:solidFill>
                  <a:schemeClr val="tx1"/>
                </a:solidFill>
              </a:defRPr>
            </a:lvl1pPr>
          </a:lstStyle>
          <a:p>
            <a:r>
              <a:rPr lang="en-US"/>
              <a:t>Click to edit Master title style</a:t>
            </a:r>
          </a:p>
        </p:txBody>
      </p:sp>
      <p:sp>
        <p:nvSpPr>
          <p:cNvPr id="4" name="Subtitle 2">
            <a:extLst>
              <a:ext uri="{FF2B5EF4-FFF2-40B4-BE49-F238E27FC236}">
                <a16:creationId xmlns:a16="http://schemas.microsoft.com/office/drawing/2014/main" id="{45A2EB7B-C6C8-EFBA-9F99-FE67C7B94138}"/>
              </a:ext>
            </a:extLst>
          </p:cNvPr>
          <p:cNvSpPr>
            <a:spLocks noGrp="1"/>
          </p:cNvSpPr>
          <p:nvPr>
            <p:ph type="body" sz="quarter" idx="17" hasCustomPrompt="1"/>
          </p:nvPr>
        </p:nvSpPr>
        <p:spPr>
          <a:xfrm>
            <a:off x="521208" y="1270518"/>
            <a:ext cx="4854792" cy="358482"/>
          </a:xfrm>
          <a:prstGeom prst="rect">
            <a:avLst/>
          </a:prstGeom>
        </p:spPr>
        <p:txBody>
          <a:bodyPr>
            <a:noAutofit/>
          </a:bodyPr>
          <a:lstStyle>
            <a:lvl1pPr>
              <a:lnSpc>
                <a:spcPct val="90000"/>
              </a:lnSpc>
              <a:defRPr sz="2200" b="0" i="0">
                <a:solidFill>
                  <a:schemeClr val="tx1"/>
                </a:solidFill>
                <a:latin typeface="Forever Forma Heading" pitchFamily="2" charset="0"/>
              </a:defRPr>
            </a:lvl1pPr>
          </a:lstStyle>
          <a:p>
            <a:pPr lvl="0"/>
            <a:r>
              <a:rPr lang="en-US"/>
              <a:t>Click to edit subtitle</a:t>
            </a:r>
          </a:p>
        </p:txBody>
      </p:sp>
      <p:sp>
        <p:nvSpPr>
          <p:cNvPr id="9" name="Content Placeholder 2">
            <a:extLst>
              <a:ext uri="{FF2B5EF4-FFF2-40B4-BE49-F238E27FC236}">
                <a16:creationId xmlns:a16="http://schemas.microsoft.com/office/drawing/2014/main" id="{2981AA66-03F4-4A5C-05C3-A41FA73C2B91}"/>
              </a:ext>
            </a:extLst>
          </p:cNvPr>
          <p:cNvSpPr>
            <a:spLocks noGrp="1"/>
          </p:cNvSpPr>
          <p:nvPr>
            <p:ph sz="half" idx="1"/>
          </p:nvPr>
        </p:nvSpPr>
        <p:spPr>
          <a:xfrm>
            <a:off x="521208" y="1774800"/>
            <a:ext cx="4854792" cy="4275150"/>
          </a:xfrm>
          <a:prstGeom prst="rect">
            <a:avLst/>
          </a:prstGeom>
        </p:spPr>
        <p:txBody>
          <a:bodyPr/>
          <a:lstStyle>
            <a:lvl1pPr>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b="0" i="0">
                <a:solidFill>
                  <a:schemeClr val="tx1"/>
                </a:solidFill>
                <a:latin typeface="Forever Forma Body Text" pitchFamily="2" charset="0"/>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1" name="Picture Placeholder">
            <a:extLst>
              <a:ext uri="{FF2B5EF4-FFF2-40B4-BE49-F238E27FC236}">
                <a16:creationId xmlns:a16="http://schemas.microsoft.com/office/drawing/2014/main" id="{C49EF9F7-7212-ECF7-D163-B4BAC21A6452}"/>
              </a:ext>
            </a:extLst>
          </p:cNvPr>
          <p:cNvSpPr>
            <a:spLocks noGrp="1"/>
          </p:cNvSpPr>
          <p:nvPr userDrawn="1">
            <p:ph type="pic" sz="quarter" idx="13" hasCustomPrompt="1"/>
          </p:nvPr>
        </p:nvSpPr>
        <p:spPr>
          <a:xfrm>
            <a:off x="5628001" y="2"/>
            <a:ext cx="6563999" cy="6857998"/>
          </a:xfrm>
          <a:custGeom>
            <a:avLst/>
            <a:gdLst>
              <a:gd name="connsiteX0" fmla="*/ 4397477 w 6563999"/>
              <a:gd name="connsiteY0" fmla="*/ 0 h 6857998"/>
              <a:gd name="connsiteX1" fmla="*/ 6563999 w 6563999"/>
              <a:gd name="connsiteY1" fmla="*/ 0 h 6857998"/>
              <a:gd name="connsiteX2" fmla="*/ 6563999 w 6563999"/>
              <a:gd name="connsiteY2" fmla="*/ 6857998 h 6857998"/>
              <a:gd name="connsiteX3" fmla="*/ 4397477 w 6563999"/>
              <a:gd name="connsiteY3" fmla="*/ 6857998 h 6857998"/>
              <a:gd name="connsiteX4" fmla="*/ 1215509 w 6563999"/>
              <a:gd name="connsiteY4" fmla="*/ 5548120 h 6857998"/>
              <a:gd name="connsiteX5" fmla="*/ 0 w 6563999"/>
              <a:gd name="connsiteY5" fmla="*/ 3428999 h 6857998"/>
              <a:gd name="connsiteX6" fmla="*/ 1215509 w 6563999"/>
              <a:gd name="connsiteY6" fmla="*/ 130987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63999" h="6857998">
                <a:moveTo>
                  <a:pt x="4397477" y="0"/>
                </a:moveTo>
                <a:lnTo>
                  <a:pt x="6563999" y="0"/>
                </a:lnTo>
                <a:lnTo>
                  <a:pt x="6563999" y="6857998"/>
                </a:lnTo>
                <a:lnTo>
                  <a:pt x="4397477" y="6857998"/>
                </a:lnTo>
                <a:lnTo>
                  <a:pt x="1215509" y="5548120"/>
                </a:lnTo>
                <a:lnTo>
                  <a:pt x="0" y="3428999"/>
                </a:lnTo>
                <a:lnTo>
                  <a:pt x="1215509" y="1309878"/>
                </a:lnTo>
                <a:close/>
              </a:path>
            </a:pathLst>
          </a:custGeom>
          <a:solidFill>
            <a:schemeClr val="bg1">
              <a:lumMod val="95000"/>
            </a:schemeClr>
          </a:solidFill>
        </p:spPr>
        <p:txBody>
          <a:bodyPr wrap="square" lIns="203200" tIns="201600" rIns="201600" bIns="201600" anchor="ctr" anchorCtr="0">
            <a:noAutofit/>
          </a:bodyPr>
          <a:lstStyle>
            <a:lvl1pPr algn="ctr">
              <a:defRPr/>
            </a:lvl1pPr>
          </a:lstStyle>
          <a:p>
            <a:r>
              <a:rPr lang="en-US"/>
              <a:t>Click icon to insert an image</a:t>
            </a:r>
          </a:p>
        </p:txBody>
      </p:sp>
      <p:sp>
        <p:nvSpPr>
          <p:cNvPr id="6" name="Slide Number Placeholder 5">
            <a:extLst>
              <a:ext uri="{FF2B5EF4-FFF2-40B4-BE49-F238E27FC236}">
                <a16:creationId xmlns:a16="http://schemas.microsoft.com/office/drawing/2014/main" id="{FEFED797-268F-0A4E-6712-4C5FAD34D056}"/>
              </a:ext>
              <a:ext uri="{C183D7F6-B498-43B3-948B-1728B52AA6E4}">
                <adec:decorative xmlns:adec="http://schemas.microsoft.com/office/drawing/2017/decorative" val="1"/>
              </a:ext>
            </a:extLst>
          </p:cNvPr>
          <p:cNvSpPr>
            <a:spLocks noGrp="1"/>
          </p:cNvSpPr>
          <p:nvPr userDrawn="1">
            <p:ph type="sldNum" sz="quarter" idx="15"/>
          </p:nvPr>
        </p:nvSpPr>
        <p:spPr/>
        <p:txBody>
          <a:bodyPr/>
          <a:lstStyle>
            <a:lvl1pPr>
              <a:defRPr>
                <a:solidFill>
                  <a:schemeClr val="tx1"/>
                </a:solidFill>
              </a:defRPr>
            </a:lvl1pPr>
          </a:lstStyle>
          <a:p>
            <a:fld id="{1C1606C5-D483-4832-A0E9-CF578A9B5883}" type="slidenum">
              <a:rPr lang="en-US" smtClean="0"/>
              <a:pPr/>
              <a:t>‹#›</a:t>
            </a:fld>
            <a:endParaRPr lang="en-US"/>
          </a:p>
        </p:txBody>
      </p:sp>
      <p:sp>
        <p:nvSpPr>
          <p:cNvPr id="7" name="footnotes">
            <a:extLst>
              <a:ext uri="{FF2B5EF4-FFF2-40B4-BE49-F238E27FC236}">
                <a16:creationId xmlns:a16="http://schemas.microsoft.com/office/drawing/2014/main" id="{99B45289-3768-5D04-35A2-7B5B5E46218F}"/>
              </a:ext>
            </a:extLst>
          </p:cNvPr>
          <p:cNvSpPr>
            <a:spLocks noGrp="1"/>
          </p:cNvSpPr>
          <p:nvPr>
            <p:ph type="body" sz="quarter" idx="14" hasCustomPrompt="1"/>
          </p:nvPr>
        </p:nvSpPr>
        <p:spPr>
          <a:xfrm>
            <a:off x="806401" y="6049950"/>
            <a:ext cx="4569599" cy="808050"/>
          </a:xfrm>
          <a:prstGeom prst="rect">
            <a:avLst/>
          </a:prstGeom>
        </p:spPr>
        <p:txBody>
          <a:bodyPr bIns="309600" anchor="b" anchorCtr="0"/>
          <a:lstStyle>
            <a:lvl1pPr>
              <a:lnSpc>
                <a:spcPct val="90000"/>
              </a:lnSpc>
              <a:spcBef>
                <a:spcPts val="0"/>
              </a:spcBef>
              <a:defRPr sz="1000">
                <a:solidFill>
                  <a:schemeClr val="tx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3" name="Group 2">
            <a:extLst>
              <a:ext uri="{FF2B5EF4-FFF2-40B4-BE49-F238E27FC236}">
                <a16:creationId xmlns:a16="http://schemas.microsoft.com/office/drawing/2014/main" id="{52A50166-BDCA-B56A-EA35-2C2D786892F5}"/>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5" name="Content Placeholder 15">
              <a:extLst>
                <a:ext uri="{FF2B5EF4-FFF2-40B4-BE49-F238E27FC236}">
                  <a16:creationId xmlns:a16="http://schemas.microsoft.com/office/drawing/2014/main" id="{1B7E6A95-6FB4-2659-54AD-563BE80F67C0}"/>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8" name="TextBox 7">
              <a:extLst>
                <a:ext uri="{FF2B5EF4-FFF2-40B4-BE49-F238E27FC236}">
                  <a16:creationId xmlns:a16="http://schemas.microsoft.com/office/drawing/2014/main" id="{08DA9EB1-FF51-0CF3-49B9-33FBD9F2A08A}"/>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light background)</a:t>
              </a:r>
            </a:p>
            <a:p>
              <a:pPr algn="l">
                <a:buNone/>
              </a:pPr>
              <a:endParaRPr lang="en-US" sz="1200" kern="100" spc="-30"/>
            </a:p>
          </p:txBody>
        </p:sp>
        <p:pic>
          <p:nvPicPr>
            <p:cNvPr id="10" name="Picture 9" descr="A screenshot of a color chart&#10;&#10;Description automatically generated">
              <a:extLst>
                <a:ext uri="{FF2B5EF4-FFF2-40B4-BE49-F238E27FC236}">
                  <a16:creationId xmlns:a16="http://schemas.microsoft.com/office/drawing/2014/main" id="{9EFCE9A5-D96B-05BA-0051-C24D6CAF9CB9}"/>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2" name="Rectangle 11">
              <a:extLst>
                <a:ext uri="{FF2B5EF4-FFF2-40B4-BE49-F238E27FC236}">
                  <a16:creationId xmlns:a16="http://schemas.microsoft.com/office/drawing/2014/main" id="{06297BE8-8A03-D662-6A0B-2D03456B6EAD}"/>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C8DB18-F230-39B6-F221-99991B3E6915}"/>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 name="Group 13">
              <a:extLst>
                <a:ext uri="{FF2B5EF4-FFF2-40B4-BE49-F238E27FC236}">
                  <a16:creationId xmlns:a16="http://schemas.microsoft.com/office/drawing/2014/main" id="{187AC503-4B04-17B9-A62B-95B2EB7305F5}"/>
                </a:ext>
              </a:extLst>
            </p:cNvPr>
            <p:cNvGrpSpPr/>
            <p:nvPr userDrawn="1"/>
          </p:nvGrpSpPr>
          <p:grpSpPr>
            <a:xfrm>
              <a:off x="-2740234" y="3819615"/>
              <a:ext cx="2227594" cy="2600236"/>
              <a:chOff x="-3323174" y="3918039"/>
              <a:chExt cx="2782425" cy="3247881"/>
            </a:xfrm>
          </p:grpSpPr>
          <p:sp>
            <p:nvSpPr>
              <p:cNvPr id="17" name="Rectangle 16">
                <a:extLst>
                  <a:ext uri="{FF2B5EF4-FFF2-40B4-BE49-F238E27FC236}">
                    <a16:creationId xmlns:a16="http://schemas.microsoft.com/office/drawing/2014/main" id="{A0E9A877-82F3-E0D9-DED6-4639A141186D}"/>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8" name="Rectangle 17">
                <a:extLst>
                  <a:ext uri="{FF2B5EF4-FFF2-40B4-BE49-F238E27FC236}">
                    <a16:creationId xmlns:a16="http://schemas.microsoft.com/office/drawing/2014/main" id="{D0DC6AC4-848B-9214-BEBF-8EEB68F6E326}"/>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9" name="Rectangle 18">
                <a:extLst>
                  <a:ext uri="{FF2B5EF4-FFF2-40B4-BE49-F238E27FC236}">
                    <a16:creationId xmlns:a16="http://schemas.microsoft.com/office/drawing/2014/main" id="{4CE9136F-AA6C-2E63-D4FF-6562E13F6D15}"/>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0" name="TextBox 19">
                <a:extLst>
                  <a:ext uri="{FF2B5EF4-FFF2-40B4-BE49-F238E27FC236}">
                    <a16:creationId xmlns:a16="http://schemas.microsoft.com/office/drawing/2014/main" id="{0DF93FE5-31B1-BD4D-54DE-057B25841BC5}"/>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Light Background Colors</a:t>
                </a:r>
              </a:p>
            </p:txBody>
          </p:sp>
          <p:sp>
            <p:nvSpPr>
              <p:cNvPr id="21" name="Right Brace 20">
                <a:extLst>
                  <a:ext uri="{FF2B5EF4-FFF2-40B4-BE49-F238E27FC236}">
                    <a16:creationId xmlns:a16="http://schemas.microsoft.com/office/drawing/2014/main" id="{B75D8F78-7F6A-2502-0A2C-BF0E652AEEB7}"/>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2" name="Rectangle 21">
                <a:extLst>
                  <a:ext uri="{FF2B5EF4-FFF2-40B4-BE49-F238E27FC236}">
                    <a16:creationId xmlns:a16="http://schemas.microsoft.com/office/drawing/2014/main" id="{C20F96C3-A69B-597A-3993-E47A9E9C0DA9}"/>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sp>
            <p:nvSpPr>
              <p:cNvPr id="23" name="Rectangle 22">
                <a:extLst>
                  <a:ext uri="{FF2B5EF4-FFF2-40B4-BE49-F238E27FC236}">
                    <a16:creationId xmlns:a16="http://schemas.microsoft.com/office/drawing/2014/main" id="{90644886-348F-44F0-C0FF-39D529F1378E}"/>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5" name="Picture 14">
              <a:extLst>
                <a:ext uri="{FF2B5EF4-FFF2-40B4-BE49-F238E27FC236}">
                  <a16:creationId xmlns:a16="http://schemas.microsoft.com/office/drawing/2014/main" id="{D77D08D0-46ED-EEB8-E55D-7C3BAA5B11FA}"/>
                </a:ext>
                <a:ext uri="{C183D7F6-B498-43B3-948B-1728B52AA6E4}">
                  <adec:decorative xmlns:adec="http://schemas.microsoft.com/office/drawing/2017/decorative" val="1"/>
                </a:ext>
              </a:extLst>
            </p:cNvPr>
            <p:cNvPicPr>
              <a:picLocks noChangeAspect="1"/>
            </p:cNvPicPr>
            <p:nvPr userDrawn="1"/>
          </p:nvPicPr>
          <p:blipFill>
            <a:blip r:embed="rId3"/>
            <a:srcRect/>
            <a:stretch/>
          </p:blipFill>
          <p:spPr>
            <a:xfrm>
              <a:off x="-1632579" y="972962"/>
              <a:ext cx="1260329" cy="802028"/>
            </a:xfrm>
            <a:prstGeom prst="rect">
              <a:avLst/>
            </a:prstGeom>
            <a:ln>
              <a:solidFill>
                <a:schemeClr val="accent6"/>
              </a:solidFill>
            </a:ln>
          </p:spPr>
        </p:pic>
        <p:pic>
          <p:nvPicPr>
            <p:cNvPr id="16" name="Picture 15">
              <a:extLst>
                <a:ext uri="{FF2B5EF4-FFF2-40B4-BE49-F238E27FC236}">
                  <a16:creationId xmlns:a16="http://schemas.microsoft.com/office/drawing/2014/main" id="{8ACC4E02-DFA6-0081-0F77-185D98B00ED4}"/>
                </a:ext>
                <a:ext uri="{C183D7F6-B498-43B3-948B-1728B52AA6E4}">
                  <adec:decorative xmlns:adec="http://schemas.microsoft.com/office/drawing/2017/decorative" val="1"/>
                </a:ext>
              </a:extLst>
            </p:cNvPr>
            <p:cNvPicPr>
              <a:picLocks noChangeAspect="1"/>
            </p:cNvPicPr>
            <p:nvPr userDrawn="1"/>
          </p:nvPicPr>
          <p:blipFill>
            <a:blip r:embed="rId4"/>
            <a:srcRect/>
            <a:stretch/>
          </p:blipFill>
          <p:spPr>
            <a:xfrm>
              <a:off x="-1635411" y="2002090"/>
              <a:ext cx="1265993" cy="943035"/>
            </a:xfrm>
            <a:prstGeom prst="rect">
              <a:avLst/>
            </a:prstGeom>
            <a:ln>
              <a:solidFill>
                <a:schemeClr val="accent6"/>
              </a:solidFill>
            </a:ln>
          </p:spPr>
        </p:pic>
      </p:grpSp>
      <p:sp>
        <p:nvSpPr>
          <p:cNvPr id="24" name="Text Placeholder 7">
            <a:extLst>
              <a:ext uri="{FF2B5EF4-FFF2-40B4-BE49-F238E27FC236}">
                <a16:creationId xmlns:a16="http://schemas.microsoft.com/office/drawing/2014/main" id="{6025409F-BCED-57C4-7BDA-3ACBECB907B5}"/>
              </a:ext>
            </a:extLst>
          </p:cNvPr>
          <p:cNvSpPr>
            <a:spLocks noGrp="1"/>
          </p:cNvSpPr>
          <p:nvPr>
            <p:ph type="body" sz="quarter" idx="32" hasCustomPrompt="1"/>
          </p:nvPr>
        </p:nvSpPr>
        <p:spPr>
          <a:xfrm>
            <a:off x="10836865" y="246565"/>
            <a:ext cx="1014771" cy="298870"/>
          </a:xfrm>
          <a:prstGeom prst="rect">
            <a:avLst/>
          </a:prstGeom>
          <a:solidFill>
            <a:srgbClr val="1D2550"/>
          </a:solidFill>
        </p:spPr>
        <p:txBody>
          <a:bodyPr wrap="none" lIns="75600" tIns="75600" rIns="75600" bIns="75600" anchor="t"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941186539"/>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Title, Subtitle, Cont, Image - Dark Bk A">
    <p:bg>
      <p:bgPr>
        <a:solidFill>
          <a:srgbClr val="5E3930"/>
        </a:solidFill>
        <a:effectLst/>
      </p:bgPr>
    </p:bg>
    <p:spTree>
      <p:nvGrpSpPr>
        <p:cNvPr id="1" name=""/>
        <p:cNvGrpSpPr/>
        <p:nvPr/>
      </p:nvGrpSpPr>
      <p:grpSpPr>
        <a:xfrm>
          <a:off x="0" y="0"/>
          <a:ext cx="0" cy="0"/>
          <a:chOff x="0" y="0"/>
          <a:chExt cx="0" cy="0"/>
        </a:xfrm>
      </p:grpSpPr>
      <p:pic>
        <p:nvPicPr>
          <p:cNvPr id="10" name="logo sm" descr="Transamerica Logo">
            <a:extLst>
              <a:ext uri="{FF2B5EF4-FFF2-40B4-BE49-F238E27FC236}">
                <a16:creationId xmlns:a16="http://schemas.microsoft.com/office/drawing/2014/main" id="{3078B632-E025-4EA5-CBA6-B70904F379D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799200" y="6053051"/>
            <a:ext cx="2138400" cy="804949"/>
          </a:xfrm>
          <a:prstGeom prst="rect">
            <a:avLst/>
          </a:prstGeom>
        </p:spPr>
      </p:pic>
      <p:sp>
        <p:nvSpPr>
          <p:cNvPr id="8" name="Title 7">
            <a:extLst>
              <a:ext uri="{FF2B5EF4-FFF2-40B4-BE49-F238E27FC236}">
                <a16:creationId xmlns:a16="http://schemas.microsoft.com/office/drawing/2014/main" id="{9D949020-569A-BB4A-146E-EF26E7985E6D}"/>
              </a:ext>
            </a:extLst>
          </p:cNvPr>
          <p:cNvSpPr>
            <a:spLocks noGrp="1"/>
          </p:cNvSpPr>
          <p:nvPr>
            <p:ph type="title"/>
          </p:nvPr>
        </p:nvSpPr>
        <p:spPr>
          <a:xfrm>
            <a:off x="521208" y="324362"/>
            <a:ext cx="5574792" cy="944637"/>
          </a:xfrm>
          <a:prstGeom prst="rect">
            <a:avLst/>
          </a:prstGeom>
        </p:spPr>
        <p:txBody>
          <a:bodyPr/>
          <a:lstStyle>
            <a:lvl1pPr>
              <a:defRPr>
                <a:solidFill>
                  <a:schemeClr val="bg1"/>
                </a:solidFill>
              </a:defRPr>
            </a:lvl1pPr>
          </a:lstStyle>
          <a:p>
            <a:r>
              <a:rPr lang="en-US"/>
              <a:t>Click to edit Master title style</a:t>
            </a:r>
          </a:p>
        </p:txBody>
      </p:sp>
      <p:sp>
        <p:nvSpPr>
          <p:cNvPr id="12" name="Subtitle 2">
            <a:extLst>
              <a:ext uri="{FF2B5EF4-FFF2-40B4-BE49-F238E27FC236}">
                <a16:creationId xmlns:a16="http://schemas.microsoft.com/office/drawing/2014/main" id="{E7804080-31FF-4578-DADD-BA74A6D0CCEC}"/>
              </a:ext>
            </a:extLst>
          </p:cNvPr>
          <p:cNvSpPr>
            <a:spLocks noGrp="1"/>
          </p:cNvSpPr>
          <p:nvPr>
            <p:ph type="body" sz="quarter" idx="16" hasCustomPrompt="1"/>
          </p:nvPr>
        </p:nvSpPr>
        <p:spPr>
          <a:xfrm>
            <a:off x="521208" y="1270518"/>
            <a:ext cx="5574790" cy="358482"/>
          </a:xfrm>
          <a:prstGeom prst="rect">
            <a:avLst/>
          </a:prstGeom>
        </p:spPr>
        <p:txBody>
          <a:bodyPr>
            <a:noAutofit/>
          </a:bodyPr>
          <a:lstStyle>
            <a:lvl1pPr>
              <a:lnSpc>
                <a:spcPct val="90000"/>
              </a:lnSpc>
              <a:defRPr sz="2200" b="0">
                <a:solidFill>
                  <a:schemeClr val="bg1"/>
                </a:solidFill>
                <a:latin typeface="Forever Forma Heading" pitchFamily="2" charset="0"/>
              </a:defRPr>
            </a:lvl1pPr>
          </a:lstStyle>
          <a:p>
            <a:pPr lvl="0"/>
            <a:r>
              <a:rPr lang="en-US"/>
              <a:t>Click to edit subtitle</a:t>
            </a:r>
          </a:p>
        </p:txBody>
      </p:sp>
      <p:sp>
        <p:nvSpPr>
          <p:cNvPr id="5" name="Content Placeholder 2">
            <a:extLst>
              <a:ext uri="{FF2B5EF4-FFF2-40B4-BE49-F238E27FC236}">
                <a16:creationId xmlns:a16="http://schemas.microsoft.com/office/drawing/2014/main" id="{C77C46BC-E8F2-AAA2-6B32-3A7A4F80DC31}"/>
              </a:ext>
            </a:extLst>
          </p:cNvPr>
          <p:cNvSpPr>
            <a:spLocks noGrp="1"/>
          </p:cNvSpPr>
          <p:nvPr>
            <p:ph sz="half" idx="1"/>
          </p:nvPr>
        </p:nvSpPr>
        <p:spPr>
          <a:xfrm>
            <a:off x="521208" y="1774800"/>
            <a:ext cx="5574790" cy="4275150"/>
          </a:xfrm>
          <a:prstGeom prst="rect">
            <a:avLst/>
          </a:prstGeom>
        </p:spPr>
        <p:txBody>
          <a:bodyPr/>
          <a:lstStyle>
            <a:lvl1pPr>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b="0" i="0">
                <a:solidFill>
                  <a:schemeClr val="bg1"/>
                </a:solidFill>
                <a:latin typeface="Forever Forma Body Text" pitchFamily="2" charset="0"/>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Picture Placeholder 6">
            <a:extLst>
              <a:ext uri="{FF2B5EF4-FFF2-40B4-BE49-F238E27FC236}">
                <a16:creationId xmlns:a16="http://schemas.microsoft.com/office/drawing/2014/main" id="{802405E5-6A7A-4021-CD56-04CA8B4A9662}"/>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6890377" y="1270799"/>
            <a:ext cx="4780411" cy="4779151"/>
          </a:xfrm>
          <a:custGeom>
            <a:avLst/>
            <a:gdLst>
              <a:gd name="connsiteX0" fmla="*/ 0 w 6836942"/>
              <a:gd name="connsiteY0" fmla="*/ 0 h 6857999"/>
              <a:gd name="connsiteX1" fmla="*/ 3318198 w 6836942"/>
              <a:gd name="connsiteY1" fmla="*/ 0 h 6857999"/>
              <a:gd name="connsiteX2" fmla="*/ 3412392 w 6836942"/>
              <a:gd name="connsiteY2" fmla="*/ 0 h 6857999"/>
              <a:gd name="connsiteX3" fmla="*/ 3424168 w 6836942"/>
              <a:gd name="connsiteY3" fmla="*/ 0 h 6857999"/>
              <a:gd name="connsiteX4" fmla="*/ 3518744 w 6836942"/>
              <a:gd name="connsiteY4" fmla="*/ 0 h 6857999"/>
              <a:gd name="connsiteX5" fmla="*/ 6836942 w 6836942"/>
              <a:gd name="connsiteY5" fmla="*/ 0 h 6857999"/>
              <a:gd name="connsiteX6" fmla="*/ 4902466 w 6836942"/>
              <a:gd name="connsiteY6" fmla="*/ 3428999 h 6857999"/>
              <a:gd name="connsiteX7" fmla="*/ 6836942 w 6836942"/>
              <a:gd name="connsiteY7" fmla="*/ 6857999 h 6857999"/>
              <a:gd name="connsiteX8" fmla="*/ 3518744 w 6836942"/>
              <a:gd name="connsiteY8" fmla="*/ 6857999 h 6857999"/>
              <a:gd name="connsiteX9" fmla="*/ 3424168 w 6836942"/>
              <a:gd name="connsiteY9" fmla="*/ 6857999 h 6857999"/>
              <a:gd name="connsiteX10" fmla="*/ 3412392 w 6836942"/>
              <a:gd name="connsiteY10" fmla="*/ 6857999 h 6857999"/>
              <a:gd name="connsiteX11" fmla="*/ 3318198 w 6836942"/>
              <a:gd name="connsiteY11" fmla="*/ 6857999 h 6857999"/>
              <a:gd name="connsiteX12" fmla="*/ 0 w 6836942"/>
              <a:gd name="connsiteY12" fmla="*/ 6857999 h 6857999"/>
              <a:gd name="connsiteX13" fmla="*/ 1934095 w 6836942"/>
              <a:gd name="connsiteY13" fmla="*/ 3428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36942" h="6857999">
                <a:moveTo>
                  <a:pt x="0" y="0"/>
                </a:moveTo>
                <a:lnTo>
                  <a:pt x="3318198" y="0"/>
                </a:lnTo>
                <a:lnTo>
                  <a:pt x="3412392" y="0"/>
                </a:lnTo>
                <a:lnTo>
                  <a:pt x="3424168" y="0"/>
                </a:lnTo>
                <a:lnTo>
                  <a:pt x="3518744" y="0"/>
                </a:lnTo>
                <a:lnTo>
                  <a:pt x="6836942" y="0"/>
                </a:lnTo>
                <a:lnTo>
                  <a:pt x="4902466" y="3428999"/>
                </a:lnTo>
                <a:lnTo>
                  <a:pt x="6836942" y="6857999"/>
                </a:lnTo>
                <a:lnTo>
                  <a:pt x="3518744" y="6857999"/>
                </a:lnTo>
                <a:lnTo>
                  <a:pt x="3424168" y="6857999"/>
                </a:lnTo>
                <a:lnTo>
                  <a:pt x="3412392" y="6857999"/>
                </a:lnTo>
                <a:lnTo>
                  <a:pt x="3318198" y="6857999"/>
                </a:lnTo>
                <a:lnTo>
                  <a:pt x="0" y="6857999"/>
                </a:lnTo>
                <a:lnTo>
                  <a:pt x="1934095" y="3428999"/>
                </a:lnTo>
                <a:close/>
              </a:path>
            </a:pathLst>
          </a:custGeom>
          <a:solidFill>
            <a:schemeClr val="bg1">
              <a:lumMod val="95000"/>
            </a:schemeClr>
          </a:solidFill>
        </p:spPr>
        <p:txBody>
          <a:bodyPr wrap="square" lIns="201600" tIns="201600" rIns="201600" bIns="201600">
            <a:noAutofit/>
          </a:bodyPr>
          <a:lstStyle>
            <a:lvl1pPr algn="ctr">
              <a:defRPr>
                <a:solidFill>
                  <a:schemeClr val="tx1"/>
                </a:solidFill>
              </a:defRPr>
            </a:lvl1pPr>
          </a:lstStyle>
          <a:p>
            <a:r>
              <a:rPr lang="en-US"/>
              <a:t>Click icon to insert an image</a:t>
            </a:r>
          </a:p>
        </p:txBody>
      </p:sp>
      <p:sp>
        <p:nvSpPr>
          <p:cNvPr id="3" name="Slide Number Placeholder 2">
            <a:extLst>
              <a:ext uri="{FF2B5EF4-FFF2-40B4-BE49-F238E27FC236}">
                <a16:creationId xmlns:a16="http://schemas.microsoft.com/office/drawing/2014/main" id="{B906E6C0-9859-78F0-3B8F-18262328F079}"/>
              </a:ext>
              <a:ext uri="{C183D7F6-B498-43B3-948B-1728B52AA6E4}">
                <adec:decorative xmlns:adec="http://schemas.microsoft.com/office/drawing/2017/decorative" val="1"/>
              </a:ext>
            </a:extLst>
          </p:cNvPr>
          <p:cNvSpPr>
            <a:spLocks noGrp="1"/>
          </p:cNvSpPr>
          <p:nvPr>
            <p:ph type="sldNum" sz="quarter" idx="19"/>
          </p:nvPr>
        </p:nvSpPr>
        <p:spPr/>
        <p:txBody>
          <a:bodyPr/>
          <a:lstStyle>
            <a:lvl1pPr>
              <a:defRPr>
                <a:solidFill>
                  <a:schemeClr val="bg1"/>
                </a:solidFill>
              </a:defRPr>
            </a:lvl1pPr>
          </a:lstStyle>
          <a:p>
            <a:fld id="{1C1606C5-D483-4832-A0E9-CF578A9B5883}" type="slidenum">
              <a:rPr lang="en-US" smtClean="0"/>
              <a:pPr/>
              <a:t>‹#›</a:t>
            </a:fld>
            <a:endParaRPr lang="en-US"/>
          </a:p>
        </p:txBody>
      </p:sp>
      <p:sp>
        <p:nvSpPr>
          <p:cNvPr id="14" name="footnotes">
            <a:extLst>
              <a:ext uri="{FF2B5EF4-FFF2-40B4-BE49-F238E27FC236}">
                <a16:creationId xmlns:a16="http://schemas.microsoft.com/office/drawing/2014/main" id="{36260FBB-67FD-F459-518F-A24DCA07592F}"/>
              </a:ext>
            </a:extLst>
          </p:cNvPr>
          <p:cNvSpPr>
            <a:spLocks noGrp="1"/>
          </p:cNvSpPr>
          <p:nvPr>
            <p:ph type="body" sz="quarter" idx="14" hasCustomPrompt="1"/>
          </p:nvPr>
        </p:nvSpPr>
        <p:spPr>
          <a:xfrm>
            <a:off x="806401" y="6049950"/>
            <a:ext cx="5289597" cy="808050"/>
          </a:xfrm>
          <a:prstGeom prst="rect">
            <a:avLst/>
          </a:prstGeom>
        </p:spPr>
        <p:txBody>
          <a:bodyPr bIns="309600" anchor="b" anchorCtr="0"/>
          <a:lstStyle>
            <a:lvl1pPr>
              <a:lnSpc>
                <a:spcPct val="90000"/>
              </a:lnSpc>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2" name="Group 1">
            <a:extLst>
              <a:ext uri="{FF2B5EF4-FFF2-40B4-BE49-F238E27FC236}">
                <a16:creationId xmlns:a16="http://schemas.microsoft.com/office/drawing/2014/main" id="{EE23CEEF-B977-2FDC-EA17-638F21D2AD8E}"/>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4" name="Content Placeholder 15">
              <a:extLst>
                <a:ext uri="{FF2B5EF4-FFF2-40B4-BE49-F238E27FC236}">
                  <a16:creationId xmlns:a16="http://schemas.microsoft.com/office/drawing/2014/main" id="{4D8F8D7B-1A92-D7F0-9501-111DA21451E6}"/>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6" name="TextBox 5">
              <a:extLst>
                <a:ext uri="{FF2B5EF4-FFF2-40B4-BE49-F238E27FC236}">
                  <a16:creationId xmlns:a16="http://schemas.microsoft.com/office/drawing/2014/main" id="{44F3FBDC-7AAB-FDA9-F5DF-E897E3AB3061}"/>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dark background)</a:t>
              </a:r>
            </a:p>
            <a:p>
              <a:pPr algn="l">
                <a:buNone/>
              </a:pPr>
              <a:endParaRPr lang="en-US" sz="1200" kern="100" spc="-30"/>
            </a:p>
          </p:txBody>
        </p:sp>
        <p:pic>
          <p:nvPicPr>
            <p:cNvPr id="9" name="Picture 8" descr="A screenshot of a color chart&#10;&#10;Description automatically generated">
              <a:extLst>
                <a:ext uri="{FF2B5EF4-FFF2-40B4-BE49-F238E27FC236}">
                  <a16:creationId xmlns:a16="http://schemas.microsoft.com/office/drawing/2014/main" id="{120B9FAA-24A8-E8F7-BC2F-6C3729F58059}"/>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1" name="Rectangle 10">
              <a:extLst>
                <a:ext uri="{FF2B5EF4-FFF2-40B4-BE49-F238E27FC236}">
                  <a16:creationId xmlns:a16="http://schemas.microsoft.com/office/drawing/2014/main" id="{103A1603-0520-C734-5E23-4C5BE286BC36}"/>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F3C54FA-D60B-7CFE-B8D1-B1144C475E14}"/>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a:extLst>
                <a:ext uri="{FF2B5EF4-FFF2-40B4-BE49-F238E27FC236}">
                  <a16:creationId xmlns:a16="http://schemas.microsoft.com/office/drawing/2014/main" id="{147A803D-365F-BE77-A567-0603DCF9467F}"/>
                </a:ext>
              </a:extLst>
            </p:cNvPr>
            <p:cNvGrpSpPr/>
            <p:nvPr userDrawn="1"/>
          </p:nvGrpSpPr>
          <p:grpSpPr>
            <a:xfrm>
              <a:off x="-2740233" y="3819615"/>
              <a:ext cx="2254459" cy="2600236"/>
              <a:chOff x="-3323173" y="3918039"/>
              <a:chExt cx="2815981" cy="3247881"/>
            </a:xfrm>
          </p:grpSpPr>
          <p:sp>
            <p:nvSpPr>
              <p:cNvPr id="18" name="Rectangle 17">
                <a:extLst>
                  <a:ext uri="{FF2B5EF4-FFF2-40B4-BE49-F238E27FC236}">
                    <a16:creationId xmlns:a16="http://schemas.microsoft.com/office/drawing/2014/main" id="{5C2B6162-28E6-3261-CF6F-CC228A82A40A}"/>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9" name="Rectangle 18">
                <a:extLst>
                  <a:ext uri="{FF2B5EF4-FFF2-40B4-BE49-F238E27FC236}">
                    <a16:creationId xmlns:a16="http://schemas.microsoft.com/office/drawing/2014/main" id="{0F96F4AC-9899-464D-2C4B-B80BA65BA751}"/>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0" name="Rectangle 19">
                <a:extLst>
                  <a:ext uri="{FF2B5EF4-FFF2-40B4-BE49-F238E27FC236}">
                    <a16:creationId xmlns:a16="http://schemas.microsoft.com/office/drawing/2014/main" id="{55B54BB6-1BDE-FF46-75CF-71F34D87E3E3}"/>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1" name="TextBox 20">
                <a:extLst>
                  <a:ext uri="{FF2B5EF4-FFF2-40B4-BE49-F238E27FC236}">
                    <a16:creationId xmlns:a16="http://schemas.microsoft.com/office/drawing/2014/main" id="{DD1F7D99-8DBE-3C6E-69F0-9A09A904F91E}"/>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Dark Background Colors</a:t>
                </a:r>
              </a:p>
            </p:txBody>
          </p:sp>
          <p:sp>
            <p:nvSpPr>
              <p:cNvPr id="22" name="Right Brace 21">
                <a:extLst>
                  <a:ext uri="{FF2B5EF4-FFF2-40B4-BE49-F238E27FC236}">
                    <a16:creationId xmlns:a16="http://schemas.microsoft.com/office/drawing/2014/main" id="{C56E9025-9400-E92B-3E57-EB32E0098584}"/>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3" name="Rectangle 22">
                <a:extLst>
                  <a:ext uri="{FF2B5EF4-FFF2-40B4-BE49-F238E27FC236}">
                    <a16:creationId xmlns:a16="http://schemas.microsoft.com/office/drawing/2014/main" id="{21AC97E8-326D-B099-1EA6-574A1A2629F2}"/>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6" name="Picture 15">
              <a:extLst>
                <a:ext uri="{FF2B5EF4-FFF2-40B4-BE49-F238E27FC236}">
                  <a16:creationId xmlns:a16="http://schemas.microsoft.com/office/drawing/2014/main" id="{D6C53244-7B9B-A951-2A08-B10363F41C0F}"/>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632579" y="972962"/>
              <a:ext cx="1260329" cy="802028"/>
            </a:xfrm>
            <a:prstGeom prst="rect">
              <a:avLst/>
            </a:prstGeom>
            <a:ln>
              <a:solidFill>
                <a:schemeClr val="accent6"/>
              </a:solidFill>
            </a:ln>
          </p:spPr>
        </p:pic>
        <p:pic>
          <p:nvPicPr>
            <p:cNvPr id="17" name="Picture 16">
              <a:extLst>
                <a:ext uri="{FF2B5EF4-FFF2-40B4-BE49-F238E27FC236}">
                  <a16:creationId xmlns:a16="http://schemas.microsoft.com/office/drawing/2014/main" id="{BCCC4C4B-EDB8-29B2-8C24-2CA1177A537C}"/>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5411" y="2002090"/>
              <a:ext cx="1265993" cy="943035"/>
            </a:xfrm>
            <a:prstGeom prst="rect">
              <a:avLst/>
            </a:prstGeom>
            <a:ln>
              <a:solidFill>
                <a:schemeClr val="accent6"/>
              </a:solidFill>
            </a:ln>
          </p:spPr>
        </p:pic>
      </p:grpSp>
      <p:sp>
        <p:nvSpPr>
          <p:cNvPr id="25" name="Text Placeholder 7">
            <a:extLst>
              <a:ext uri="{FF2B5EF4-FFF2-40B4-BE49-F238E27FC236}">
                <a16:creationId xmlns:a16="http://schemas.microsoft.com/office/drawing/2014/main" id="{4176C676-8275-9B4D-845C-3332749F1AA4}"/>
              </a:ext>
            </a:extLst>
          </p:cNvPr>
          <p:cNvSpPr>
            <a:spLocks noGrp="1"/>
          </p:cNvSpPr>
          <p:nvPr>
            <p:ph type="body" sz="quarter" idx="18"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633206034"/>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itle, Subtitle, Cont, Image - Dark Bk B">
    <p:bg>
      <p:bgPr>
        <a:solidFill>
          <a:srgbClr val="0B3F2D"/>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EEC2AB0-18D6-E530-7D25-819260F77155}"/>
              </a:ext>
            </a:extLst>
          </p:cNvPr>
          <p:cNvGraphicFramePr>
            <a:graphicFrameLocks noChangeAspect="1"/>
          </p:cNvGraphicFramePr>
          <p:nvPr userDrawn="1">
            <p:custDataLst>
              <p:tags r:id="rId1"/>
            </p:custDataLst>
            <p:extLst>
              <p:ext uri="{D42A27DB-BD31-4B8C-83A1-F6EECF244321}">
                <p14:modId xmlns:p14="http://schemas.microsoft.com/office/powerpoint/2010/main" val="392658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think-cell data - do not delete" hidden="1">
                        <a:extLst>
                          <a:ext uri="{FF2B5EF4-FFF2-40B4-BE49-F238E27FC236}">
                            <a16:creationId xmlns:a16="http://schemas.microsoft.com/office/drawing/2014/main" id="{6EEC2AB0-18D6-E530-7D25-819260F771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logo sm" descr="Transamerica Logo">
            <a:extLst>
              <a:ext uri="{FF2B5EF4-FFF2-40B4-BE49-F238E27FC236}">
                <a16:creationId xmlns:a16="http://schemas.microsoft.com/office/drawing/2014/main" id="{DCC6D309-A1AC-EF0F-95E2-E6E742A1EDF6}"/>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9799200" y="6053051"/>
            <a:ext cx="2138400" cy="804949"/>
          </a:xfrm>
          <a:prstGeom prst="rect">
            <a:avLst/>
          </a:prstGeom>
        </p:spPr>
      </p:pic>
      <p:sp>
        <p:nvSpPr>
          <p:cNvPr id="8" name="Title 1">
            <a:extLst>
              <a:ext uri="{FF2B5EF4-FFF2-40B4-BE49-F238E27FC236}">
                <a16:creationId xmlns:a16="http://schemas.microsoft.com/office/drawing/2014/main" id="{78B16D64-6D5A-EF95-4F66-90048E75DEEB}"/>
              </a:ext>
            </a:extLst>
          </p:cNvPr>
          <p:cNvSpPr>
            <a:spLocks noGrp="1"/>
          </p:cNvSpPr>
          <p:nvPr>
            <p:ph type="title"/>
          </p:nvPr>
        </p:nvSpPr>
        <p:spPr>
          <a:xfrm>
            <a:off x="521206" y="324362"/>
            <a:ext cx="5574793" cy="944637"/>
          </a:xfrm>
          <a:prstGeom prst="rect">
            <a:avLst/>
          </a:prstGeom>
        </p:spPr>
        <p:txBody>
          <a:bodyPr/>
          <a:lstStyle>
            <a:lvl1pPr>
              <a:defRPr>
                <a:solidFill>
                  <a:schemeClr val="bg1"/>
                </a:solidFill>
              </a:defRPr>
            </a:lvl1pPr>
          </a:lstStyle>
          <a:p>
            <a:r>
              <a:rPr lang="en-US"/>
              <a:t>Click to edit Master title style</a:t>
            </a:r>
          </a:p>
        </p:txBody>
      </p:sp>
      <p:sp>
        <p:nvSpPr>
          <p:cNvPr id="2" name="Subtitle 2">
            <a:extLst>
              <a:ext uri="{FF2B5EF4-FFF2-40B4-BE49-F238E27FC236}">
                <a16:creationId xmlns:a16="http://schemas.microsoft.com/office/drawing/2014/main" id="{7C2D91B6-2DC2-AAA0-50AF-E9D39814EA72}"/>
              </a:ext>
            </a:extLst>
          </p:cNvPr>
          <p:cNvSpPr>
            <a:spLocks noGrp="1"/>
          </p:cNvSpPr>
          <p:nvPr>
            <p:ph type="body" sz="quarter" idx="17" hasCustomPrompt="1"/>
          </p:nvPr>
        </p:nvSpPr>
        <p:spPr>
          <a:xfrm>
            <a:off x="521208" y="1270518"/>
            <a:ext cx="5574792" cy="358482"/>
          </a:xfrm>
          <a:prstGeom prst="rect">
            <a:avLst/>
          </a:prstGeom>
        </p:spPr>
        <p:txBody>
          <a:bodyPr>
            <a:noAutofit/>
          </a:bodyPr>
          <a:lstStyle>
            <a:lvl1pPr>
              <a:lnSpc>
                <a:spcPct val="90000"/>
              </a:lnSpc>
              <a:defRPr sz="2200" b="0">
                <a:solidFill>
                  <a:schemeClr val="bg1"/>
                </a:solidFill>
                <a:latin typeface="Forever Forma Heading" pitchFamily="2" charset="0"/>
              </a:defRPr>
            </a:lvl1pPr>
          </a:lstStyle>
          <a:p>
            <a:pPr lvl="0"/>
            <a:r>
              <a:rPr lang="en-US"/>
              <a:t>Click to edit subtitle</a:t>
            </a:r>
          </a:p>
        </p:txBody>
      </p:sp>
      <p:sp>
        <p:nvSpPr>
          <p:cNvPr id="5" name="Content Placeholder 2">
            <a:extLst>
              <a:ext uri="{FF2B5EF4-FFF2-40B4-BE49-F238E27FC236}">
                <a16:creationId xmlns:a16="http://schemas.microsoft.com/office/drawing/2014/main" id="{DCF1D581-2C2D-ED08-59A4-96813E5DA457}"/>
              </a:ext>
            </a:extLst>
          </p:cNvPr>
          <p:cNvSpPr>
            <a:spLocks noGrp="1"/>
          </p:cNvSpPr>
          <p:nvPr>
            <p:ph sz="half" idx="1"/>
          </p:nvPr>
        </p:nvSpPr>
        <p:spPr>
          <a:xfrm>
            <a:off x="521207" y="1774800"/>
            <a:ext cx="5574791" cy="4275150"/>
          </a:xfrm>
          <a:prstGeom prst="rect">
            <a:avLst/>
          </a:prstGeom>
        </p:spPr>
        <p:txBody>
          <a:bodyPr/>
          <a:lstStyle>
            <a:lvl1pPr>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b="0" i="0">
                <a:solidFill>
                  <a:schemeClr val="bg1"/>
                </a:solidFill>
                <a:latin typeface="Forever Forma Body Text" pitchFamily="2" charset="0"/>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Picture Placeholder 3">
            <a:extLst>
              <a:ext uri="{FF2B5EF4-FFF2-40B4-BE49-F238E27FC236}">
                <a16:creationId xmlns:a16="http://schemas.microsoft.com/office/drawing/2014/main" id="{162A4A71-E9A6-6C7D-AB1E-00C04D468E59}"/>
              </a:ext>
            </a:extLst>
          </p:cNvPr>
          <p:cNvSpPr>
            <a:spLocks noGrp="1" noChangeAspect="1"/>
          </p:cNvSpPr>
          <p:nvPr userDrawn="1">
            <p:ph type="pic" sz="quarter" idx="13" hasCustomPrompt="1"/>
          </p:nvPr>
        </p:nvSpPr>
        <p:spPr>
          <a:xfrm>
            <a:off x="6887718" y="1268251"/>
            <a:ext cx="4781699" cy="4781699"/>
          </a:xfrm>
          <a:custGeom>
            <a:avLst/>
            <a:gdLst>
              <a:gd name="connsiteX0" fmla="*/ 2954626 w 5909252"/>
              <a:gd name="connsiteY0" fmla="*/ 0 h 5909252"/>
              <a:gd name="connsiteX1" fmla="*/ 4780584 w 5909252"/>
              <a:gd name="connsiteY1" fmla="*/ 564332 h 5909252"/>
              <a:gd name="connsiteX2" fmla="*/ 5909252 w 5909252"/>
              <a:gd name="connsiteY2" fmla="*/ 2041645 h 5909252"/>
              <a:gd name="connsiteX3" fmla="*/ 5909252 w 5909252"/>
              <a:gd name="connsiteY3" fmla="*/ 3867607 h 5909252"/>
              <a:gd name="connsiteX4" fmla="*/ 4780584 w 5909252"/>
              <a:gd name="connsiteY4" fmla="*/ 5344920 h 5909252"/>
              <a:gd name="connsiteX5" fmla="*/ 2954626 w 5909252"/>
              <a:gd name="connsiteY5" fmla="*/ 5909252 h 5909252"/>
              <a:gd name="connsiteX6" fmla="*/ 1128668 w 5909252"/>
              <a:gd name="connsiteY6" fmla="*/ 5344920 h 5909252"/>
              <a:gd name="connsiteX7" fmla="*/ 0 w 5909252"/>
              <a:gd name="connsiteY7" fmla="*/ 3867607 h 5909252"/>
              <a:gd name="connsiteX8" fmla="*/ 0 w 5909252"/>
              <a:gd name="connsiteY8" fmla="*/ 2041645 h 5909252"/>
              <a:gd name="connsiteX9" fmla="*/ 1128668 w 5909252"/>
              <a:gd name="connsiteY9" fmla="*/ 564332 h 5909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09252" h="5909252">
                <a:moveTo>
                  <a:pt x="2954626" y="0"/>
                </a:moveTo>
                <a:lnTo>
                  <a:pt x="4780584" y="564332"/>
                </a:lnTo>
                <a:lnTo>
                  <a:pt x="5909252" y="2041645"/>
                </a:lnTo>
                <a:lnTo>
                  <a:pt x="5909252" y="3867607"/>
                </a:lnTo>
                <a:lnTo>
                  <a:pt x="4780584" y="5344920"/>
                </a:lnTo>
                <a:lnTo>
                  <a:pt x="2954626" y="5909252"/>
                </a:lnTo>
                <a:lnTo>
                  <a:pt x="1128668" y="5344920"/>
                </a:lnTo>
                <a:lnTo>
                  <a:pt x="0" y="3867607"/>
                </a:lnTo>
                <a:lnTo>
                  <a:pt x="0" y="2041645"/>
                </a:lnTo>
                <a:lnTo>
                  <a:pt x="1128668" y="564332"/>
                </a:lnTo>
                <a:close/>
              </a:path>
            </a:pathLst>
          </a:cu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wrap="square" lIns="203200" tIns="201600" rIns="201600" bIns="201600" anchor="ctr" anchorCtr="0">
            <a:noAutofit/>
          </a:bodyPr>
          <a:lstStyle>
            <a:lvl1pPr algn="ctr">
              <a:defRPr b="0" i="0">
                <a:latin typeface="Forever Forma Body Text" pitchFamily="2" charset="0"/>
              </a:defRPr>
            </a:lvl1pPr>
          </a:lstStyle>
          <a:p>
            <a:r>
              <a:rPr lang="en-US"/>
              <a:t>Click icon to insert an image</a:t>
            </a:r>
          </a:p>
        </p:txBody>
      </p:sp>
      <p:sp>
        <p:nvSpPr>
          <p:cNvPr id="6" name="Slide Number Placeholder 5">
            <a:extLst>
              <a:ext uri="{FF2B5EF4-FFF2-40B4-BE49-F238E27FC236}">
                <a16:creationId xmlns:a16="http://schemas.microsoft.com/office/drawing/2014/main" id="{FEFED797-268F-0A4E-6712-4C5FAD34D056}"/>
              </a:ext>
              <a:ext uri="{C183D7F6-B498-43B3-948B-1728B52AA6E4}">
                <adec:decorative xmlns:adec="http://schemas.microsoft.com/office/drawing/2017/decorative" val="1"/>
              </a:ext>
            </a:extLst>
          </p:cNvPr>
          <p:cNvSpPr>
            <a:spLocks noGrp="1"/>
          </p:cNvSpPr>
          <p:nvPr userDrawn="1">
            <p:ph type="sldNum" sz="quarter" idx="15"/>
          </p:nvPr>
        </p:nvSpPr>
        <p:spPr/>
        <p:txBody>
          <a:bodyPr/>
          <a:lstStyle>
            <a:lvl1pPr>
              <a:defRPr>
                <a:solidFill>
                  <a:schemeClr val="bg1"/>
                </a:solidFill>
              </a:defRPr>
            </a:lvl1pPr>
          </a:lstStyle>
          <a:p>
            <a:fld id="{1C1606C5-D483-4832-A0E9-CF578A9B5883}" type="slidenum">
              <a:rPr lang="en-US" smtClean="0"/>
              <a:pPr/>
              <a:t>‹#›</a:t>
            </a:fld>
            <a:endParaRPr lang="en-US"/>
          </a:p>
        </p:txBody>
      </p:sp>
      <p:sp>
        <p:nvSpPr>
          <p:cNvPr id="7" name="footnotes">
            <a:extLst>
              <a:ext uri="{FF2B5EF4-FFF2-40B4-BE49-F238E27FC236}">
                <a16:creationId xmlns:a16="http://schemas.microsoft.com/office/drawing/2014/main" id="{3B8FD109-6359-72D9-3F79-83E178276FE6}"/>
              </a:ext>
            </a:extLst>
          </p:cNvPr>
          <p:cNvSpPr>
            <a:spLocks noGrp="1"/>
          </p:cNvSpPr>
          <p:nvPr>
            <p:ph type="body" sz="quarter" idx="14" hasCustomPrompt="1"/>
          </p:nvPr>
        </p:nvSpPr>
        <p:spPr>
          <a:xfrm>
            <a:off x="806401" y="6049950"/>
            <a:ext cx="5289597" cy="808050"/>
          </a:xfrm>
          <a:prstGeom prst="rect">
            <a:avLst/>
          </a:prstGeom>
        </p:spPr>
        <p:txBody>
          <a:bodyPr bIns="309600" anchor="b" anchorCtr="0"/>
          <a:lstStyle>
            <a:lvl1pPr>
              <a:lnSpc>
                <a:spcPct val="90000"/>
              </a:lnSpc>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9" name="Group 8">
            <a:extLst>
              <a:ext uri="{FF2B5EF4-FFF2-40B4-BE49-F238E27FC236}">
                <a16:creationId xmlns:a16="http://schemas.microsoft.com/office/drawing/2014/main" id="{BB8F4C86-AC3F-F0D8-003C-5ED018619D0D}"/>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11" name="Content Placeholder 15">
              <a:extLst>
                <a:ext uri="{FF2B5EF4-FFF2-40B4-BE49-F238E27FC236}">
                  <a16:creationId xmlns:a16="http://schemas.microsoft.com/office/drawing/2014/main" id="{49A07544-A639-E036-B54F-4698A41C0272}"/>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12" name="TextBox 11">
              <a:extLst>
                <a:ext uri="{FF2B5EF4-FFF2-40B4-BE49-F238E27FC236}">
                  <a16:creationId xmlns:a16="http://schemas.microsoft.com/office/drawing/2014/main" id="{EEDBA7C6-4B14-F1CF-12B8-69B66CE206FA}"/>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dark background)</a:t>
              </a:r>
            </a:p>
            <a:p>
              <a:pPr algn="l">
                <a:buNone/>
              </a:pPr>
              <a:endParaRPr lang="en-US" sz="1200" kern="100" spc="-30"/>
            </a:p>
          </p:txBody>
        </p:sp>
        <p:pic>
          <p:nvPicPr>
            <p:cNvPr id="13" name="Picture 12" descr="A screenshot of a color chart&#10;&#10;Description automatically generated">
              <a:extLst>
                <a:ext uri="{FF2B5EF4-FFF2-40B4-BE49-F238E27FC236}">
                  <a16:creationId xmlns:a16="http://schemas.microsoft.com/office/drawing/2014/main" id="{1DA2FA84-F831-4511-5F4C-98ECD8B19489}"/>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4" name="Rectangle 13">
              <a:extLst>
                <a:ext uri="{FF2B5EF4-FFF2-40B4-BE49-F238E27FC236}">
                  <a16:creationId xmlns:a16="http://schemas.microsoft.com/office/drawing/2014/main" id="{0790749D-9DF5-F5FA-B9B1-F1E0BA137FD8}"/>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F57ED51C-62FC-7240-EA29-9950F64A4402}"/>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 name="Group 15">
              <a:extLst>
                <a:ext uri="{FF2B5EF4-FFF2-40B4-BE49-F238E27FC236}">
                  <a16:creationId xmlns:a16="http://schemas.microsoft.com/office/drawing/2014/main" id="{1BE885E1-7877-315C-6211-E4CE58BC9194}"/>
                </a:ext>
              </a:extLst>
            </p:cNvPr>
            <p:cNvGrpSpPr/>
            <p:nvPr userDrawn="1"/>
          </p:nvGrpSpPr>
          <p:grpSpPr>
            <a:xfrm>
              <a:off x="-2740233" y="3819615"/>
              <a:ext cx="2254459" cy="2600236"/>
              <a:chOff x="-3323173" y="3918039"/>
              <a:chExt cx="2815981" cy="3247881"/>
            </a:xfrm>
          </p:grpSpPr>
          <p:sp>
            <p:nvSpPr>
              <p:cNvPr id="19" name="Rectangle 18">
                <a:extLst>
                  <a:ext uri="{FF2B5EF4-FFF2-40B4-BE49-F238E27FC236}">
                    <a16:creationId xmlns:a16="http://schemas.microsoft.com/office/drawing/2014/main" id="{DCE5B1AA-991A-EAE3-8FDB-1910A3158B10}"/>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20" name="Rectangle 19">
                <a:extLst>
                  <a:ext uri="{FF2B5EF4-FFF2-40B4-BE49-F238E27FC236}">
                    <a16:creationId xmlns:a16="http://schemas.microsoft.com/office/drawing/2014/main" id="{9BFB6672-4439-7595-DDC1-C75952CA8994}"/>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1" name="Rectangle 20">
                <a:extLst>
                  <a:ext uri="{FF2B5EF4-FFF2-40B4-BE49-F238E27FC236}">
                    <a16:creationId xmlns:a16="http://schemas.microsoft.com/office/drawing/2014/main" id="{15984499-0DD6-4A74-EDB5-DA13B0A06E0A}"/>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2" name="TextBox 21">
                <a:extLst>
                  <a:ext uri="{FF2B5EF4-FFF2-40B4-BE49-F238E27FC236}">
                    <a16:creationId xmlns:a16="http://schemas.microsoft.com/office/drawing/2014/main" id="{F97C7120-14FC-BE24-F288-80364E161349}"/>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Dark Background Colors</a:t>
                </a:r>
              </a:p>
            </p:txBody>
          </p:sp>
          <p:sp>
            <p:nvSpPr>
              <p:cNvPr id="23" name="Right Brace 22">
                <a:extLst>
                  <a:ext uri="{FF2B5EF4-FFF2-40B4-BE49-F238E27FC236}">
                    <a16:creationId xmlns:a16="http://schemas.microsoft.com/office/drawing/2014/main" id="{BEB9DCA7-CA89-4524-B6D2-83D27CAD0031}"/>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39" name="Rectangle 38">
                <a:extLst>
                  <a:ext uri="{FF2B5EF4-FFF2-40B4-BE49-F238E27FC236}">
                    <a16:creationId xmlns:a16="http://schemas.microsoft.com/office/drawing/2014/main" id="{272B0ABA-970A-C23C-202A-7B3DF7E2F2B3}"/>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7" name="Picture 16">
              <a:extLst>
                <a:ext uri="{FF2B5EF4-FFF2-40B4-BE49-F238E27FC236}">
                  <a16:creationId xmlns:a16="http://schemas.microsoft.com/office/drawing/2014/main" id="{A8AC92FC-7315-F728-954D-B9765B5E2F0D}"/>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18" name="Picture 17">
              <a:extLst>
                <a:ext uri="{FF2B5EF4-FFF2-40B4-BE49-F238E27FC236}">
                  <a16:creationId xmlns:a16="http://schemas.microsoft.com/office/drawing/2014/main" id="{841FA844-151C-D8A8-D27F-5128A1160079}"/>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
        <p:nvSpPr>
          <p:cNvPr id="26" name="Text Placeholder 7">
            <a:extLst>
              <a:ext uri="{FF2B5EF4-FFF2-40B4-BE49-F238E27FC236}">
                <a16:creationId xmlns:a16="http://schemas.microsoft.com/office/drawing/2014/main" id="{BC66CAD0-5602-AA42-BDA9-D8724D8AEB51}"/>
              </a:ext>
            </a:extLst>
          </p:cNvPr>
          <p:cNvSpPr>
            <a:spLocks noGrp="1"/>
          </p:cNvSpPr>
          <p:nvPr>
            <p:ph type="body" sz="quarter" idx="18"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65441654"/>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itle, Subtitle, Cont, Image - Dark Bk C">
    <p:bg>
      <p:bgPr>
        <a:solidFill>
          <a:srgbClr val="641EE0"/>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EEC2AB0-18D6-E530-7D25-819260F77155}"/>
              </a:ext>
            </a:extLst>
          </p:cNvPr>
          <p:cNvGraphicFramePr>
            <a:graphicFrameLocks noChangeAspect="1"/>
          </p:cNvGraphicFramePr>
          <p:nvPr userDrawn="1">
            <p:custDataLst>
              <p:tags r:id="rId1"/>
            </p:custDataLst>
            <p:extLst>
              <p:ext uri="{D42A27DB-BD31-4B8C-83A1-F6EECF244321}">
                <p14:modId xmlns:p14="http://schemas.microsoft.com/office/powerpoint/2010/main" val="392658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think-cell data - do not delete" hidden="1">
                        <a:extLst>
                          <a:ext uri="{FF2B5EF4-FFF2-40B4-BE49-F238E27FC236}">
                            <a16:creationId xmlns:a16="http://schemas.microsoft.com/office/drawing/2014/main" id="{6EEC2AB0-18D6-E530-7D25-819260F771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logo sm" descr="Transamerica Logo">
            <a:extLst>
              <a:ext uri="{FF2B5EF4-FFF2-40B4-BE49-F238E27FC236}">
                <a16:creationId xmlns:a16="http://schemas.microsoft.com/office/drawing/2014/main" id="{74314361-5A8A-92FB-DFF9-353A1ED01E38}"/>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9799200" y="6053051"/>
            <a:ext cx="2138400" cy="804949"/>
          </a:xfrm>
          <a:prstGeom prst="rect">
            <a:avLst/>
          </a:prstGeom>
        </p:spPr>
      </p:pic>
      <p:sp>
        <p:nvSpPr>
          <p:cNvPr id="8" name="Title 7">
            <a:extLst>
              <a:ext uri="{FF2B5EF4-FFF2-40B4-BE49-F238E27FC236}">
                <a16:creationId xmlns:a16="http://schemas.microsoft.com/office/drawing/2014/main" id="{9A76C876-1006-1F2E-5CCD-A5FAB44D4919}"/>
              </a:ext>
            </a:extLst>
          </p:cNvPr>
          <p:cNvSpPr>
            <a:spLocks noGrp="1"/>
          </p:cNvSpPr>
          <p:nvPr>
            <p:ph type="title"/>
          </p:nvPr>
        </p:nvSpPr>
        <p:spPr>
          <a:xfrm>
            <a:off x="521206" y="324362"/>
            <a:ext cx="5574793" cy="944637"/>
          </a:xfrm>
          <a:prstGeom prst="rect">
            <a:avLst/>
          </a:prstGeom>
        </p:spPr>
        <p:txBody>
          <a:bodyPr/>
          <a:lstStyle>
            <a:lvl1pPr>
              <a:defRPr>
                <a:solidFill>
                  <a:schemeClr val="bg1"/>
                </a:solidFill>
              </a:defRPr>
            </a:lvl1pPr>
          </a:lstStyle>
          <a:p>
            <a:r>
              <a:rPr lang="en-US"/>
              <a:t>Click to edit Master title style</a:t>
            </a:r>
          </a:p>
        </p:txBody>
      </p:sp>
      <p:sp>
        <p:nvSpPr>
          <p:cNvPr id="4" name="Subtitle 2">
            <a:extLst>
              <a:ext uri="{FF2B5EF4-FFF2-40B4-BE49-F238E27FC236}">
                <a16:creationId xmlns:a16="http://schemas.microsoft.com/office/drawing/2014/main" id="{A121946F-A8E4-4EF9-C9AD-9E18743E4894}"/>
              </a:ext>
            </a:extLst>
          </p:cNvPr>
          <p:cNvSpPr>
            <a:spLocks noGrp="1"/>
          </p:cNvSpPr>
          <p:nvPr>
            <p:ph type="body" sz="quarter" idx="17" hasCustomPrompt="1"/>
          </p:nvPr>
        </p:nvSpPr>
        <p:spPr>
          <a:xfrm>
            <a:off x="521208" y="1270518"/>
            <a:ext cx="5574792" cy="358482"/>
          </a:xfrm>
          <a:prstGeom prst="rect">
            <a:avLst/>
          </a:prstGeom>
        </p:spPr>
        <p:txBody>
          <a:bodyPr>
            <a:noAutofit/>
          </a:bodyPr>
          <a:lstStyle>
            <a:lvl1pPr>
              <a:lnSpc>
                <a:spcPct val="90000"/>
              </a:lnSpc>
              <a:defRPr sz="2200" b="0" i="0">
                <a:solidFill>
                  <a:schemeClr val="bg1"/>
                </a:solidFill>
                <a:latin typeface="Forever Forma Heading" pitchFamily="2" charset="0"/>
              </a:defRPr>
            </a:lvl1pPr>
          </a:lstStyle>
          <a:p>
            <a:pPr lvl="0"/>
            <a:r>
              <a:rPr lang="en-US"/>
              <a:t>Click to edit subtitle</a:t>
            </a:r>
          </a:p>
        </p:txBody>
      </p:sp>
      <p:sp>
        <p:nvSpPr>
          <p:cNvPr id="5" name="Content Placeholder 2">
            <a:extLst>
              <a:ext uri="{FF2B5EF4-FFF2-40B4-BE49-F238E27FC236}">
                <a16:creationId xmlns:a16="http://schemas.microsoft.com/office/drawing/2014/main" id="{57D70AAC-696B-E03C-CF62-0B48E39FD26B}"/>
              </a:ext>
            </a:extLst>
          </p:cNvPr>
          <p:cNvSpPr>
            <a:spLocks noGrp="1"/>
          </p:cNvSpPr>
          <p:nvPr>
            <p:ph sz="half" idx="1"/>
          </p:nvPr>
        </p:nvSpPr>
        <p:spPr>
          <a:xfrm>
            <a:off x="521207" y="1774800"/>
            <a:ext cx="5574791" cy="4275150"/>
          </a:xfrm>
          <a:prstGeom prst="rect">
            <a:avLst/>
          </a:prstGeom>
        </p:spPr>
        <p:txBody>
          <a:bodyPr/>
          <a:lstStyle>
            <a:lvl1pPr>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b="0" i="0">
                <a:solidFill>
                  <a:schemeClr val="bg1"/>
                </a:solidFill>
                <a:latin typeface="Forever Forma Body Text" pitchFamily="2" charset="0"/>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 name="Picture Placeholder 20">
            <a:extLst>
              <a:ext uri="{FF2B5EF4-FFF2-40B4-BE49-F238E27FC236}">
                <a16:creationId xmlns:a16="http://schemas.microsoft.com/office/drawing/2014/main" id="{45CE999B-04A1-3A90-6F17-B643E7F0EEBC}"/>
              </a:ext>
            </a:extLst>
          </p:cNvPr>
          <p:cNvSpPr>
            <a:spLocks noGrp="1" noChangeAspect="1"/>
          </p:cNvSpPr>
          <p:nvPr>
            <p:ph type="pic" sz="quarter" idx="13" hasCustomPrompt="1"/>
          </p:nvPr>
        </p:nvSpPr>
        <p:spPr>
          <a:xfrm>
            <a:off x="6887850" y="1268251"/>
            <a:ext cx="4781567" cy="4781700"/>
          </a:xfrm>
          <a:custGeom>
            <a:avLst/>
            <a:gdLst>
              <a:gd name="connsiteX0" fmla="*/ 1892106 w 6459796"/>
              <a:gd name="connsiteY0" fmla="*/ 0 h 6459796"/>
              <a:gd name="connsiteX1" fmla="*/ 4567690 w 6459796"/>
              <a:gd name="connsiteY1" fmla="*/ 0 h 6459796"/>
              <a:gd name="connsiteX2" fmla="*/ 6459796 w 6459796"/>
              <a:gd name="connsiteY2" fmla="*/ 1892106 h 6459796"/>
              <a:gd name="connsiteX3" fmla="*/ 6459796 w 6459796"/>
              <a:gd name="connsiteY3" fmla="*/ 4567690 h 6459796"/>
              <a:gd name="connsiteX4" fmla="*/ 4567690 w 6459796"/>
              <a:gd name="connsiteY4" fmla="*/ 6459796 h 6459796"/>
              <a:gd name="connsiteX5" fmla="*/ 1892106 w 6459796"/>
              <a:gd name="connsiteY5" fmla="*/ 6459796 h 6459796"/>
              <a:gd name="connsiteX6" fmla="*/ 0 w 6459796"/>
              <a:gd name="connsiteY6" fmla="*/ 4567690 h 6459796"/>
              <a:gd name="connsiteX7" fmla="*/ 0 w 6459796"/>
              <a:gd name="connsiteY7" fmla="*/ 1892106 h 6459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59796" h="6459796">
                <a:moveTo>
                  <a:pt x="1892106" y="0"/>
                </a:moveTo>
                <a:lnTo>
                  <a:pt x="4567690" y="0"/>
                </a:lnTo>
                <a:lnTo>
                  <a:pt x="6459796" y="1892106"/>
                </a:lnTo>
                <a:lnTo>
                  <a:pt x="6459796" y="4567690"/>
                </a:lnTo>
                <a:lnTo>
                  <a:pt x="4567690" y="6459796"/>
                </a:lnTo>
                <a:lnTo>
                  <a:pt x="1892106" y="6459796"/>
                </a:lnTo>
                <a:lnTo>
                  <a:pt x="0" y="4567690"/>
                </a:lnTo>
                <a:lnTo>
                  <a:pt x="0" y="1892106"/>
                </a:lnTo>
                <a:close/>
              </a:path>
            </a:pathLst>
          </a:custGeom>
          <a:solidFill>
            <a:schemeClr val="bg1">
              <a:lumMod val="95000"/>
            </a:schemeClr>
          </a:solidFill>
        </p:spPr>
        <p:txBody>
          <a:bodyPr wrap="square" lIns="203200" tIns="201600" rIns="201600" bIns="201600" anchor="ctr" anchorCtr="0">
            <a:noAutofit/>
          </a:bodyPr>
          <a:lstStyle>
            <a:lvl1pPr algn="ctr">
              <a:defRPr/>
            </a:lvl1pPr>
          </a:lstStyle>
          <a:p>
            <a:r>
              <a:rPr lang="en-US"/>
              <a:t>Click icon to insert an image</a:t>
            </a:r>
          </a:p>
        </p:txBody>
      </p:sp>
      <p:sp>
        <p:nvSpPr>
          <p:cNvPr id="6" name="Slide Number Placeholder 5">
            <a:extLst>
              <a:ext uri="{FF2B5EF4-FFF2-40B4-BE49-F238E27FC236}">
                <a16:creationId xmlns:a16="http://schemas.microsoft.com/office/drawing/2014/main" id="{FEFED797-268F-0A4E-6712-4C5FAD34D056}"/>
              </a:ext>
              <a:ext uri="{C183D7F6-B498-43B3-948B-1728B52AA6E4}">
                <adec:decorative xmlns:adec="http://schemas.microsoft.com/office/drawing/2017/decorative" val="1"/>
              </a:ext>
            </a:extLst>
          </p:cNvPr>
          <p:cNvSpPr>
            <a:spLocks noGrp="1"/>
          </p:cNvSpPr>
          <p:nvPr userDrawn="1">
            <p:ph type="sldNum" sz="quarter" idx="15"/>
          </p:nvPr>
        </p:nvSpPr>
        <p:spPr/>
        <p:txBody>
          <a:bodyPr/>
          <a:lstStyle>
            <a:lvl1pPr>
              <a:defRPr>
                <a:solidFill>
                  <a:schemeClr val="bg1"/>
                </a:solidFill>
              </a:defRPr>
            </a:lvl1pPr>
          </a:lstStyle>
          <a:p>
            <a:fld id="{1C1606C5-D483-4832-A0E9-CF578A9B5883}" type="slidenum">
              <a:rPr lang="en-US" smtClean="0"/>
              <a:pPr/>
              <a:t>‹#›</a:t>
            </a:fld>
            <a:endParaRPr lang="en-US"/>
          </a:p>
        </p:txBody>
      </p:sp>
      <p:sp>
        <p:nvSpPr>
          <p:cNvPr id="7" name="footnotes">
            <a:extLst>
              <a:ext uri="{FF2B5EF4-FFF2-40B4-BE49-F238E27FC236}">
                <a16:creationId xmlns:a16="http://schemas.microsoft.com/office/drawing/2014/main" id="{2F12D0BA-13AF-F546-206F-64E952ACA9C5}"/>
              </a:ext>
            </a:extLst>
          </p:cNvPr>
          <p:cNvSpPr>
            <a:spLocks noGrp="1"/>
          </p:cNvSpPr>
          <p:nvPr>
            <p:ph type="body" sz="quarter" idx="14" hasCustomPrompt="1"/>
          </p:nvPr>
        </p:nvSpPr>
        <p:spPr>
          <a:xfrm>
            <a:off x="806401" y="6049950"/>
            <a:ext cx="5289597" cy="808050"/>
          </a:xfrm>
          <a:prstGeom prst="rect">
            <a:avLst/>
          </a:prstGeom>
        </p:spPr>
        <p:txBody>
          <a:bodyPr bIns="309600" anchor="b" anchorCtr="0"/>
          <a:lstStyle>
            <a:lvl1pPr>
              <a:lnSpc>
                <a:spcPct val="90000"/>
              </a:lnSpc>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9" name="Group 8">
            <a:extLst>
              <a:ext uri="{FF2B5EF4-FFF2-40B4-BE49-F238E27FC236}">
                <a16:creationId xmlns:a16="http://schemas.microsoft.com/office/drawing/2014/main" id="{34583B6E-58D9-E164-69C0-B92CFF44C347}"/>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10" name="Content Placeholder 15">
              <a:extLst>
                <a:ext uri="{FF2B5EF4-FFF2-40B4-BE49-F238E27FC236}">
                  <a16:creationId xmlns:a16="http://schemas.microsoft.com/office/drawing/2014/main" id="{9912F4E8-6C0F-BC9F-D381-5F40DA7BE1F6}"/>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12" name="TextBox 11">
              <a:extLst>
                <a:ext uri="{FF2B5EF4-FFF2-40B4-BE49-F238E27FC236}">
                  <a16:creationId xmlns:a16="http://schemas.microsoft.com/office/drawing/2014/main" id="{79462F7C-A3A6-85FA-3914-5D98AECA44D2}"/>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dark background)</a:t>
              </a:r>
            </a:p>
            <a:p>
              <a:pPr algn="l">
                <a:buNone/>
              </a:pPr>
              <a:endParaRPr lang="en-US" sz="1200" kern="100" spc="-30"/>
            </a:p>
          </p:txBody>
        </p:sp>
        <p:pic>
          <p:nvPicPr>
            <p:cNvPr id="13" name="Picture 12" descr="A screenshot of a color chart&#10;&#10;Description automatically generated">
              <a:extLst>
                <a:ext uri="{FF2B5EF4-FFF2-40B4-BE49-F238E27FC236}">
                  <a16:creationId xmlns:a16="http://schemas.microsoft.com/office/drawing/2014/main" id="{3CE8B80D-54CB-6CED-54BE-326529C4BF18}"/>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4" name="Rectangle 13">
              <a:extLst>
                <a:ext uri="{FF2B5EF4-FFF2-40B4-BE49-F238E27FC236}">
                  <a16:creationId xmlns:a16="http://schemas.microsoft.com/office/drawing/2014/main" id="{E5BAD9C7-6C44-1AC4-3525-FABE45CD69FC}"/>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EBFBB98E-3B2D-08C7-F23D-32B55123ACA3}"/>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 name="Group 15">
              <a:extLst>
                <a:ext uri="{FF2B5EF4-FFF2-40B4-BE49-F238E27FC236}">
                  <a16:creationId xmlns:a16="http://schemas.microsoft.com/office/drawing/2014/main" id="{D5C5EA59-E088-FE2F-6B33-6F2E6A876557}"/>
                </a:ext>
              </a:extLst>
            </p:cNvPr>
            <p:cNvGrpSpPr/>
            <p:nvPr userDrawn="1"/>
          </p:nvGrpSpPr>
          <p:grpSpPr>
            <a:xfrm>
              <a:off x="-2740233" y="3819615"/>
              <a:ext cx="2254459" cy="2600236"/>
              <a:chOff x="-3323173" y="3918039"/>
              <a:chExt cx="2815981" cy="3247881"/>
            </a:xfrm>
          </p:grpSpPr>
          <p:sp>
            <p:nvSpPr>
              <p:cNvPr id="19" name="Rectangle 18">
                <a:extLst>
                  <a:ext uri="{FF2B5EF4-FFF2-40B4-BE49-F238E27FC236}">
                    <a16:creationId xmlns:a16="http://schemas.microsoft.com/office/drawing/2014/main" id="{9B308BA7-D6DA-9EE1-2042-D7FEA091F7C1}"/>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20" name="Rectangle 19">
                <a:extLst>
                  <a:ext uri="{FF2B5EF4-FFF2-40B4-BE49-F238E27FC236}">
                    <a16:creationId xmlns:a16="http://schemas.microsoft.com/office/drawing/2014/main" id="{5FE29D69-7EBD-1903-1AFC-1B4B440B9064}"/>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1" name="Rectangle 20">
                <a:extLst>
                  <a:ext uri="{FF2B5EF4-FFF2-40B4-BE49-F238E27FC236}">
                    <a16:creationId xmlns:a16="http://schemas.microsoft.com/office/drawing/2014/main" id="{3C6B5333-C9D5-F6EB-E810-2FF5683C576E}"/>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2" name="TextBox 21">
                <a:extLst>
                  <a:ext uri="{FF2B5EF4-FFF2-40B4-BE49-F238E27FC236}">
                    <a16:creationId xmlns:a16="http://schemas.microsoft.com/office/drawing/2014/main" id="{D08EA89D-76DB-7E8B-6A12-11736C82EE2A}"/>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Dark Background Colors</a:t>
                </a:r>
              </a:p>
            </p:txBody>
          </p:sp>
          <p:sp>
            <p:nvSpPr>
              <p:cNvPr id="23" name="Right Brace 22">
                <a:extLst>
                  <a:ext uri="{FF2B5EF4-FFF2-40B4-BE49-F238E27FC236}">
                    <a16:creationId xmlns:a16="http://schemas.microsoft.com/office/drawing/2014/main" id="{EB8AF998-35D5-2B6E-5442-46FB47AFC8C3}"/>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39" name="Rectangle 38">
                <a:extLst>
                  <a:ext uri="{FF2B5EF4-FFF2-40B4-BE49-F238E27FC236}">
                    <a16:creationId xmlns:a16="http://schemas.microsoft.com/office/drawing/2014/main" id="{11A1DFC9-7072-6443-50C2-CA4AA5480642}"/>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7" name="Picture 16">
              <a:extLst>
                <a:ext uri="{FF2B5EF4-FFF2-40B4-BE49-F238E27FC236}">
                  <a16:creationId xmlns:a16="http://schemas.microsoft.com/office/drawing/2014/main" id="{9D67073E-FB9F-3EB0-5156-7FBB1A835063}"/>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18" name="Picture 17">
              <a:extLst>
                <a:ext uri="{FF2B5EF4-FFF2-40B4-BE49-F238E27FC236}">
                  <a16:creationId xmlns:a16="http://schemas.microsoft.com/office/drawing/2014/main" id="{42E581C7-6527-810A-F267-51563F42A9D1}"/>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
        <p:nvSpPr>
          <p:cNvPr id="24" name="Text Placeholder 7">
            <a:extLst>
              <a:ext uri="{FF2B5EF4-FFF2-40B4-BE49-F238E27FC236}">
                <a16:creationId xmlns:a16="http://schemas.microsoft.com/office/drawing/2014/main" id="{0BE18C35-7153-B863-91AC-2B77A7CA24E0}"/>
              </a:ext>
            </a:extLst>
          </p:cNvPr>
          <p:cNvSpPr>
            <a:spLocks noGrp="1"/>
          </p:cNvSpPr>
          <p:nvPr>
            <p:ph type="body" sz="quarter" idx="18"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1546528825"/>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Subtitle, Cont, Image - Dark Bk D">
    <p:bg>
      <p:bgPr>
        <a:solidFill>
          <a:srgbClr val="1D2550"/>
        </a:solidFill>
        <a:effectLst/>
      </p:bgPr>
    </p:bg>
    <p:spTree>
      <p:nvGrpSpPr>
        <p:cNvPr id="1" name=""/>
        <p:cNvGrpSpPr/>
        <p:nvPr/>
      </p:nvGrpSpPr>
      <p:grpSpPr>
        <a:xfrm>
          <a:off x="0" y="0"/>
          <a:ext cx="0" cy="0"/>
          <a:chOff x="0" y="0"/>
          <a:chExt cx="0" cy="0"/>
        </a:xfrm>
      </p:grpSpPr>
      <p:pic>
        <p:nvPicPr>
          <p:cNvPr id="8" name="logo sm" descr="Transamerica Logo">
            <a:extLst>
              <a:ext uri="{FF2B5EF4-FFF2-40B4-BE49-F238E27FC236}">
                <a16:creationId xmlns:a16="http://schemas.microsoft.com/office/drawing/2014/main" id="{606C69B2-8257-CAE9-AB84-38CF6F76ED63}"/>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799200" y="6053051"/>
            <a:ext cx="2138400" cy="804949"/>
          </a:xfrm>
          <a:prstGeom prst="rect">
            <a:avLst/>
          </a:prstGeom>
        </p:spPr>
      </p:pic>
      <p:sp>
        <p:nvSpPr>
          <p:cNvPr id="10" name="Title 9">
            <a:extLst>
              <a:ext uri="{FF2B5EF4-FFF2-40B4-BE49-F238E27FC236}">
                <a16:creationId xmlns:a16="http://schemas.microsoft.com/office/drawing/2014/main" id="{E1FBEF16-611A-9DBA-B516-E3E4B1C9556F}"/>
              </a:ext>
            </a:extLst>
          </p:cNvPr>
          <p:cNvSpPr>
            <a:spLocks noGrp="1"/>
          </p:cNvSpPr>
          <p:nvPr>
            <p:ph type="title"/>
          </p:nvPr>
        </p:nvSpPr>
        <p:spPr>
          <a:xfrm>
            <a:off x="521208" y="324362"/>
            <a:ext cx="5574792" cy="944637"/>
          </a:xfrm>
          <a:prstGeom prst="rect">
            <a:avLst/>
          </a:prstGeom>
        </p:spPr>
        <p:txBody>
          <a:bodyPr/>
          <a:lstStyle>
            <a:lvl1pPr>
              <a:defRPr>
                <a:solidFill>
                  <a:schemeClr val="bg1"/>
                </a:solidFill>
              </a:defRPr>
            </a:lvl1pPr>
          </a:lstStyle>
          <a:p>
            <a:r>
              <a:rPr lang="en-US"/>
              <a:t>Click to edit Master title style</a:t>
            </a:r>
          </a:p>
        </p:txBody>
      </p:sp>
      <p:sp>
        <p:nvSpPr>
          <p:cNvPr id="4" name="Subtitle 2">
            <a:extLst>
              <a:ext uri="{FF2B5EF4-FFF2-40B4-BE49-F238E27FC236}">
                <a16:creationId xmlns:a16="http://schemas.microsoft.com/office/drawing/2014/main" id="{D4BE82FE-DFC3-73E5-39BF-CB57D0D1006A}"/>
              </a:ext>
            </a:extLst>
          </p:cNvPr>
          <p:cNvSpPr>
            <a:spLocks noGrp="1"/>
          </p:cNvSpPr>
          <p:nvPr>
            <p:ph type="body" sz="quarter" idx="17" hasCustomPrompt="1"/>
          </p:nvPr>
        </p:nvSpPr>
        <p:spPr>
          <a:xfrm>
            <a:off x="521208" y="1270518"/>
            <a:ext cx="5574792" cy="358482"/>
          </a:xfrm>
          <a:prstGeom prst="rect">
            <a:avLst/>
          </a:prstGeom>
        </p:spPr>
        <p:txBody>
          <a:bodyPr>
            <a:noAutofit/>
          </a:bodyPr>
          <a:lstStyle>
            <a:lvl1pPr>
              <a:lnSpc>
                <a:spcPct val="90000"/>
              </a:lnSpc>
              <a:defRPr sz="2200" b="0" i="0">
                <a:solidFill>
                  <a:schemeClr val="bg1"/>
                </a:solidFill>
                <a:latin typeface="Forever Forma Heading" pitchFamily="2" charset="0"/>
              </a:defRPr>
            </a:lvl1pPr>
          </a:lstStyle>
          <a:p>
            <a:pPr lvl="0"/>
            <a:r>
              <a:rPr lang="en-US"/>
              <a:t>Click to edit subtitle</a:t>
            </a:r>
          </a:p>
        </p:txBody>
      </p:sp>
      <p:sp>
        <p:nvSpPr>
          <p:cNvPr id="5" name="Content Placeholder 2">
            <a:extLst>
              <a:ext uri="{FF2B5EF4-FFF2-40B4-BE49-F238E27FC236}">
                <a16:creationId xmlns:a16="http://schemas.microsoft.com/office/drawing/2014/main" id="{81C4C049-7312-EDC8-B658-F1500DE70E18}"/>
              </a:ext>
            </a:extLst>
          </p:cNvPr>
          <p:cNvSpPr>
            <a:spLocks noGrp="1"/>
          </p:cNvSpPr>
          <p:nvPr>
            <p:ph sz="half" idx="1"/>
          </p:nvPr>
        </p:nvSpPr>
        <p:spPr>
          <a:xfrm>
            <a:off x="521207" y="1774800"/>
            <a:ext cx="5574791" cy="4275150"/>
          </a:xfrm>
          <a:prstGeom prst="rect">
            <a:avLst/>
          </a:prstGeom>
        </p:spPr>
        <p:txBody>
          <a:bodyPr/>
          <a:lstStyle>
            <a:lvl1pPr>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b="0" i="0">
                <a:solidFill>
                  <a:schemeClr val="bg1"/>
                </a:solidFill>
                <a:latin typeface="Forever Forma Body Text" pitchFamily="2" charset="0"/>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 name="Picture Placeholder 5">
            <a:extLst>
              <a:ext uri="{FF2B5EF4-FFF2-40B4-BE49-F238E27FC236}">
                <a16:creationId xmlns:a16="http://schemas.microsoft.com/office/drawing/2014/main" id="{6079F735-8B69-E633-5D95-AE3D7D688380}"/>
              </a:ext>
            </a:extLst>
          </p:cNvPr>
          <p:cNvSpPr>
            <a:spLocks noGrp="1" noChangeAspect="1"/>
          </p:cNvSpPr>
          <p:nvPr>
            <p:ph type="pic" sz="quarter" idx="13" hasCustomPrompt="1"/>
          </p:nvPr>
        </p:nvSpPr>
        <p:spPr>
          <a:xfrm>
            <a:off x="6887851" y="1268250"/>
            <a:ext cx="4781566" cy="4781700"/>
          </a:xfrm>
          <a:custGeom>
            <a:avLst/>
            <a:gdLst>
              <a:gd name="connsiteX0" fmla="*/ 2810626 w 5621249"/>
              <a:gd name="connsiteY0" fmla="*/ 0 h 5886870"/>
              <a:gd name="connsiteX1" fmla="*/ 5621249 w 5621249"/>
              <a:gd name="connsiteY1" fmla="*/ 1455691 h 5886870"/>
              <a:gd name="connsiteX2" fmla="*/ 5621249 w 5621249"/>
              <a:gd name="connsiteY2" fmla="*/ 4431180 h 5886870"/>
              <a:gd name="connsiteX3" fmla="*/ 2810626 w 5621249"/>
              <a:gd name="connsiteY3" fmla="*/ 5886870 h 5886870"/>
              <a:gd name="connsiteX4" fmla="*/ 0 w 5621249"/>
              <a:gd name="connsiteY4" fmla="*/ 4431180 h 5886870"/>
              <a:gd name="connsiteX5" fmla="*/ 0 w 5621249"/>
              <a:gd name="connsiteY5" fmla="*/ 1455691 h 5886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21249" h="5886870">
                <a:moveTo>
                  <a:pt x="2810626" y="0"/>
                </a:moveTo>
                <a:lnTo>
                  <a:pt x="5621249" y="1455691"/>
                </a:lnTo>
                <a:lnTo>
                  <a:pt x="5621249" y="4431180"/>
                </a:lnTo>
                <a:lnTo>
                  <a:pt x="2810626" y="5886870"/>
                </a:lnTo>
                <a:lnTo>
                  <a:pt x="0" y="4431180"/>
                </a:lnTo>
                <a:lnTo>
                  <a:pt x="0" y="1455691"/>
                </a:lnTo>
                <a:close/>
              </a:path>
            </a:pathLst>
          </a:custGeom>
          <a:solidFill>
            <a:schemeClr val="bg1">
              <a:lumMod val="95000"/>
            </a:schemeClr>
          </a:solidFill>
        </p:spPr>
        <p:txBody>
          <a:bodyPr wrap="square" lIns="203200" tIns="201600" rIns="201600" bIns="201600" anchor="ctr" anchorCtr="0">
            <a:noAutofit/>
          </a:bodyPr>
          <a:lstStyle>
            <a:lvl1pPr algn="ctr">
              <a:defRPr/>
            </a:lvl1pPr>
          </a:lstStyle>
          <a:p>
            <a:r>
              <a:rPr lang="en-US"/>
              <a:t>Click icon to insert an image</a:t>
            </a:r>
          </a:p>
        </p:txBody>
      </p:sp>
      <p:sp>
        <p:nvSpPr>
          <p:cNvPr id="6" name="Slide Number Placeholder 5">
            <a:extLst>
              <a:ext uri="{FF2B5EF4-FFF2-40B4-BE49-F238E27FC236}">
                <a16:creationId xmlns:a16="http://schemas.microsoft.com/office/drawing/2014/main" id="{FEFED797-268F-0A4E-6712-4C5FAD34D056}"/>
              </a:ext>
              <a:ext uri="{C183D7F6-B498-43B3-948B-1728B52AA6E4}">
                <adec:decorative xmlns:adec="http://schemas.microsoft.com/office/drawing/2017/decorative" val="1"/>
              </a:ext>
            </a:extLst>
          </p:cNvPr>
          <p:cNvSpPr>
            <a:spLocks noGrp="1"/>
          </p:cNvSpPr>
          <p:nvPr userDrawn="1">
            <p:ph type="sldNum" sz="quarter" idx="15"/>
          </p:nvPr>
        </p:nvSpPr>
        <p:spPr/>
        <p:txBody>
          <a:bodyPr/>
          <a:lstStyle>
            <a:lvl1pPr>
              <a:defRPr>
                <a:solidFill>
                  <a:schemeClr val="bg1"/>
                </a:solidFill>
              </a:defRPr>
            </a:lvl1pPr>
          </a:lstStyle>
          <a:p>
            <a:fld id="{1C1606C5-D483-4832-A0E9-CF578A9B5883}" type="slidenum">
              <a:rPr lang="en-US" smtClean="0"/>
              <a:pPr/>
              <a:t>‹#›</a:t>
            </a:fld>
            <a:endParaRPr lang="en-US"/>
          </a:p>
        </p:txBody>
      </p:sp>
      <p:sp>
        <p:nvSpPr>
          <p:cNvPr id="7" name="footnotes">
            <a:extLst>
              <a:ext uri="{FF2B5EF4-FFF2-40B4-BE49-F238E27FC236}">
                <a16:creationId xmlns:a16="http://schemas.microsoft.com/office/drawing/2014/main" id="{603D9E27-3F02-FE5E-606F-389B9CEA2047}"/>
              </a:ext>
            </a:extLst>
          </p:cNvPr>
          <p:cNvSpPr>
            <a:spLocks noGrp="1"/>
          </p:cNvSpPr>
          <p:nvPr>
            <p:ph type="body" sz="quarter" idx="14" hasCustomPrompt="1"/>
          </p:nvPr>
        </p:nvSpPr>
        <p:spPr>
          <a:xfrm>
            <a:off x="806401" y="6049950"/>
            <a:ext cx="5289597" cy="808050"/>
          </a:xfrm>
          <a:prstGeom prst="rect">
            <a:avLst/>
          </a:prstGeom>
        </p:spPr>
        <p:txBody>
          <a:bodyPr bIns="309600" anchor="b" anchorCtr="0"/>
          <a:lstStyle>
            <a:lvl1pPr>
              <a:lnSpc>
                <a:spcPct val="90000"/>
              </a:lnSpc>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3" name="Group 2">
            <a:extLst>
              <a:ext uri="{FF2B5EF4-FFF2-40B4-BE49-F238E27FC236}">
                <a16:creationId xmlns:a16="http://schemas.microsoft.com/office/drawing/2014/main" id="{8C5C1005-C70B-46D9-DBB9-B68509B27474}"/>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9" name="Content Placeholder 15">
              <a:extLst>
                <a:ext uri="{FF2B5EF4-FFF2-40B4-BE49-F238E27FC236}">
                  <a16:creationId xmlns:a16="http://schemas.microsoft.com/office/drawing/2014/main" id="{624F2162-EEB1-656D-81D2-61ED2BCE00EE}"/>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11" name="TextBox 10">
              <a:extLst>
                <a:ext uri="{FF2B5EF4-FFF2-40B4-BE49-F238E27FC236}">
                  <a16:creationId xmlns:a16="http://schemas.microsoft.com/office/drawing/2014/main" id="{0BAC8C80-460B-5253-18DF-160FBD78129E}"/>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dark background)</a:t>
              </a:r>
            </a:p>
            <a:p>
              <a:pPr algn="l">
                <a:buNone/>
              </a:pPr>
              <a:endParaRPr lang="en-US" sz="1200" kern="100" spc="-30"/>
            </a:p>
          </p:txBody>
        </p:sp>
        <p:pic>
          <p:nvPicPr>
            <p:cNvPr id="12" name="Picture 11" descr="A screenshot of a color chart&#10;&#10;Description automatically generated">
              <a:extLst>
                <a:ext uri="{FF2B5EF4-FFF2-40B4-BE49-F238E27FC236}">
                  <a16:creationId xmlns:a16="http://schemas.microsoft.com/office/drawing/2014/main" id="{26C359F0-F9A1-EA3A-629C-031858FF0FB1}"/>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3" name="Rectangle 12">
              <a:extLst>
                <a:ext uri="{FF2B5EF4-FFF2-40B4-BE49-F238E27FC236}">
                  <a16:creationId xmlns:a16="http://schemas.microsoft.com/office/drawing/2014/main" id="{B795F987-A688-27B9-8B4F-001146EA2C6B}"/>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5FB1F663-CD66-719F-A8EF-38AC7C146360}"/>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a:extLst>
                <a:ext uri="{FF2B5EF4-FFF2-40B4-BE49-F238E27FC236}">
                  <a16:creationId xmlns:a16="http://schemas.microsoft.com/office/drawing/2014/main" id="{3DB74AC8-FDDD-3D46-AB96-6238564D1893}"/>
                </a:ext>
              </a:extLst>
            </p:cNvPr>
            <p:cNvGrpSpPr/>
            <p:nvPr userDrawn="1"/>
          </p:nvGrpSpPr>
          <p:grpSpPr>
            <a:xfrm>
              <a:off x="-2740233" y="3819615"/>
              <a:ext cx="2254459" cy="2600236"/>
              <a:chOff x="-3323173" y="3918039"/>
              <a:chExt cx="2815981" cy="3247881"/>
            </a:xfrm>
          </p:grpSpPr>
          <p:sp>
            <p:nvSpPr>
              <p:cNvPr id="18" name="Rectangle 17">
                <a:extLst>
                  <a:ext uri="{FF2B5EF4-FFF2-40B4-BE49-F238E27FC236}">
                    <a16:creationId xmlns:a16="http://schemas.microsoft.com/office/drawing/2014/main" id="{BB703AEE-53B7-8E21-2F33-32C6F140865F}"/>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9" name="Rectangle 18">
                <a:extLst>
                  <a:ext uri="{FF2B5EF4-FFF2-40B4-BE49-F238E27FC236}">
                    <a16:creationId xmlns:a16="http://schemas.microsoft.com/office/drawing/2014/main" id="{4A6F7306-DA89-129F-F112-9DACFFF3BD73}"/>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0" name="Rectangle 19">
                <a:extLst>
                  <a:ext uri="{FF2B5EF4-FFF2-40B4-BE49-F238E27FC236}">
                    <a16:creationId xmlns:a16="http://schemas.microsoft.com/office/drawing/2014/main" id="{1D11A523-BBDB-ED2F-FB49-969BEC97B2FC}"/>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1" name="TextBox 20">
                <a:extLst>
                  <a:ext uri="{FF2B5EF4-FFF2-40B4-BE49-F238E27FC236}">
                    <a16:creationId xmlns:a16="http://schemas.microsoft.com/office/drawing/2014/main" id="{957C998F-8333-15A4-B755-FBF261C8FA37}"/>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Dark Background Colors</a:t>
                </a:r>
              </a:p>
            </p:txBody>
          </p:sp>
          <p:sp>
            <p:nvSpPr>
              <p:cNvPr id="22" name="Right Brace 21">
                <a:extLst>
                  <a:ext uri="{FF2B5EF4-FFF2-40B4-BE49-F238E27FC236}">
                    <a16:creationId xmlns:a16="http://schemas.microsoft.com/office/drawing/2014/main" id="{36A8D183-5FB6-03C6-3044-28D45B9B061B}"/>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3" name="Rectangle 22">
                <a:extLst>
                  <a:ext uri="{FF2B5EF4-FFF2-40B4-BE49-F238E27FC236}">
                    <a16:creationId xmlns:a16="http://schemas.microsoft.com/office/drawing/2014/main" id="{4C9844E4-B149-FB7E-4298-9092C293D26A}"/>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6" name="Picture 15">
              <a:extLst>
                <a:ext uri="{FF2B5EF4-FFF2-40B4-BE49-F238E27FC236}">
                  <a16:creationId xmlns:a16="http://schemas.microsoft.com/office/drawing/2014/main" id="{53B7377C-0C1A-A357-587D-90711EFE2E9E}"/>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632579" y="972962"/>
              <a:ext cx="1260329" cy="802028"/>
            </a:xfrm>
            <a:prstGeom prst="rect">
              <a:avLst/>
            </a:prstGeom>
            <a:ln>
              <a:solidFill>
                <a:schemeClr val="accent6"/>
              </a:solidFill>
            </a:ln>
          </p:spPr>
        </p:pic>
        <p:pic>
          <p:nvPicPr>
            <p:cNvPr id="17" name="Picture 16">
              <a:extLst>
                <a:ext uri="{FF2B5EF4-FFF2-40B4-BE49-F238E27FC236}">
                  <a16:creationId xmlns:a16="http://schemas.microsoft.com/office/drawing/2014/main" id="{9F0B669C-90D9-B88C-ACA6-23FE19D26A41}"/>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5411" y="2002090"/>
              <a:ext cx="1265993" cy="943035"/>
            </a:xfrm>
            <a:prstGeom prst="rect">
              <a:avLst/>
            </a:prstGeom>
            <a:ln>
              <a:solidFill>
                <a:schemeClr val="accent6"/>
              </a:solidFill>
            </a:ln>
          </p:spPr>
        </p:pic>
      </p:grpSp>
      <p:sp>
        <p:nvSpPr>
          <p:cNvPr id="24" name="Text Placeholder 7">
            <a:extLst>
              <a:ext uri="{FF2B5EF4-FFF2-40B4-BE49-F238E27FC236}">
                <a16:creationId xmlns:a16="http://schemas.microsoft.com/office/drawing/2014/main" id="{EC9033F3-D3F8-E071-D497-EC74A224D6F0}"/>
              </a:ext>
            </a:extLst>
          </p:cNvPr>
          <p:cNvSpPr>
            <a:spLocks noGrp="1"/>
          </p:cNvSpPr>
          <p:nvPr>
            <p:ph type="body" sz="quarter" idx="18" hasCustomPrompt="1"/>
          </p:nvPr>
        </p:nvSpPr>
        <p:spPr>
          <a:xfrm>
            <a:off x="8564964" y="6313320"/>
            <a:ext cx="1014771" cy="298870"/>
          </a:xfrm>
          <a:prstGeom prst="rect">
            <a:avLst/>
          </a:prstGeom>
          <a:solidFill>
            <a:schemeClr val="bg1"/>
          </a:solidFill>
        </p:spPr>
        <p:txBody>
          <a:bodyPr wrap="none" lIns="75600" tIns="75600" rIns="75600" bIns="75600" anchor="b" anchorCtr="0">
            <a:spAutoFit/>
          </a:bodyPr>
          <a:lstStyle>
            <a:lvl1pPr algn="r">
              <a:spcBef>
                <a:spcPts val="0"/>
              </a:spcBef>
              <a:defRPr sz="1000">
                <a:solidFill>
                  <a:schemeClr val="tx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372204680"/>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Subtitle, Cont, Image - Dark Bk E">
    <p:bg>
      <p:bgPr>
        <a:solidFill>
          <a:srgbClr val="0B3F2D"/>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BC0235-0706-C595-7DC9-A8A2ABA2F356}"/>
              </a:ext>
            </a:extLst>
          </p:cNvPr>
          <p:cNvSpPr>
            <a:spLocks noGrp="1"/>
          </p:cNvSpPr>
          <p:nvPr>
            <p:ph type="title"/>
          </p:nvPr>
        </p:nvSpPr>
        <p:spPr>
          <a:xfrm>
            <a:off x="6095999" y="324362"/>
            <a:ext cx="5574790" cy="944637"/>
          </a:xfrm>
          <a:prstGeom prst="rect">
            <a:avLst/>
          </a:prstGeom>
        </p:spPr>
        <p:txBody>
          <a:bodyPr/>
          <a:lstStyle>
            <a:lvl1pPr>
              <a:defRPr>
                <a:solidFill>
                  <a:schemeClr val="bg1"/>
                </a:solidFill>
              </a:defRPr>
            </a:lvl1pPr>
          </a:lstStyle>
          <a:p>
            <a:r>
              <a:rPr lang="en-US"/>
              <a:t>Click to edit Master title style</a:t>
            </a:r>
          </a:p>
        </p:txBody>
      </p:sp>
      <p:sp>
        <p:nvSpPr>
          <p:cNvPr id="9" name="Subtitle 2">
            <a:extLst>
              <a:ext uri="{FF2B5EF4-FFF2-40B4-BE49-F238E27FC236}">
                <a16:creationId xmlns:a16="http://schemas.microsoft.com/office/drawing/2014/main" id="{FA9336B0-F4CA-865C-C61D-B6D7F43F5130}"/>
              </a:ext>
            </a:extLst>
          </p:cNvPr>
          <p:cNvSpPr>
            <a:spLocks noGrp="1"/>
          </p:cNvSpPr>
          <p:nvPr>
            <p:ph type="body" sz="quarter" idx="17" hasCustomPrompt="1"/>
          </p:nvPr>
        </p:nvSpPr>
        <p:spPr>
          <a:xfrm>
            <a:off x="6095998" y="1270518"/>
            <a:ext cx="5574790" cy="358482"/>
          </a:xfrm>
          <a:prstGeom prst="rect">
            <a:avLst/>
          </a:prstGeom>
        </p:spPr>
        <p:txBody>
          <a:bodyPr>
            <a:noAutofit/>
          </a:bodyPr>
          <a:lstStyle>
            <a:lvl1pPr>
              <a:lnSpc>
                <a:spcPct val="90000"/>
              </a:lnSpc>
              <a:defRPr sz="2200" b="0" i="0">
                <a:solidFill>
                  <a:schemeClr val="bg1"/>
                </a:solidFill>
                <a:latin typeface="Forever Forma Heading" pitchFamily="2" charset="0"/>
              </a:defRPr>
            </a:lvl1pPr>
          </a:lstStyle>
          <a:p>
            <a:pPr lvl="0"/>
            <a:r>
              <a:rPr lang="en-US"/>
              <a:t>Click to edit subtitle</a:t>
            </a:r>
          </a:p>
        </p:txBody>
      </p:sp>
      <p:sp>
        <p:nvSpPr>
          <p:cNvPr id="4" name="Content Placeholder 2">
            <a:extLst>
              <a:ext uri="{FF2B5EF4-FFF2-40B4-BE49-F238E27FC236}">
                <a16:creationId xmlns:a16="http://schemas.microsoft.com/office/drawing/2014/main" id="{3A97F0B8-7A42-B657-AE37-811510FDB77B}"/>
              </a:ext>
            </a:extLst>
          </p:cNvPr>
          <p:cNvSpPr>
            <a:spLocks noGrp="1"/>
          </p:cNvSpPr>
          <p:nvPr>
            <p:ph idx="1"/>
          </p:nvPr>
        </p:nvSpPr>
        <p:spPr>
          <a:xfrm>
            <a:off x="6095998" y="1774800"/>
            <a:ext cx="5574790" cy="4275150"/>
          </a:xfrm>
          <a:prstGeom prst="rect">
            <a:avLst/>
          </a:prstGeom>
        </p:spPr>
        <p:txBody>
          <a:bodyPr/>
          <a:lstStyle>
            <a:lvl1pPr>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b="0" i="0">
                <a:solidFill>
                  <a:schemeClr val="bg1"/>
                </a:solidFill>
                <a:latin typeface="Forever Forma Body Text" pitchFamily="2" charset="0"/>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Picture Placeholder 6">
            <a:extLst>
              <a:ext uri="{FF2B5EF4-FFF2-40B4-BE49-F238E27FC236}">
                <a16:creationId xmlns:a16="http://schemas.microsoft.com/office/drawing/2014/main" id="{8E6E698B-4E80-CAB9-E1ED-F9444A921692}"/>
              </a:ext>
            </a:extLst>
          </p:cNvPr>
          <p:cNvSpPr>
            <a:spLocks noGrp="1"/>
          </p:cNvSpPr>
          <p:nvPr>
            <p:ph type="pic" sz="quarter" idx="19" hasCustomPrompt="1"/>
          </p:nvPr>
        </p:nvSpPr>
        <p:spPr>
          <a:xfrm>
            <a:off x="0" y="-4"/>
            <a:ext cx="5627995" cy="6858006"/>
          </a:xfrm>
          <a:custGeom>
            <a:avLst/>
            <a:gdLst>
              <a:gd name="connsiteX0" fmla="*/ 0 w 5627995"/>
              <a:gd name="connsiteY0" fmla="*/ 0 h 6858006"/>
              <a:gd name="connsiteX1" fmla="*/ 3000000 w 5627995"/>
              <a:gd name="connsiteY1" fmla="*/ 0 h 6858006"/>
              <a:gd name="connsiteX2" fmla="*/ 3000000 w 5627995"/>
              <a:gd name="connsiteY2" fmla="*/ 11 h 6858006"/>
              <a:gd name="connsiteX3" fmla="*/ 3714196 w 5627995"/>
              <a:gd name="connsiteY3" fmla="*/ 11 h 6858006"/>
              <a:gd name="connsiteX4" fmla="*/ 5627995 w 5627995"/>
              <a:gd name="connsiteY4" fmla="*/ 3429006 h 6858006"/>
              <a:gd name="connsiteX5" fmla="*/ 3714196 w 5627995"/>
              <a:gd name="connsiteY5" fmla="*/ 6858006 h 6858006"/>
              <a:gd name="connsiteX6" fmla="*/ 0 w 5627995"/>
              <a:gd name="connsiteY6" fmla="*/ 6858006 h 6858006"/>
              <a:gd name="connsiteX7" fmla="*/ 0 w 5627995"/>
              <a:gd name="connsiteY7" fmla="*/ 6858003 h 6858006"/>
              <a:gd name="connsiteX8" fmla="*/ 0 w 5627995"/>
              <a:gd name="connsiteY8" fmla="*/ 11 h 6858006"/>
              <a:gd name="connsiteX0" fmla="*/ 0 w 5627995"/>
              <a:gd name="connsiteY0" fmla="*/ 0 h 6858006"/>
              <a:gd name="connsiteX1" fmla="*/ 3000000 w 5627995"/>
              <a:gd name="connsiteY1" fmla="*/ 0 h 6858006"/>
              <a:gd name="connsiteX2" fmla="*/ 3714196 w 5627995"/>
              <a:gd name="connsiteY2" fmla="*/ 11 h 6858006"/>
              <a:gd name="connsiteX3" fmla="*/ 5627995 w 5627995"/>
              <a:gd name="connsiteY3" fmla="*/ 3429006 h 6858006"/>
              <a:gd name="connsiteX4" fmla="*/ 3714196 w 5627995"/>
              <a:gd name="connsiteY4" fmla="*/ 6858006 h 6858006"/>
              <a:gd name="connsiteX5" fmla="*/ 0 w 5627995"/>
              <a:gd name="connsiteY5" fmla="*/ 6858006 h 6858006"/>
              <a:gd name="connsiteX6" fmla="*/ 0 w 5627995"/>
              <a:gd name="connsiteY6" fmla="*/ 6858003 h 6858006"/>
              <a:gd name="connsiteX7" fmla="*/ 0 w 5627995"/>
              <a:gd name="connsiteY7" fmla="*/ 11 h 6858006"/>
              <a:gd name="connsiteX8" fmla="*/ 0 w 5627995"/>
              <a:gd name="connsiteY8" fmla="*/ 0 h 6858006"/>
              <a:gd name="connsiteX0" fmla="*/ 0 w 5627995"/>
              <a:gd name="connsiteY0" fmla="*/ 0 h 6858006"/>
              <a:gd name="connsiteX1" fmla="*/ 3714196 w 5627995"/>
              <a:gd name="connsiteY1" fmla="*/ 11 h 6858006"/>
              <a:gd name="connsiteX2" fmla="*/ 5627995 w 5627995"/>
              <a:gd name="connsiteY2" fmla="*/ 3429006 h 6858006"/>
              <a:gd name="connsiteX3" fmla="*/ 3714196 w 5627995"/>
              <a:gd name="connsiteY3" fmla="*/ 6858006 h 6858006"/>
              <a:gd name="connsiteX4" fmla="*/ 0 w 5627995"/>
              <a:gd name="connsiteY4" fmla="*/ 6858006 h 6858006"/>
              <a:gd name="connsiteX5" fmla="*/ 0 w 5627995"/>
              <a:gd name="connsiteY5" fmla="*/ 6858003 h 6858006"/>
              <a:gd name="connsiteX6" fmla="*/ 0 w 5627995"/>
              <a:gd name="connsiteY6" fmla="*/ 11 h 6858006"/>
              <a:gd name="connsiteX7" fmla="*/ 0 w 5627995"/>
              <a:gd name="connsiteY7" fmla="*/ 0 h 68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27995" h="6858006">
                <a:moveTo>
                  <a:pt x="0" y="0"/>
                </a:moveTo>
                <a:lnTo>
                  <a:pt x="3714196" y="11"/>
                </a:lnTo>
                <a:lnTo>
                  <a:pt x="5627995" y="3429006"/>
                </a:lnTo>
                <a:lnTo>
                  <a:pt x="3714196" y="6858006"/>
                </a:lnTo>
                <a:lnTo>
                  <a:pt x="0" y="6858006"/>
                </a:lnTo>
                <a:lnTo>
                  <a:pt x="0" y="6858003"/>
                </a:lnTo>
                <a:lnTo>
                  <a:pt x="0" y="11"/>
                </a:lnTo>
                <a:lnTo>
                  <a:pt x="0" y="0"/>
                </a:lnTo>
                <a:close/>
              </a:path>
            </a:pathLst>
          </a:custGeom>
          <a:solidFill>
            <a:schemeClr val="bg1">
              <a:lumMod val="95000"/>
            </a:schemeClr>
          </a:solidFill>
        </p:spPr>
        <p:txBody>
          <a:bodyPr vert="horz" wrap="square" lIns="201600" tIns="201600" rIns="201600" bIns="201600" rtlCol="0">
            <a:noAutofit/>
          </a:bodyPr>
          <a:lstStyle>
            <a:lvl1pPr>
              <a:defRPr lang="nl-NL"/>
            </a:lvl1pPr>
          </a:lstStyle>
          <a:p>
            <a:r>
              <a:rPr lang="en-US"/>
              <a:t>Click icon to insert an image</a:t>
            </a:r>
          </a:p>
        </p:txBody>
      </p:sp>
      <p:sp>
        <p:nvSpPr>
          <p:cNvPr id="6" name="Slide Number Placeholder 5">
            <a:extLst>
              <a:ext uri="{FF2B5EF4-FFF2-40B4-BE49-F238E27FC236}">
                <a16:creationId xmlns:a16="http://schemas.microsoft.com/office/drawing/2014/main" id="{2A60036F-0EFD-9372-6E0A-038761FCF5E7}"/>
              </a:ext>
              <a:ext uri="{C183D7F6-B498-43B3-948B-1728B52AA6E4}">
                <adec:decorative xmlns:adec="http://schemas.microsoft.com/office/drawing/2017/decorative" val="1"/>
              </a:ext>
            </a:extLst>
          </p:cNvPr>
          <p:cNvSpPr>
            <a:spLocks noGrp="1"/>
          </p:cNvSpPr>
          <p:nvPr>
            <p:ph type="sldNum" sz="quarter" idx="18"/>
          </p:nvPr>
        </p:nvSpPr>
        <p:spPr/>
        <p:txBody>
          <a:bodyPr/>
          <a:lstStyle/>
          <a:p>
            <a:fld id="{1C1606C5-D483-4832-A0E9-CF578A9B5883}" type="slidenum">
              <a:rPr lang="en-US" smtClean="0"/>
              <a:pPr/>
              <a:t>‹#›</a:t>
            </a:fld>
            <a:endParaRPr lang="en-US"/>
          </a:p>
        </p:txBody>
      </p:sp>
      <p:sp>
        <p:nvSpPr>
          <p:cNvPr id="8" name="footnotes">
            <a:extLst>
              <a:ext uri="{FF2B5EF4-FFF2-40B4-BE49-F238E27FC236}">
                <a16:creationId xmlns:a16="http://schemas.microsoft.com/office/drawing/2014/main" id="{6A5D82C3-1D73-E41A-E481-419DB579B82C}"/>
              </a:ext>
            </a:extLst>
          </p:cNvPr>
          <p:cNvSpPr>
            <a:spLocks noGrp="1"/>
          </p:cNvSpPr>
          <p:nvPr>
            <p:ph type="body" sz="quarter" idx="14" hasCustomPrompt="1"/>
          </p:nvPr>
        </p:nvSpPr>
        <p:spPr>
          <a:xfrm>
            <a:off x="6095998" y="6049950"/>
            <a:ext cx="3703202" cy="808050"/>
          </a:xfrm>
          <a:prstGeom prst="rect">
            <a:avLst/>
          </a:prstGeom>
        </p:spPr>
        <p:txBody>
          <a:bodyPr bIns="309600" anchor="b" anchorCtr="0"/>
          <a:lstStyle>
            <a:lvl1pPr>
              <a:lnSpc>
                <a:spcPct val="90000"/>
              </a:lnSpc>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pic>
        <p:nvPicPr>
          <p:cNvPr id="3" name="logo sm" descr="Transamerica Logo">
            <a:extLst>
              <a:ext uri="{FF2B5EF4-FFF2-40B4-BE49-F238E27FC236}">
                <a16:creationId xmlns:a16="http://schemas.microsoft.com/office/drawing/2014/main" id="{553EE0CF-AE3C-9BF5-DE90-CD2FC0AA588A}"/>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799200" y="6053051"/>
            <a:ext cx="2138400" cy="804949"/>
          </a:xfrm>
          <a:prstGeom prst="rect">
            <a:avLst/>
          </a:prstGeom>
        </p:spPr>
      </p:pic>
      <p:grpSp>
        <p:nvGrpSpPr>
          <p:cNvPr id="5" name="Group 4">
            <a:extLst>
              <a:ext uri="{FF2B5EF4-FFF2-40B4-BE49-F238E27FC236}">
                <a16:creationId xmlns:a16="http://schemas.microsoft.com/office/drawing/2014/main" id="{55E3858F-818E-16C2-1D1F-4A259760279A}"/>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10" name="Content Placeholder 15">
              <a:extLst>
                <a:ext uri="{FF2B5EF4-FFF2-40B4-BE49-F238E27FC236}">
                  <a16:creationId xmlns:a16="http://schemas.microsoft.com/office/drawing/2014/main" id="{4AEE505D-9C1E-71A7-B525-3E95FDA9341C}"/>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11" name="TextBox 10">
              <a:extLst>
                <a:ext uri="{FF2B5EF4-FFF2-40B4-BE49-F238E27FC236}">
                  <a16:creationId xmlns:a16="http://schemas.microsoft.com/office/drawing/2014/main" id="{0337BDD9-B6C2-FBE8-2B19-52406086C509}"/>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dark background)</a:t>
              </a:r>
            </a:p>
            <a:p>
              <a:pPr algn="l">
                <a:buNone/>
              </a:pPr>
              <a:endParaRPr lang="en-US" sz="1200" kern="100" spc="-30"/>
            </a:p>
          </p:txBody>
        </p:sp>
        <p:pic>
          <p:nvPicPr>
            <p:cNvPr id="12" name="Picture 11" descr="A screenshot of a color chart&#10;&#10;Description automatically generated">
              <a:extLst>
                <a:ext uri="{FF2B5EF4-FFF2-40B4-BE49-F238E27FC236}">
                  <a16:creationId xmlns:a16="http://schemas.microsoft.com/office/drawing/2014/main" id="{44737BED-1861-4441-35A3-3BA35B083548}"/>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3" name="Rectangle 12">
              <a:extLst>
                <a:ext uri="{FF2B5EF4-FFF2-40B4-BE49-F238E27FC236}">
                  <a16:creationId xmlns:a16="http://schemas.microsoft.com/office/drawing/2014/main" id="{B2579CF1-D724-199C-2EBB-5EACB7C7B898}"/>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58468A60-E836-5F1F-CC37-2DECF27BE003}"/>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a:extLst>
                <a:ext uri="{FF2B5EF4-FFF2-40B4-BE49-F238E27FC236}">
                  <a16:creationId xmlns:a16="http://schemas.microsoft.com/office/drawing/2014/main" id="{FFFCADF4-285C-234C-EF6F-1BE6B9F23485}"/>
                </a:ext>
              </a:extLst>
            </p:cNvPr>
            <p:cNvGrpSpPr/>
            <p:nvPr userDrawn="1"/>
          </p:nvGrpSpPr>
          <p:grpSpPr>
            <a:xfrm>
              <a:off x="-2740233" y="3819615"/>
              <a:ext cx="2254459" cy="2600236"/>
              <a:chOff x="-3323173" y="3918039"/>
              <a:chExt cx="2815981" cy="3247881"/>
            </a:xfrm>
          </p:grpSpPr>
          <p:sp>
            <p:nvSpPr>
              <p:cNvPr id="18" name="Rectangle 17">
                <a:extLst>
                  <a:ext uri="{FF2B5EF4-FFF2-40B4-BE49-F238E27FC236}">
                    <a16:creationId xmlns:a16="http://schemas.microsoft.com/office/drawing/2014/main" id="{656A1574-86B0-205B-567E-7A9A07159685}"/>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9" name="Rectangle 18">
                <a:extLst>
                  <a:ext uri="{FF2B5EF4-FFF2-40B4-BE49-F238E27FC236}">
                    <a16:creationId xmlns:a16="http://schemas.microsoft.com/office/drawing/2014/main" id="{02462095-658D-06B7-59A5-5F639609A964}"/>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0" name="Rectangle 19">
                <a:extLst>
                  <a:ext uri="{FF2B5EF4-FFF2-40B4-BE49-F238E27FC236}">
                    <a16:creationId xmlns:a16="http://schemas.microsoft.com/office/drawing/2014/main" id="{C7FCF116-1615-A60F-1E7C-D88EFDD61D33}"/>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1" name="TextBox 20">
                <a:extLst>
                  <a:ext uri="{FF2B5EF4-FFF2-40B4-BE49-F238E27FC236}">
                    <a16:creationId xmlns:a16="http://schemas.microsoft.com/office/drawing/2014/main" id="{D683258E-A034-76C8-4920-CBA18AE559ED}"/>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Dark Background Colors</a:t>
                </a:r>
              </a:p>
            </p:txBody>
          </p:sp>
          <p:sp>
            <p:nvSpPr>
              <p:cNvPr id="22" name="Right Brace 21">
                <a:extLst>
                  <a:ext uri="{FF2B5EF4-FFF2-40B4-BE49-F238E27FC236}">
                    <a16:creationId xmlns:a16="http://schemas.microsoft.com/office/drawing/2014/main" id="{0C7968AA-2E92-6BD3-937F-7F3A414CD70D}"/>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3" name="Rectangle 22">
                <a:extLst>
                  <a:ext uri="{FF2B5EF4-FFF2-40B4-BE49-F238E27FC236}">
                    <a16:creationId xmlns:a16="http://schemas.microsoft.com/office/drawing/2014/main" id="{13A66832-E9B0-C196-E836-EEC9F984CFA6}"/>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6" name="Picture 15">
              <a:extLst>
                <a:ext uri="{FF2B5EF4-FFF2-40B4-BE49-F238E27FC236}">
                  <a16:creationId xmlns:a16="http://schemas.microsoft.com/office/drawing/2014/main" id="{025374F7-9BB4-C2E4-F4DF-7ACA59883DF3}"/>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632579" y="972962"/>
              <a:ext cx="1260329" cy="802028"/>
            </a:xfrm>
            <a:prstGeom prst="rect">
              <a:avLst/>
            </a:prstGeom>
            <a:ln>
              <a:solidFill>
                <a:schemeClr val="accent6"/>
              </a:solidFill>
            </a:ln>
          </p:spPr>
        </p:pic>
        <p:pic>
          <p:nvPicPr>
            <p:cNvPr id="17" name="Picture 16">
              <a:extLst>
                <a:ext uri="{FF2B5EF4-FFF2-40B4-BE49-F238E27FC236}">
                  <a16:creationId xmlns:a16="http://schemas.microsoft.com/office/drawing/2014/main" id="{F153FC85-FD60-261C-8F06-8BE3EAF8C4C5}"/>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5411" y="2002090"/>
              <a:ext cx="1265993" cy="943035"/>
            </a:xfrm>
            <a:prstGeom prst="rect">
              <a:avLst/>
            </a:prstGeom>
            <a:ln>
              <a:solidFill>
                <a:schemeClr val="accent6"/>
              </a:solidFill>
            </a:ln>
          </p:spPr>
        </p:pic>
      </p:grpSp>
      <p:sp>
        <p:nvSpPr>
          <p:cNvPr id="25" name="Text Placeholder 7">
            <a:extLst>
              <a:ext uri="{FF2B5EF4-FFF2-40B4-BE49-F238E27FC236}">
                <a16:creationId xmlns:a16="http://schemas.microsoft.com/office/drawing/2014/main" id="{0668322F-112F-A04F-B1A7-B73A00317422}"/>
              </a:ext>
            </a:extLst>
          </p:cNvPr>
          <p:cNvSpPr>
            <a:spLocks noGrp="1"/>
          </p:cNvSpPr>
          <p:nvPr>
            <p:ph type="body" sz="quarter" idx="20" hasCustomPrompt="1"/>
          </p:nvPr>
        </p:nvSpPr>
        <p:spPr>
          <a:xfrm>
            <a:off x="1100957" y="6313320"/>
            <a:ext cx="1014772" cy="298870"/>
          </a:xfrm>
          <a:prstGeom prst="rect">
            <a:avLst/>
          </a:prstGeom>
          <a:solidFill>
            <a:srgbClr val="1D2550"/>
          </a:solidFill>
        </p:spPr>
        <p:txBody>
          <a:bodyPr wrap="none" lIns="75600" tIns="75600" rIns="75600" bIns="75600" anchor="b" anchorCtr="0">
            <a:spAutoFit/>
          </a:bodyPr>
          <a:lstStyle>
            <a:lvl1pPr algn="l">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124429118"/>
      </p:ext>
    </p:extLst>
  </p:cSld>
  <p:clrMapOvr>
    <a:masterClrMapping/>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itle, Subtitle, Cont, Image - Dark Bk F">
    <p:bg>
      <p:bgPr>
        <a:solidFill>
          <a:srgbClr val="CF00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743A4-B4CB-4B38-A367-DBD5C867AC4C}"/>
              </a:ext>
            </a:extLst>
          </p:cNvPr>
          <p:cNvSpPr>
            <a:spLocks noGrp="1"/>
          </p:cNvSpPr>
          <p:nvPr>
            <p:ph type="title"/>
          </p:nvPr>
        </p:nvSpPr>
        <p:spPr>
          <a:xfrm>
            <a:off x="521208" y="324362"/>
            <a:ext cx="4854792" cy="944637"/>
          </a:xfrm>
          <a:prstGeom prst="rect">
            <a:avLst/>
          </a:prstGeom>
        </p:spPr>
        <p:txBody>
          <a:bodyPr/>
          <a:lstStyle>
            <a:lvl1pPr>
              <a:defRPr>
                <a:solidFill>
                  <a:schemeClr val="bg1"/>
                </a:solidFill>
              </a:defRPr>
            </a:lvl1pPr>
          </a:lstStyle>
          <a:p>
            <a:r>
              <a:rPr lang="en-US"/>
              <a:t>Click to edit Master title style</a:t>
            </a:r>
          </a:p>
        </p:txBody>
      </p:sp>
      <p:sp>
        <p:nvSpPr>
          <p:cNvPr id="4" name="Subtitle 2">
            <a:extLst>
              <a:ext uri="{FF2B5EF4-FFF2-40B4-BE49-F238E27FC236}">
                <a16:creationId xmlns:a16="http://schemas.microsoft.com/office/drawing/2014/main" id="{45A2EB7B-C6C8-EFBA-9F99-FE67C7B94138}"/>
              </a:ext>
            </a:extLst>
          </p:cNvPr>
          <p:cNvSpPr>
            <a:spLocks noGrp="1"/>
          </p:cNvSpPr>
          <p:nvPr>
            <p:ph type="body" sz="quarter" idx="17" hasCustomPrompt="1"/>
          </p:nvPr>
        </p:nvSpPr>
        <p:spPr>
          <a:xfrm>
            <a:off x="521208" y="1270518"/>
            <a:ext cx="4854792" cy="358482"/>
          </a:xfrm>
          <a:prstGeom prst="rect">
            <a:avLst/>
          </a:prstGeom>
        </p:spPr>
        <p:txBody>
          <a:bodyPr>
            <a:noAutofit/>
          </a:bodyPr>
          <a:lstStyle>
            <a:lvl1pPr>
              <a:lnSpc>
                <a:spcPct val="90000"/>
              </a:lnSpc>
              <a:defRPr sz="2200" b="0" i="0">
                <a:solidFill>
                  <a:schemeClr val="bg1"/>
                </a:solidFill>
                <a:latin typeface="Forever Forma Heading" pitchFamily="2" charset="0"/>
              </a:defRPr>
            </a:lvl1pPr>
          </a:lstStyle>
          <a:p>
            <a:pPr lvl="0"/>
            <a:r>
              <a:rPr lang="en-US"/>
              <a:t>Click to edit subtitle</a:t>
            </a:r>
          </a:p>
        </p:txBody>
      </p:sp>
      <p:sp>
        <p:nvSpPr>
          <p:cNvPr id="9" name="Content Placeholder 2">
            <a:extLst>
              <a:ext uri="{FF2B5EF4-FFF2-40B4-BE49-F238E27FC236}">
                <a16:creationId xmlns:a16="http://schemas.microsoft.com/office/drawing/2014/main" id="{2981AA66-03F4-4A5C-05C3-A41FA73C2B91}"/>
              </a:ext>
            </a:extLst>
          </p:cNvPr>
          <p:cNvSpPr>
            <a:spLocks noGrp="1"/>
          </p:cNvSpPr>
          <p:nvPr>
            <p:ph sz="half" idx="1"/>
          </p:nvPr>
        </p:nvSpPr>
        <p:spPr>
          <a:xfrm>
            <a:off x="521208" y="1774800"/>
            <a:ext cx="4854792" cy="4275150"/>
          </a:xfrm>
          <a:prstGeom prst="rect">
            <a:avLst/>
          </a:prstGeom>
        </p:spPr>
        <p:txBody>
          <a:bodyPr/>
          <a:lstStyle>
            <a:lvl1pPr>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b="0" i="0">
                <a:solidFill>
                  <a:schemeClr val="bg1"/>
                </a:solidFill>
                <a:latin typeface="Forever Forma Body Text" pitchFamily="2" charset="0"/>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1" name="Picture Placeholder">
            <a:extLst>
              <a:ext uri="{FF2B5EF4-FFF2-40B4-BE49-F238E27FC236}">
                <a16:creationId xmlns:a16="http://schemas.microsoft.com/office/drawing/2014/main" id="{C49EF9F7-7212-ECF7-D163-B4BAC21A6452}"/>
              </a:ext>
            </a:extLst>
          </p:cNvPr>
          <p:cNvSpPr>
            <a:spLocks noGrp="1"/>
          </p:cNvSpPr>
          <p:nvPr userDrawn="1">
            <p:ph type="pic" sz="quarter" idx="13" hasCustomPrompt="1"/>
          </p:nvPr>
        </p:nvSpPr>
        <p:spPr>
          <a:xfrm>
            <a:off x="5628001" y="2"/>
            <a:ext cx="6563999" cy="6857998"/>
          </a:xfrm>
          <a:custGeom>
            <a:avLst/>
            <a:gdLst>
              <a:gd name="connsiteX0" fmla="*/ 4397477 w 6563999"/>
              <a:gd name="connsiteY0" fmla="*/ 0 h 6857998"/>
              <a:gd name="connsiteX1" fmla="*/ 6563999 w 6563999"/>
              <a:gd name="connsiteY1" fmla="*/ 0 h 6857998"/>
              <a:gd name="connsiteX2" fmla="*/ 6563999 w 6563999"/>
              <a:gd name="connsiteY2" fmla="*/ 6857998 h 6857998"/>
              <a:gd name="connsiteX3" fmla="*/ 4397477 w 6563999"/>
              <a:gd name="connsiteY3" fmla="*/ 6857998 h 6857998"/>
              <a:gd name="connsiteX4" fmla="*/ 1215509 w 6563999"/>
              <a:gd name="connsiteY4" fmla="*/ 5548120 h 6857998"/>
              <a:gd name="connsiteX5" fmla="*/ 0 w 6563999"/>
              <a:gd name="connsiteY5" fmla="*/ 3428999 h 6857998"/>
              <a:gd name="connsiteX6" fmla="*/ 1215509 w 6563999"/>
              <a:gd name="connsiteY6" fmla="*/ 130987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63999" h="6857998">
                <a:moveTo>
                  <a:pt x="4397477" y="0"/>
                </a:moveTo>
                <a:lnTo>
                  <a:pt x="6563999" y="0"/>
                </a:lnTo>
                <a:lnTo>
                  <a:pt x="6563999" y="6857998"/>
                </a:lnTo>
                <a:lnTo>
                  <a:pt x="4397477" y="6857998"/>
                </a:lnTo>
                <a:lnTo>
                  <a:pt x="1215509" y="5548120"/>
                </a:lnTo>
                <a:lnTo>
                  <a:pt x="0" y="3428999"/>
                </a:lnTo>
                <a:lnTo>
                  <a:pt x="1215509" y="1309878"/>
                </a:lnTo>
                <a:close/>
              </a:path>
            </a:pathLst>
          </a:custGeom>
          <a:solidFill>
            <a:schemeClr val="bg1">
              <a:lumMod val="95000"/>
            </a:schemeClr>
          </a:solidFill>
        </p:spPr>
        <p:txBody>
          <a:bodyPr wrap="square" lIns="203200" tIns="201600" rIns="201600" bIns="201600" anchor="ctr" anchorCtr="0">
            <a:noAutofit/>
          </a:bodyPr>
          <a:lstStyle>
            <a:lvl1pPr algn="ctr">
              <a:defRPr/>
            </a:lvl1pPr>
          </a:lstStyle>
          <a:p>
            <a:r>
              <a:rPr lang="en-US"/>
              <a:t>Click icon to insert an image</a:t>
            </a:r>
          </a:p>
        </p:txBody>
      </p:sp>
      <p:sp>
        <p:nvSpPr>
          <p:cNvPr id="6" name="Slide Number Placeholder 5">
            <a:extLst>
              <a:ext uri="{FF2B5EF4-FFF2-40B4-BE49-F238E27FC236}">
                <a16:creationId xmlns:a16="http://schemas.microsoft.com/office/drawing/2014/main" id="{FEFED797-268F-0A4E-6712-4C5FAD34D056}"/>
              </a:ext>
              <a:ext uri="{C183D7F6-B498-43B3-948B-1728B52AA6E4}">
                <adec:decorative xmlns:adec="http://schemas.microsoft.com/office/drawing/2017/decorative" val="1"/>
              </a:ext>
            </a:extLst>
          </p:cNvPr>
          <p:cNvSpPr>
            <a:spLocks noGrp="1"/>
          </p:cNvSpPr>
          <p:nvPr userDrawn="1">
            <p:ph type="sldNum" sz="quarter" idx="15"/>
          </p:nvPr>
        </p:nvSpPr>
        <p:spPr/>
        <p:txBody>
          <a:bodyPr/>
          <a:lstStyle>
            <a:lvl1pPr>
              <a:defRPr>
                <a:solidFill>
                  <a:schemeClr val="bg1"/>
                </a:solidFill>
              </a:defRPr>
            </a:lvl1pPr>
          </a:lstStyle>
          <a:p>
            <a:fld id="{1C1606C5-D483-4832-A0E9-CF578A9B5883}" type="slidenum">
              <a:rPr lang="en-US" smtClean="0"/>
              <a:pPr/>
              <a:t>‹#›</a:t>
            </a:fld>
            <a:endParaRPr lang="en-US"/>
          </a:p>
        </p:txBody>
      </p:sp>
      <p:sp>
        <p:nvSpPr>
          <p:cNvPr id="7" name="footnotes">
            <a:extLst>
              <a:ext uri="{FF2B5EF4-FFF2-40B4-BE49-F238E27FC236}">
                <a16:creationId xmlns:a16="http://schemas.microsoft.com/office/drawing/2014/main" id="{99B45289-3768-5D04-35A2-7B5B5E46218F}"/>
              </a:ext>
            </a:extLst>
          </p:cNvPr>
          <p:cNvSpPr>
            <a:spLocks noGrp="1"/>
          </p:cNvSpPr>
          <p:nvPr>
            <p:ph type="body" sz="quarter" idx="14" hasCustomPrompt="1"/>
          </p:nvPr>
        </p:nvSpPr>
        <p:spPr>
          <a:xfrm>
            <a:off x="806401" y="6049950"/>
            <a:ext cx="4569599" cy="808050"/>
          </a:xfrm>
          <a:prstGeom prst="rect">
            <a:avLst/>
          </a:prstGeom>
        </p:spPr>
        <p:txBody>
          <a:bodyPr bIns="309600" anchor="b" anchorCtr="0"/>
          <a:lstStyle>
            <a:lvl1pPr>
              <a:lnSpc>
                <a:spcPct val="90000"/>
              </a:lnSpc>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3" name="Group 2">
            <a:extLst>
              <a:ext uri="{FF2B5EF4-FFF2-40B4-BE49-F238E27FC236}">
                <a16:creationId xmlns:a16="http://schemas.microsoft.com/office/drawing/2014/main" id="{E50306DD-5A2F-D896-2A61-F33137B96702}"/>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5" name="Content Placeholder 15">
              <a:extLst>
                <a:ext uri="{FF2B5EF4-FFF2-40B4-BE49-F238E27FC236}">
                  <a16:creationId xmlns:a16="http://schemas.microsoft.com/office/drawing/2014/main" id="{5766DDF2-062C-8036-8A5E-7DC22B1EF184}"/>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8" name="TextBox 7">
              <a:extLst>
                <a:ext uri="{FF2B5EF4-FFF2-40B4-BE49-F238E27FC236}">
                  <a16:creationId xmlns:a16="http://schemas.microsoft.com/office/drawing/2014/main" id="{A6019A60-6427-DB65-0A6C-63DF4876FDF2}"/>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dark background)</a:t>
              </a:r>
            </a:p>
            <a:p>
              <a:pPr algn="l">
                <a:buNone/>
              </a:pPr>
              <a:endParaRPr lang="en-US" sz="1200" kern="100" spc="-30"/>
            </a:p>
          </p:txBody>
        </p:sp>
        <p:pic>
          <p:nvPicPr>
            <p:cNvPr id="10" name="Picture 9" descr="A screenshot of a color chart&#10;&#10;Description automatically generated">
              <a:extLst>
                <a:ext uri="{FF2B5EF4-FFF2-40B4-BE49-F238E27FC236}">
                  <a16:creationId xmlns:a16="http://schemas.microsoft.com/office/drawing/2014/main" id="{7C47E658-EF98-324C-2CC2-9ABB1BC4CC5E}"/>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2" name="Rectangle 11">
              <a:extLst>
                <a:ext uri="{FF2B5EF4-FFF2-40B4-BE49-F238E27FC236}">
                  <a16:creationId xmlns:a16="http://schemas.microsoft.com/office/drawing/2014/main" id="{31B5B6E3-FB75-4F4D-D970-9CB449EF7F99}"/>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DDFCDEF-766F-F823-0F0E-3E04714ED89D}"/>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 name="Group 13">
              <a:extLst>
                <a:ext uri="{FF2B5EF4-FFF2-40B4-BE49-F238E27FC236}">
                  <a16:creationId xmlns:a16="http://schemas.microsoft.com/office/drawing/2014/main" id="{C114C218-7E6D-3EC2-B3A2-E1FE9E595AD3}"/>
                </a:ext>
              </a:extLst>
            </p:cNvPr>
            <p:cNvGrpSpPr/>
            <p:nvPr userDrawn="1"/>
          </p:nvGrpSpPr>
          <p:grpSpPr>
            <a:xfrm>
              <a:off x="-2740233" y="3819615"/>
              <a:ext cx="2254459" cy="2600236"/>
              <a:chOff x="-3323173" y="3918039"/>
              <a:chExt cx="2815981" cy="3247881"/>
            </a:xfrm>
          </p:grpSpPr>
          <p:sp>
            <p:nvSpPr>
              <p:cNvPr id="17" name="Rectangle 16">
                <a:extLst>
                  <a:ext uri="{FF2B5EF4-FFF2-40B4-BE49-F238E27FC236}">
                    <a16:creationId xmlns:a16="http://schemas.microsoft.com/office/drawing/2014/main" id="{E4BEE568-1C4C-6B8B-57D7-5F5F293A535B}"/>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8" name="Rectangle 17">
                <a:extLst>
                  <a:ext uri="{FF2B5EF4-FFF2-40B4-BE49-F238E27FC236}">
                    <a16:creationId xmlns:a16="http://schemas.microsoft.com/office/drawing/2014/main" id="{49087A32-4022-1681-B827-26FC93AB91A1}"/>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9" name="Rectangle 18">
                <a:extLst>
                  <a:ext uri="{FF2B5EF4-FFF2-40B4-BE49-F238E27FC236}">
                    <a16:creationId xmlns:a16="http://schemas.microsoft.com/office/drawing/2014/main" id="{4369CE7D-9384-4938-A67E-E141C23CAEA5}"/>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0" name="TextBox 19">
                <a:extLst>
                  <a:ext uri="{FF2B5EF4-FFF2-40B4-BE49-F238E27FC236}">
                    <a16:creationId xmlns:a16="http://schemas.microsoft.com/office/drawing/2014/main" id="{59332D99-FFC0-D869-A5DB-950BC0431410}"/>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Dark Background Colors</a:t>
                </a:r>
              </a:p>
            </p:txBody>
          </p:sp>
          <p:sp>
            <p:nvSpPr>
              <p:cNvPr id="21" name="Right Brace 20">
                <a:extLst>
                  <a:ext uri="{FF2B5EF4-FFF2-40B4-BE49-F238E27FC236}">
                    <a16:creationId xmlns:a16="http://schemas.microsoft.com/office/drawing/2014/main" id="{2862B523-EC86-ECE2-2394-54067D74962C}"/>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2" name="Rectangle 21">
                <a:extLst>
                  <a:ext uri="{FF2B5EF4-FFF2-40B4-BE49-F238E27FC236}">
                    <a16:creationId xmlns:a16="http://schemas.microsoft.com/office/drawing/2014/main" id="{0B80C8E0-3BF7-DDA1-6CC0-4747B4590647}"/>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5" name="Picture 14">
              <a:extLst>
                <a:ext uri="{FF2B5EF4-FFF2-40B4-BE49-F238E27FC236}">
                  <a16:creationId xmlns:a16="http://schemas.microsoft.com/office/drawing/2014/main" id="{071FB7B0-1791-C95B-A857-46708588A8B3}"/>
                </a:ext>
                <a:ext uri="{C183D7F6-B498-43B3-948B-1728B52AA6E4}">
                  <adec:decorative xmlns:adec="http://schemas.microsoft.com/office/drawing/2017/decorative" val="1"/>
                </a:ext>
              </a:extLst>
            </p:cNvPr>
            <p:cNvPicPr>
              <a:picLocks noChangeAspect="1"/>
            </p:cNvPicPr>
            <p:nvPr userDrawn="1"/>
          </p:nvPicPr>
          <p:blipFill>
            <a:blip r:embed="rId3"/>
            <a:srcRect/>
            <a:stretch/>
          </p:blipFill>
          <p:spPr>
            <a:xfrm>
              <a:off x="-1632579" y="972962"/>
              <a:ext cx="1260329" cy="802028"/>
            </a:xfrm>
            <a:prstGeom prst="rect">
              <a:avLst/>
            </a:prstGeom>
            <a:ln>
              <a:solidFill>
                <a:schemeClr val="accent6"/>
              </a:solidFill>
            </a:ln>
          </p:spPr>
        </p:pic>
        <p:pic>
          <p:nvPicPr>
            <p:cNvPr id="16" name="Picture 15">
              <a:extLst>
                <a:ext uri="{FF2B5EF4-FFF2-40B4-BE49-F238E27FC236}">
                  <a16:creationId xmlns:a16="http://schemas.microsoft.com/office/drawing/2014/main" id="{01F2A52F-B20D-8058-7D0C-4BACA1B1A10A}"/>
                </a:ext>
                <a:ext uri="{C183D7F6-B498-43B3-948B-1728B52AA6E4}">
                  <adec:decorative xmlns:adec="http://schemas.microsoft.com/office/drawing/2017/decorative" val="1"/>
                </a:ext>
              </a:extLst>
            </p:cNvPr>
            <p:cNvPicPr>
              <a:picLocks noChangeAspect="1"/>
            </p:cNvPicPr>
            <p:nvPr userDrawn="1"/>
          </p:nvPicPr>
          <p:blipFill>
            <a:blip r:embed="rId4"/>
            <a:srcRect/>
            <a:stretch/>
          </p:blipFill>
          <p:spPr>
            <a:xfrm>
              <a:off x="-1635411" y="2002090"/>
              <a:ext cx="1265993" cy="943035"/>
            </a:xfrm>
            <a:prstGeom prst="rect">
              <a:avLst/>
            </a:prstGeom>
            <a:ln>
              <a:solidFill>
                <a:schemeClr val="accent6"/>
              </a:solidFill>
            </a:ln>
          </p:spPr>
        </p:pic>
      </p:grpSp>
      <p:sp>
        <p:nvSpPr>
          <p:cNvPr id="23" name="Text Placeholder 7">
            <a:extLst>
              <a:ext uri="{FF2B5EF4-FFF2-40B4-BE49-F238E27FC236}">
                <a16:creationId xmlns:a16="http://schemas.microsoft.com/office/drawing/2014/main" id="{B5CB9654-0673-9547-3991-4AAA9D0359E8}"/>
              </a:ext>
            </a:extLst>
          </p:cNvPr>
          <p:cNvSpPr>
            <a:spLocks noGrp="1"/>
          </p:cNvSpPr>
          <p:nvPr>
            <p:ph type="body" sz="quarter" idx="32" hasCustomPrompt="1"/>
          </p:nvPr>
        </p:nvSpPr>
        <p:spPr>
          <a:xfrm>
            <a:off x="10836865" y="246565"/>
            <a:ext cx="1014771" cy="298870"/>
          </a:xfrm>
          <a:prstGeom prst="rect">
            <a:avLst/>
          </a:prstGeom>
          <a:solidFill>
            <a:srgbClr val="1D2550"/>
          </a:solidFill>
        </p:spPr>
        <p:txBody>
          <a:bodyPr wrap="none" lIns="75600" tIns="75600" rIns="75600" bIns="75600" anchor="t"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137485565"/>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Content, Shape - Light Back A">
    <p:bg>
      <p:bgPr>
        <a:solidFill>
          <a:srgbClr val="63B6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254176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hape">
            <a:extLst>
              <a:ext uri="{FF2B5EF4-FFF2-40B4-BE49-F238E27FC236}">
                <a16:creationId xmlns:a16="http://schemas.microsoft.com/office/drawing/2014/main" id="{344630B8-C98D-D3B9-67A1-E0937CD3CD02}"/>
              </a:ext>
              <a:ext uri="{C183D7F6-B498-43B3-948B-1728B52AA6E4}">
                <adec:decorative xmlns:adec="http://schemas.microsoft.com/office/drawing/2017/decorative" val="1"/>
              </a:ext>
            </a:extLst>
          </p:cNvPr>
          <p:cNvSpPr/>
          <p:nvPr userDrawn="1"/>
        </p:nvSpPr>
        <p:spPr>
          <a:xfrm>
            <a:off x="2928001" y="0"/>
            <a:ext cx="9264000" cy="6858000"/>
          </a:xfrm>
          <a:custGeom>
            <a:avLst/>
            <a:gdLst>
              <a:gd name="connsiteX0" fmla="*/ 0 w 10502900"/>
              <a:gd name="connsiteY0" fmla="*/ 0 h 6858000"/>
              <a:gd name="connsiteX1" fmla="*/ 10502900 w 10502900"/>
              <a:gd name="connsiteY1" fmla="*/ 0 h 6858000"/>
              <a:gd name="connsiteX2" fmla="*/ 10502900 w 10502900"/>
              <a:gd name="connsiteY2" fmla="*/ 6858000 h 6858000"/>
              <a:gd name="connsiteX3" fmla="*/ 1406333 w 10502900"/>
              <a:gd name="connsiteY3" fmla="*/ 6858000 h 6858000"/>
              <a:gd name="connsiteX4" fmla="*/ 3820073 w 10502900"/>
              <a:gd name="connsiteY4" fmla="*/ 5548121 h 6858000"/>
              <a:gd name="connsiteX5" fmla="*/ 4742125 w 10502900"/>
              <a:gd name="connsiteY5" fmla="*/ 3428998 h 6858000"/>
              <a:gd name="connsiteX6" fmla="*/ 3820073 w 10502900"/>
              <a:gd name="connsiteY6" fmla="*/ 1309879 h 6858000"/>
              <a:gd name="connsiteX7" fmla="*/ 1406333 w 10502900"/>
              <a:gd name="connsiteY7" fmla="*/ 1 h 6858000"/>
              <a:gd name="connsiteX8" fmla="*/ 0 w 10502900"/>
              <a:gd name="connsiteY8" fmla="*/ 1 h 6858000"/>
              <a:gd name="connsiteX0" fmla="*/ 0 w 10502900"/>
              <a:gd name="connsiteY0" fmla="*/ 1 h 6858000"/>
              <a:gd name="connsiteX1" fmla="*/ 10502900 w 10502900"/>
              <a:gd name="connsiteY1" fmla="*/ 0 h 6858000"/>
              <a:gd name="connsiteX2" fmla="*/ 10502900 w 10502900"/>
              <a:gd name="connsiteY2" fmla="*/ 6858000 h 6858000"/>
              <a:gd name="connsiteX3" fmla="*/ 1406333 w 10502900"/>
              <a:gd name="connsiteY3" fmla="*/ 6858000 h 6858000"/>
              <a:gd name="connsiteX4" fmla="*/ 3820073 w 10502900"/>
              <a:gd name="connsiteY4" fmla="*/ 5548121 h 6858000"/>
              <a:gd name="connsiteX5" fmla="*/ 4742125 w 10502900"/>
              <a:gd name="connsiteY5" fmla="*/ 3428998 h 6858000"/>
              <a:gd name="connsiteX6" fmla="*/ 3820073 w 10502900"/>
              <a:gd name="connsiteY6" fmla="*/ 1309879 h 6858000"/>
              <a:gd name="connsiteX7" fmla="*/ 1406333 w 10502900"/>
              <a:gd name="connsiteY7" fmla="*/ 1 h 6858000"/>
              <a:gd name="connsiteX8" fmla="*/ 0 w 10502900"/>
              <a:gd name="connsiteY8" fmla="*/ 1 h 6858000"/>
              <a:gd name="connsiteX0" fmla="*/ 0 w 9096567"/>
              <a:gd name="connsiteY0" fmla="*/ 1 h 6858000"/>
              <a:gd name="connsiteX1" fmla="*/ 9096567 w 9096567"/>
              <a:gd name="connsiteY1" fmla="*/ 0 h 6858000"/>
              <a:gd name="connsiteX2" fmla="*/ 9096567 w 9096567"/>
              <a:gd name="connsiteY2" fmla="*/ 6858000 h 6858000"/>
              <a:gd name="connsiteX3" fmla="*/ 0 w 9096567"/>
              <a:gd name="connsiteY3" fmla="*/ 6858000 h 6858000"/>
              <a:gd name="connsiteX4" fmla="*/ 2413740 w 9096567"/>
              <a:gd name="connsiteY4" fmla="*/ 5548121 h 6858000"/>
              <a:gd name="connsiteX5" fmla="*/ 3335792 w 9096567"/>
              <a:gd name="connsiteY5" fmla="*/ 3428998 h 6858000"/>
              <a:gd name="connsiteX6" fmla="*/ 2413740 w 9096567"/>
              <a:gd name="connsiteY6" fmla="*/ 1309879 h 6858000"/>
              <a:gd name="connsiteX7" fmla="*/ 0 w 9096567"/>
              <a:gd name="connsiteY7"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96567" h="6858000">
                <a:moveTo>
                  <a:pt x="0" y="1"/>
                </a:moveTo>
                <a:lnTo>
                  <a:pt x="9096567" y="0"/>
                </a:lnTo>
                <a:lnTo>
                  <a:pt x="9096567" y="6858000"/>
                </a:lnTo>
                <a:lnTo>
                  <a:pt x="0" y="6858000"/>
                </a:lnTo>
                <a:lnTo>
                  <a:pt x="2413740" y="5548121"/>
                </a:lnTo>
                <a:lnTo>
                  <a:pt x="3335792" y="3428998"/>
                </a:lnTo>
                <a:lnTo>
                  <a:pt x="2413740" y="1309879"/>
                </a:lnTo>
                <a:lnTo>
                  <a:pt x="0" y="1"/>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Forever Forma Body Text" pitchFamily="2" charset="0"/>
            </a:endParaRPr>
          </a:p>
        </p:txBody>
      </p:sp>
      <p:pic>
        <p:nvPicPr>
          <p:cNvPr id="8" name="logo sm" descr="Transamerica Logo">
            <a:extLst>
              <a:ext uri="{FF2B5EF4-FFF2-40B4-BE49-F238E27FC236}">
                <a16:creationId xmlns:a16="http://schemas.microsoft.com/office/drawing/2014/main" id="{F50AF79B-55C2-D55D-6201-BB3366488C4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799200" y="6053050"/>
            <a:ext cx="2138400" cy="804950"/>
          </a:xfrm>
          <a:prstGeom prst="rect">
            <a:avLst/>
          </a:prstGeom>
        </p:spPr>
      </p:pic>
      <p:sp>
        <p:nvSpPr>
          <p:cNvPr id="6" name="Title 5">
            <a:extLst>
              <a:ext uri="{FF2B5EF4-FFF2-40B4-BE49-F238E27FC236}">
                <a16:creationId xmlns:a16="http://schemas.microsoft.com/office/drawing/2014/main" id="{652D13E3-58BD-D104-4F90-BAC6FCDDB569}"/>
              </a:ext>
            </a:extLst>
          </p:cNvPr>
          <p:cNvSpPr>
            <a:spLocks noGrp="1"/>
          </p:cNvSpPr>
          <p:nvPr>
            <p:ph type="title"/>
          </p:nvPr>
        </p:nvSpPr>
        <p:spPr>
          <a:xfrm>
            <a:off x="521208" y="1269000"/>
            <a:ext cx="5106792" cy="4320000"/>
          </a:xfrm>
          <a:prstGeom prst="rect">
            <a:avLst/>
          </a:prstGeom>
        </p:spPr>
        <p:txBody>
          <a:bodyPr anchor="ctr" anchorCtr="0"/>
          <a:lstStyle/>
          <a:p>
            <a:r>
              <a:rPr lang="en-US"/>
              <a:t>Click to edit Master title style</a:t>
            </a:r>
          </a:p>
        </p:txBody>
      </p:sp>
      <p:sp>
        <p:nvSpPr>
          <p:cNvPr id="13" name="Text Placeholder 12">
            <a:extLst>
              <a:ext uri="{FF2B5EF4-FFF2-40B4-BE49-F238E27FC236}">
                <a16:creationId xmlns:a16="http://schemas.microsoft.com/office/drawing/2014/main" id="{98BA2B9A-D146-D79C-2973-FBA71B289A78}"/>
              </a:ext>
            </a:extLst>
          </p:cNvPr>
          <p:cNvSpPr>
            <a:spLocks noGrp="1"/>
          </p:cNvSpPr>
          <p:nvPr>
            <p:ph type="body" sz="quarter" idx="13"/>
          </p:nvPr>
        </p:nvSpPr>
        <p:spPr>
          <a:xfrm>
            <a:off x="6552000" y="1269000"/>
            <a:ext cx="5106792" cy="4320000"/>
          </a:xfrm>
          <a:prstGeom prst="rect">
            <a:avLst/>
          </a:prstGeom>
        </p:spPr>
        <p:txBody>
          <a:bodyPr anchor="ctr" anchorCtr="0"/>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Slide Number Placeholder 3">
            <a:extLst>
              <a:ext uri="{FF2B5EF4-FFF2-40B4-BE49-F238E27FC236}">
                <a16:creationId xmlns:a16="http://schemas.microsoft.com/office/drawing/2014/main" id="{A9F40096-D548-3E3A-1132-E6A716C6E5EB}"/>
              </a:ext>
              <a:ext uri="{C183D7F6-B498-43B3-948B-1728B52AA6E4}">
                <adec:decorative xmlns:adec="http://schemas.microsoft.com/office/drawing/2017/decorative" val="1"/>
              </a:ext>
            </a:extLst>
          </p:cNvPr>
          <p:cNvSpPr>
            <a:spLocks noGrp="1"/>
          </p:cNvSpPr>
          <p:nvPr>
            <p:ph type="sldNum" sz="quarter" idx="14"/>
          </p:nvPr>
        </p:nvSpPr>
        <p:spPr/>
        <p:txBody>
          <a:bodyPr/>
          <a:lstStyle/>
          <a:p>
            <a:fld id="{1C1606C5-D483-4832-A0E9-CF578A9B5883}" type="slidenum">
              <a:rPr lang="en-US" smtClean="0"/>
              <a:pPr/>
              <a:t>‹#›</a:t>
            </a:fld>
            <a:endParaRPr lang="en-US"/>
          </a:p>
        </p:txBody>
      </p:sp>
      <p:sp>
        <p:nvSpPr>
          <p:cNvPr id="7" name="footnotes">
            <a:extLst>
              <a:ext uri="{FF2B5EF4-FFF2-40B4-BE49-F238E27FC236}">
                <a16:creationId xmlns:a16="http://schemas.microsoft.com/office/drawing/2014/main" id="{DCA3043C-B828-E81E-3F43-ED0D5B85A799}"/>
              </a:ext>
            </a:extLst>
          </p:cNvPr>
          <p:cNvSpPr>
            <a:spLocks noGrp="1"/>
          </p:cNvSpPr>
          <p:nvPr>
            <p:ph type="body" sz="quarter" idx="15" hasCustomPrompt="1"/>
          </p:nvPr>
        </p:nvSpPr>
        <p:spPr>
          <a:xfrm>
            <a:off x="6552000" y="6049950"/>
            <a:ext cx="3247200"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2" name="Group 1">
            <a:extLst>
              <a:ext uri="{FF2B5EF4-FFF2-40B4-BE49-F238E27FC236}">
                <a16:creationId xmlns:a16="http://schemas.microsoft.com/office/drawing/2014/main" id="{0BFFE5EC-063B-2D3C-D729-5987FAC4F79D}"/>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3" name="Content Placeholder 15">
              <a:extLst>
                <a:ext uri="{FF2B5EF4-FFF2-40B4-BE49-F238E27FC236}">
                  <a16:creationId xmlns:a16="http://schemas.microsoft.com/office/drawing/2014/main" id="{A1D60412-7859-A832-244A-2F83F01DFDB7}"/>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9" name="TextBox 8">
              <a:extLst>
                <a:ext uri="{FF2B5EF4-FFF2-40B4-BE49-F238E27FC236}">
                  <a16:creationId xmlns:a16="http://schemas.microsoft.com/office/drawing/2014/main" id="{8BD124C9-34E2-085A-2DC8-B2BA363B632C}"/>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light background)</a:t>
              </a:r>
            </a:p>
            <a:p>
              <a:pPr algn="l">
                <a:buNone/>
              </a:pPr>
              <a:endParaRPr lang="en-US" sz="1200" kern="100" spc="-30"/>
            </a:p>
          </p:txBody>
        </p:sp>
        <p:pic>
          <p:nvPicPr>
            <p:cNvPr id="10" name="Picture 9" descr="A screenshot of a color chart&#10;&#10;Description automatically generated">
              <a:extLst>
                <a:ext uri="{FF2B5EF4-FFF2-40B4-BE49-F238E27FC236}">
                  <a16:creationId xmlns:a16="http://schemas.microsoft.com/office/drawing/2014/main" id="{B39ACC74-CBD3-468E-4E6A-D70A55492FFA}"/>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1" name="Rectangle 10">
              <a:extLst>
                <a:ext uri="{FF2B5EF4-FFF2-40B4-BE49-F238E27FC236}">
                  <a16:creationId xmlns:a16="http://schemas.microsoft.com/office/drawing/2014/main" id="{F7554876-97B0-3ED4-57DB-B991BAECE7AA}"/>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0C25B243-343E-36AE-670D-EBBCC05BA7BE}"/>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a:extLst>
                <a:ext uri="{FF2B5EF4-FFF2-40B4-BE49-F238E27FC236}">
                  <a16:creationId xmlns:a16="http://schemas.microsoft.com/office/drawing/2014/main" id="{71F38903-790C-1705-2C8A-D0906AA362EF}"/>
                </a:ext>
              </a:extLst>
            </p:cNvPr>
            <p:cNvGrpSpPr/>
            <p:nvPr userDrawn="1"/>
          </p:nvGrpSpPr>
          <p:grpSpPr>
            <a:xfrm>
              <a:off x="-2740234" y="3819615"/>
              <a:ext cx="2227594" cy="2600236"/>
              <a:chOff x="-3323174" y="3918039"/>
              <a:chExt cx="2782425" cy="3247881"/>
            </a:xfrm>
          </p:grpSpPr>
          <p:sp>
            <p:nvSpPr>
              <p:cNvPr id="18" name="Rectangle 17">
                <a:extLst>
                  <a:ext uri="{FF2B5EF4-FFF2-40B4-BE49-F238E27FC236}">
                    <a16:creationId xmlns:a16="http://schemas.microsoft.com/office/drawing/2014/main" id="{87D7C59A-2FE4-C25A-B4FD-197BA90C7628}"/>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9" name="Rectangle 18">
                <a:extLst>
                  <a:ext uri="{FF2B5EF4-FFF2-40B4-BE49-F238E27FC236}">
                    <a16:creationId xmlns:a16="http://schemas.microsoft.com/office/drawing/2014/main" id="{1840F1E7-0504-35BB-754A-87AD984CB520}"/>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0" name="Rectangle 19">
                <a:extLst>
                  <a:ext uri="{FF2B5EF4-FFF2-40B4-BE49-F238E27FC236}">
                    <a16:creationId xmlns:a16="http://schemas.microsoft.com/office/drawing/2014/main" id="{D587770B-74C7-EFDE-2CDE-22FC0FFE9FB3}"/>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1" name="TextBox 20">
                <a:extLst>
                  <a:ext uri="{FF2B5EF4-FFF2-40B4-BE49-F238E27FC236}">
                    <a16:creationId xmlns:a16="http://schemas.microsoft.com/office/drawing/2014/main" id="{22D75771-963F-4BB0-6FAC-88DA299C6D22}"/>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Light Background Colors</a:t>
                </a:r>
              </a:p>
            </p:txBody>
          </p:sp>
          <p:sp>
            <p:nvSpPr>
              <p:cNvPr id="22" name="Right Brace 21">
                <a:extLst>
                  <a:ext uri="{FF2B5EF4-FFF2-40B4-BE49-F238E27FC236}">
                    <a16:creationId xmlns:a16="http://schemas.microsoft.com/office/drawing/2014/main" id="{5F085A77-95F9-456A-64ED-D349F0A9B9D6}"/>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3" name="Rectangle 22">
                <a:extLst>
                  <a:ext uri="{FF2B5EF4-FFF2-40B4-BE49-F238E27FC236}">
                    <a16:creationId xmlns:a16="http://schemas.microsoft.com/office/drawing/2014/main" id="{74D1DF3E-B5BD-521F-D0CE-81E72135D864}"/>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sp>
            <p:nvSpPr>
              <p:cNvPr id="24" name="Rectangle 23">
                <a:extLst>
                  <a:ext uri="{FF2B5EF4-FFF2-40B4-BE49-F238E27FC236}">
                    <a16:creationId xmlns:a16="http://schemas.microsoft.com/office/drawing/2014/main" id="{3E35F0F1-0344-9B04-2223-212AB74FE59B}"/>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6" name="Picture 15">
              <a:extLst>
                <a:ext uri="{FF2B5EF4-FFF2-40B4-BE49-F238E27FC236}">
                  <a16:creationId xmlns:a16="http://schemas.microsoft.com/office/drawing/2014/main" id="{D5F2C49A-FFC0-3B65-1AD5-4BEAEBDF1857}"/>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17" name="Picture 16">
              <a:extLst>
                <a:ext uri="{FF2B5EF4-FFF2-40B4-BE49-F238E27FC236}">
                  <a16:creationId xmlns:a16="http://schemas.microsoft.com/office/drawing/2014/main" id="{EC90CAFF-F7A2-6C25-047A-3786FEAD141F}"/>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
        <p:nvSpPr>
          <p:cNvPr id="27" name="Text Placeholder 7">
            <a:extLst>
              <a:ext uri="{FF2B5EF4-FFF2-40B4-BE49-F238E27FC236}">
                <a16:creationId xmlns:a16="http://schemas.microsoft.com/office/drawing/2014/main" id="{7B92CF2C-D3CF-8F40-BBD5-DA6B551E774F}"/>
              </a:ext>
            </a:extLst>
          </p:cNvPr>
          <p:cNvSpPr>
            <a:spLocks noGrp="1"/>
          </p:cNvSpPr>
          <p:nvPr>
            <p:ph type="body" sz="quarter" idx="20" hasCustomPrompt="1"/>
          </p:nvPr>
        </p:nvSpPr>
        <p:spPr>
          <a:xfrm>
            <a:off x="1100957" y="6313320"/>
            <a:ext cx="1014772" cy="298870"/>
          </a:xfrm>
          <a:prstGeom prst="rect">
            <a:avLst/>
          </a:prstGeom>
          <a:solidFill>
            <a:srgbClr val="1D2550"/>
          </a:solidFill>
        </p:spPr>
        <p:txBody>
          <a:bodyPr wrap="none" lIns="75600" tIns="75600" rIns="75600" bIns="75600" anchor="b" anchorCtr="0">
            <a:spAutoFit/>
          </a:bodyPr>
          <a:lstStyle>
            <a:lvl1pPr algn="l">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457864098"/>
      </p:ext>
    </p:extLst>
  </p:cSld>
  <p:clrMapOvr>
    <a:masterClrMapping/>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itle, Content, Shape - Light Back B">
    <p:bg>
      <p:bgPr>
        <a:solidFill>
          <a:srgbClr val="E7FF00"/>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34AC5DB-AF99-EAEE-E186-5AD89F87DE38}"/>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638818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7" name="think-cell data - do not delete" hidden="1">
                        <a:extLst>
                          <a:ext uri="{FF2B5EF4-FFF2-40B4-BE49-F238E27FC236}">
                            <a16:creationId xmlns:a16="http://schemas.microsoft.com/office/drawing/2014/main" id="{F34AC5DB-AF99-EAEE-E186-5AD89F87DE38}"/>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Shape">
            <a:extLst>
              <a:ext uri="{FF2B5EF4-FFF2-40B4-BE49-F238E27FC236}">
                <a16:creationId xmlns:a16="http://schemas.microsoft.com/office/drawing/2014/main" id="{2A3239AF-8363-538C-904E-A10FCB384291}"/>
              </a:ext>
              <a:ext uri="{C183D7F6-B498-43B3-948B-1728B52AA6E4}">
                <adec:decorative xmlns:adec="http://schemas.microsoft.com/office/drawing/2017/decorative" val="1"/>
              </a:ext>
            </a:extLst>
          </p:cNvPr>
          <p:cNvSpPr/>
          <p:nvPr userDrawn="1"/>
        </p:nvSpPr>
        <p:spPr>
          <a:xfrm>
            <a:off x="4557645" y="0"/>
            <a:ext cx="7634356" cy="6858000"/>
          </a:xfrm>
          <a:custGeom>
            <a:avLst/>
            <a:gdLst>
              <a:gd name="connsiteX0" fmla="*/ 0 w 7634356"/>
              <a:gd name="connsiteY0" fmla="*/ 0 h 6858000"/>
              <a:gd name="connsiteX1" fmla="*/ 7634356 w 7634356"/>
              <a:gd name="connsiteY1" fmla="*/ 0 h 6858000"/>
              <a:gd name="connsiteX2" fmla="*/ 7634356 w 7634356"/>
              <a:gd name="connsiteY2" fmla="*/ 6858000 h 6858000"/>
              <a:gd name="connsiteX3" fmla="*/ 11887 w 7634356"/>
              <a:gd name="connsiteY3" fmla="*/ 6858000 h 6858000"/>
              <a:gd name="connsiteX4" fmla="*/ 2006354 w 7634356"/>
              <a:gd name="connsiteY4" fmla="*/ 3439189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4356" h="6858000">
                <a:moveTo>
                  <a:pt x="0" y="0"/>
                </a:moveTo>
                <a:lnTo>
                  <a:pt x="7634356" y="0"/>
                </a:lnTo>
                <a:lnTo>
                  <a:pt x="7634356" y="6858000"/>
                </a:lnTo>
                <a:lnTo>
                  <a:pt x="11887" y="6858000"/>
                </a:lnTo>
                <a:lnTo>
                  <a:pt x="2006354" y="3439189"/>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Forever Forma Body Text" pitchFamily="2" charset="0"/>
            </a:endParaRPr>
          </a:p>
        </p:txBody>
      </p:sp>
      <p:pic>
        <p:nvPicPr>
          <p:cNvPr id="2" name="logo sm" descr="Transamerica Logo">
            <a:extLst>
              <a:ext uri="{FF2B5EF4-FFF2-40B4-BE49-F238E27FC236}">
                <a16:creationId xmlns:a16="http://schemas.microsoft.com/office/drawing/2014/main" id="{D2ABAC7F-940E-BA0A-69DB-8F8CC04B95A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799200" y="6053050"/>
            <a:ext cx="2138400" cy="804950"/>
          </a:xfrm>
          <a:prstGeom prst="rect">
            <a:avLst/>
          </a:prstGeom>
        </p:spPr>
      </p:pic>
      <p:sp>
        <p:nvSpPr>
          <p:cNvPr id="4" name="Title 3">
            <a:extLst>
              <a:ext uri="{FF2B5EF4-FFF2-40B4-BE49-F238E27FC236}">
                <a16:creationId xmlns:a16="http://schemas.microsoft.com/office/drawing/2014/main" id="{5D7817A3-07F4-4001-71AB-F2108D08F062}"/>
              </a:ext>
            </a:extLst>
          </p:cNvPr>
          <p:cNvSpPr>
            <a:spLocks noGrp="1"/>
          </p:cNvSpPr>
          <p:nvPr>
            <p:ph type="title"/>
          </p:nvPr>
        </p:nvSpPr>
        <p:spPr>
          <a:xfrm>
            <a:off x="521208" y="1269000"/>
            <a:ext cx="5106792" cy="4320000"/>
          </a:xfrm>
          <a:prstGeom prst="rect">
            <a:avLst/>
          </a:prstGeom>
        </p:spPr>
        <p:txBody>
          <a:bodyPr anchor="ctr" anchorCtr="0"/>
          <a:lstStyle>
            <a:lvl1pPr>
              <a:defRPr>
                <a:solidFill>
                  <a:schemeClr val="tx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98BA2B9A-D146-D79C-2973-FBA71B289A78}"/>
              </a:ext>
            </a:extLst>
          </p:cNvPr>
          <p:cNvSpPr>
            <a:spLocks noGrp="1"/>
          </p:cNvSpPr>
          <p:nvPr>
            <p:ph type="body" sz="quarter" idx="13"/>
          </p:nvPr>
        </p:nvSpPr>
        <p:spPr>
          <a:xfrm>
            <a:off x="6796971" y="1269000"/>
            <a:ext cx="4873817" cy="4320000"/>
          </a:xfrm>
          <a:prstGeom prst="rect">
            <a:avLst/>
          </a:prstGeom>
        </p:spPr>
        <p:txBody>
          <a:bodyPr anchor="ctr" anchorCtr="0"/>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5" name="Slide Number Placeholder 4">
            <a:extLst>
              <a:ext uri="{FF2B5EF4-FFF2-40B4-BE49-F238E27FC236}">
                <a16:creationId xmlns:a16="http://schemas.microsoft.com/office/drawing/2014/main" id="{AFF604DC-F67A-B57E-9408-4B1F7516AEF5}"/>
              </a:ext>
              <a:ext uri="{C183D7F6-B498-43B3-948B-1728B52AA6E4}">
                <adec:decorative xmlns:adec="http://schemas.microsoft.com/office/drawing/2017/decorative" val="1"/>
              </a:ext>
            </a:extLst>
          </p:cNvPr>
          <p:cNvSpPr>
            <a:spLocks noGrp="1"/>
          </p:cNvSpPr>
          <p:nvPr>
            <p:ph type="sldNum" sz="quarter" idx="14"/>
          </p:nvPr>
        </p:nvSpPr>
        <p:spPr/>
        <p:txBody>
          <a:bodyPr/>
          <a:lstStyle>
            <a:lvl1pPr>
              <a:defRPr>
                <a:solidFill>
                  <a:schemeClr val="tx1"/>
                </a:solidFill>
              </a:defRPr>
            </a:lvl1pPr>
          </a:lstStyle>
          <a:p>
            <a:fld id="{1C1606C5-D483-4832-A0E9-CF578A9B5883}" type="slidenum">
              <a:rPr lang="en-US" smtClean="0"/>
              <a:pPr/>
              <a:t>‹#›</a:t>
            </a:fld>
            <a:endParaRPr lang="en-US"/>
          </a:p>
        </p:txBody>
      </p:sp>
      <p:sp>
        <p:nvSpPr>
          <p:cNvPr id="8" name="footnotes">
            <a:extLst>
              <a:ext uri="{FF2B5EF4-FFF2-40B4-BE49-F238E27FC236}">
                <a16:creationId xmlns:a16="http://schemas.microsoft.com/office/drawing/2014/main" id="{443DB67A-63B3-DB22-20C7-6CA88CFD44EC}"/>
              </a:ext>
            </a:extLst>
          </p:cNvPr>
          <p:cNvSpPr>
            <a:spLocks noGrp="1"/>
          </p:cNvSpPr>
          <p:nvPr>
            <p:ph type="body" sz="quarter" idx="15" hasCustomPrompt="1"/>
          </p:nvPr>
        </p:nvSpPr>
        <p:spPr>
          <a:xfrm>
            <a:off x="6796971" y="6049950"/>
            <a:ext cx="3002229"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3" name="Group 2">
            <a:extLst>
              <a:ext uri="{FF2B5EF4-FFF2-40B4-BE49-F238E27FC236}">
                <a16:creationId xmlns:a16="http://schemas.microsoft.com/office/drawing/2014/main" id="{6D562C2A-7677-8D52-D951-B43D94C08822}"/>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6" name="Content Placeholder 15">
              <a:extLst>
                <a:ext uri="{FF2B5EF4-FFF2-40B4-BE49-F238E27FC236}">
                  <a16:creationId xmlns:a16="http://schemas.microsoft.com/office/drawing/2014/main" id="{B6BE44C7-FB78-1823-D8AF-BC7FCD7B3304}"/>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9" name="TextBox 8">
              <a:extLst>
                <a:ext uri="{FF2B5EF4-FFF2-40B4-BE49-F238E27FC236}">
                  <a16:creationId xmlns:a16="http://schemas.microsoft.com/office/drawing/2014/main" id="{FFAC6C37-E379-056E-31E7-0AB1F6D4F18B}"/>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light background)</a:t>
              </a:r>
            </a:p>
            <a:p>
              <a:pPr algn="l">
                <a:buNone/>
              </a:pPr>
              <a:endParaRPr lang="en-US" sz="1200" kern="100" spc="-30"/>
            </a:p>
          </p:txBody>
        </p:sp>
        <p:pic>
          <p:nvPicPr>
            <p:cNvPr id="10" name="Picture 9" descr="A screenshot of a color chart&#10;&#10;Description automatically generated">
              <a:extLst>
                <a:ext uri="{FF2B5EF4-FFF2-40B4-BE49-F238E27FC236}">
                  <a16:creationId xmlns:a16="http://schemas.microsoft.com/office/drawing/2014/main" id="{1F174E74-48FD-00FA-9DF5-037EAD1876E8}"/>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1" name="Rectangle 10">
              <a:extLst>
                <a:ext uri="{FF2B5EF4-FFF2-40B4-BE49-F238E27FC236}">
                  <a16:creationId xmlns:a16="http://schemas.microsoft.com/office/drawing/2014/main" id="{8630E4BA-A192-8603-BF46-51F80A3A4468}"/>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E5ADF7BF-6499-F6D0-DFD0-0A0DAA11FC39}"/>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 name="Group 13">
              <a:extLst>
                <a:ext uri="{FF2B5EF4-FFF2-40B4-BE49-F238E27FC236}">
                  <a16:creationId xmlns:a16="http://schemas.microsoft.com/office/drawing/2014/main" id="{E3702EA7-B39B-E614-DDFE-DDA9093FDB6F}"/>
                </a:ext>
              </a:extLst>
            </p:cNvPr>
            <p:cNvGrpSpPr/>
            <p:nvPr userDrawn="1"/>
          </p:nvGrpSpPr>
          <p:grpSpPr>
            <a:xfrm>
              <a:off x="-2740234" y="3819615"/>
              <a:ext cx="2227594" cy="2600236"/>
              <a:chOff x="-3323174" y="3918039"/>
              <a:chExt cx="2782425" cy="3247881"/>
            </a:xfrm>
          </p:grpSpPr>
          <p:sp>
            <p:nvSpPr>
              <p:cNvPr id="17" name="Rectangle 16">
                <a:extLst>
                  <a:ext uri="{FF2B5EF4-FFF2-40B4-BE49-F238E27FC236}">
                    <a16:creationId xmlns:a16="http://schemas.microsoft.com/office/drawing/2014/main" id="{FB193F2D-91F1-05D1-4ACB-75F0E46A91A5}"/>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9" name="Rectangle 18">
                <a:extLst>
                  <a:ext uri="{FF2B5EF4-FFF2-40B4-BE49-F238E27FC236}">
                    <a16:creationId xmlns:a16="http://schemas.microsoft.com/office/drawing/2014/main" id="{B3BF432D-FA03-C67A-1B5D-8B502D44F0A0}"/>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0" name="Rectangle 19">
                <a:extLst>
                  <a:ext uri="{FF2B5EF4-FFF2-40B4-BE49-F238E27FC236}">
                    <a16:creationId xmlns:a16="http://schemas.microsoft.com/office/drawing/2014/main" id="{B2089215-3906-744B-19EC-E59A946D98BA}"/>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1" name="TextBox 20">
                <a:extLst>
                  <a:ext uri="{FF2B5EF4-FFF2-40B4-BE49-F238E27FC236}">
                    <a16:creationId xmlns:a16="http://schemas.microsoft.com/office/drawing/2014/main" id="{8678EDD5-6AD2-7C48-51DA-F3DFAEF243DA}"/>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Light Background Colors</a:t>
                </a:r>
              </a:p>
            </p:txBody>
          </p:sp>
          <p:sp>
            <p:nvSpPr>
              <p:cNvPr id="22" name="Right Brace 21">
                <a:extLst>
                  <a:ext uri="{FF2B5EF4-FFF2-40B4-BE49-F238E27FC236}">
                    <a16:creationId xmlns:a16="http://schemas.microsoft.com/office/drawing/2014/main" id="{F21D2705-2C33-280B-9331-246222A365C4}"/>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3" name="Rectangle 22">
                <a:extLst>
                  <a:ext uri="{FF2B5EF4-FFF2-40B4-BE49-F238E27FC236}">
                    <a16:creationId xmlns:a16="http://schemas.microsoft.com/office/drawing/2014/main" id="{E23F089A-8B06-C60D-AF19-8C7DD8349431}"/>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sp>
            <p:nvSpPr>
              <p:cNvPr id="24" name="Rectangle 23">
                <a:extLst>
                  <a:ext uri="{FF2B5EF4-FFF2-40B4-BE49-F238E27FC236}">
                    <a16:creationId xmlns:a16="http://schemas.microsoft.com/office/drawing/2014/main" id="{0835EC64-CD78-830E-4574-DFE7EFFB9F8D}"/>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5" name="Picture 14">
              <a:extLst>
                <a:ext uri="{FF2B5EF4-FFF2-40B4-BE49-F238E27FC236}">
                  <a16:creationId xmlns:a16="http://schemas.microsoft.com/office/drawing/2014/main" id="{B477032F-7055-980A-A0FE-44315ECEF2A3}"/>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16" name="Picture 15">
              <a:extLst>
                <a:ext uri="{FF2B5EF4-FFF2-40B4-BE49-F238E27FC236}">
                  <a16:creationId xmlns:a16="http://schemas.microsoft.com/office/drawing/2014/main" id="{11D54545-B57E-CA81-7CA1-0BD4B2ECE8D3}"/>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
        <p:nvSpPr>
          <p:cNvPr id="27" name="Text Placeholder 7">
            <a:extLst>
              <a:ext uri="{FF2B5EF4-FFF2-40B4-BE49-F238E27FC236}">
                <a16:creationId xmlns:a16="http://schemas.microsoft.com/office/drawing/2014/main" id="{F051CD97-0D09-9148-B99C-E981456E6A18}"/>
              </a:ext>
            </a:extLst>
          </p:cNvPr>
          <p:cNvSpPr>
            <a:spLocks noGrp="1"/>
          </p:cNvSpPr>
          <p:nvPr>
            <p:ph type="body" sz="quarter" idx="20" hasCustomPrompt="1"/>
          </p:nvPr>
        </p:nvSpPr>
        <p:spPr>
          <a:xfrm>
            <a:off x="1100957" y="6313320"/>
            <a:ext cx="1014772" cy="298870"/>
          </a:xfrm>
          <a:prstGeom prst="rect">
            <a:avLst/>
          </a:prstGeom>
          <a:solidFill>
            <a:srgbClr val="1D2550"/>
          </a:solidFill>
        </p:spPr>
        <p:txBody>
          <a:bodyPr wrap="none" lIns="75600" tIns="75600" rIns="75600" bIns="75600" anchor="b" anchorCtr="0">
            <a:spAutoFit/>
          </a:bodyPr>
          <a:lstStyle>
            <a:lvl1pPr algn="l">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430186931"/>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heme" Target="../theme/theme1.xml"/><Relationship Id="rId7"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heme" Target="../theme/theme2.xml"/><Relationship Id="rId7" Type="http://schemas.openxmlformats.org/officeDocument/2006/relationships/image" Target="../media/image2.png"/><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5.xml"/></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4.svg"/><Relationship Id="rId2" Type="http://schemas.openxmlformats.org/officeDocument/2006/relationships/theme" Target="../theme/theme3.xml"/><Relationship Id="rId1" Type="http://schemas.openxmlformats.org/officeDocument/2006/relationships/slideLayout" Target="../slideLayouts/slideLayout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slideLayout" Target="../slideLayouts/slideLayout23.xml"/><Relationship Id="rId26" Type="http://schemas.openxmlformats.org/officeDocument/2006/relationships/slideLayout" Target="../slideLayouts/slideLayout31.xml"/><Relationship Id="rId3" Type="http://schemas.openxmlformats.org/officeDocument/2006/relationships/slideLayout" Target="../slideLayouts/slideLayout8.xml"/><Relationship Id="rId21" Type="http://schemas.openxmlformats.org/officeDocument/2006/relationships/slideLayout" Target="../slideLayouts/slideLayout26.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5" Type="http://schemas.openxmlformats.org/officeDocument/2006/relationships/slideLayout" Target="../slideLayouts/slideLayout30.xml"/><Relationship Id="rId33" Type="http://schemas.openxmlformats.org/officeDocument/2006/relationships/image" Target="../media/image4.svg"/><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slideLayout" Target="../slideLayouts/slideLayout25.xml"/><Relationship Id="rId29" Type="http://schemas.openxmlformats.org/officeDocument/2006/relationships/tags" Target="../tags/tag9.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24" Type="http://schemas.openxmlformats.org/officeDocument/2006/relationships/slideLayout" Target="../slideLayouts/slideLayout29.xml"/><Relationship Id="rId32" Type="http://schemas.openxmlformats.org/officeDocument/2006/relationships/image" Target="../media/image2.png"/><Relationship Id="rId5" Type="http://schemas.openxmlformats.org/officeDocument/2006/relationships/slideLayout" Target="../slideLayouts/slideLayout10.xml"/><Relationship Id="rId15" Type="http://schemas.openxmlformats.org/officeDocument/2006/relationships/slideLayout" Target="../slideLayouts/slideLayout20.xml"/><Relationship Id="rId23" Type="http://schemas.openxmlformats.org/officeDocument/2006/relationships/slideLayout" Target="../slideLayouts/slideLayout28.xml"/><Relationship Id="rId28" Type="http://schemas.openxmlformats.org/officeDocument/2006/relationships/theme" Target="../theme/theme4.xml"/><Relationship Id="rId10" Type="http://schemas.openxmlformats.org/officeDocument/2006/relationships/slideLayout" Target="../slideLayouts/slideLayout15.xml"/><Relationship Id="rId19" Type="http://schemas.openxmlformats.org/officeDocument/2006/relationships/slideLayout" Target="../slideLayouts/slideLayout24.xml"/><Relationship Id="rId31" Type="http://schemas.openxmlformats.org/officeDocument/2006/relationships/image" Target="../media/image1.emf"/><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slideLayout" Target="../slideLayouts/slideLayout27.xml"/><Relationship Id="rId27" Type="http://schemas.openxmlformats.org/officeDocument/2006/relationships/slideLayout" Target="../slideLayouts/slideLayout32.xml"/><Relationship Id="rId30" Type="http://schemas.openxmlformats.org/officeDocument/2006/relationships/oleObject" Target="../embeddings/oleObject1.bin"/></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5.xml"/><Relationship Id="rId7" Type="http://schemas.openxmlformats.org/officeDocument/2006/relationships/tags" Target="../tags/tag38.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theme" Target="../theme/theme5.xml"/><Relationship Id="rId11" Type="http://schemas.openxmlformats.org/officeDocument/2006/relationships/image" Target="../media/image4.svg"/><Relationship Id="rId5" Type="http://schemas.openxmlformats.org/officeDocument/2006/relationships/slideLayout" Target="../slideLayouts/slideLayout37.xml"/><Relationship Id="rId10" Type="http://schemas.openxmlformats.org/officeDocument/2006/relationships/image" Target="../media/image2.png"/><Relationship Id="rId4" Type="http://schemas.openxmlformats.org/officeDocument/2006/relationships/slideLayout" Target="../slideLayouts/slideLayout36.xml"/><Relationship Id="rId9"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heme" Target="../theme/theme6.xml"/><Relationship Id="rId7" Type="http://schemas.openxmlformats.org/officeDocument/2006/relationships/image" Target="../media/image2.png"/><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4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oleObject" Target="../embeddings/oleObject1.bin"/><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tags" Target="../tags/tag47.xml"/><Relationship Id="rId2" Type="http://schemas.openxmlformats.org/officeDocument/2006/relationships/slideLayout" Target="../slideLayouts/slideLayout41.xml"/><Relationship Id="rId16" Type="http://schemas.openxmlformats.org/officeDocument/2006/relationships/image" Target="../media/image4.svg"/><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theme" Target="../theme/theme7.xml"/><Relationship Id="rId5" Type="http://schemas.openxmlformats.org/officeDocument/2006/relationships/slideLayout" Target="../slideLayouts/slideLayout44.xml"/><Relationship Id="rId15" Type="http://schemas.openxmlformats.org/officeDocument/2006/relationships/image" Target="../media/image2.png"/><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9" Type="http://schemas.openxmlformats.org/officeDocument/2006/relationships/slideLayout" Target="../slideLayouts/slideLayout101.xml"/><Relationship Id="rId21" Type="http://schemas.openxmlformats.org/officeDocument/2006/relationships/slideLayout" Target="../slideLayouts/slideLayout83.xml"/><Relationship Id="rId34" Type="http://schemas.openxmlformats.org/officeDocument/2006/relationships/slideLayout" Target="../slideLayouts/slideLayout96.xml"/><Relationship Id="rId42" Type="http://schemas.openxmlformats.org/officeDocument/2006/relationships/slideLayout" Target="../slideLayouts/slideLayout104.xml"/><Relationship Id="rId47" Type="http://schemas.openxmlformats.org/officeDocument/2006/relationships/slideLayout" Target="../slideLayouts/slideLayout109.xml"/><Relationship Id="rId50" Type="http://schemas.openxmlformats.org/officeDocument/2006/relationships/slideLayout" Target="../slideLayouts/slideLayout112.xml"/><Relationship Id="rId55" Type="http://schemas.openxmlformats.org/officeDocument/2006/relationships/slideLayout" Target="../slideLayouts/slideLayout117.xml"/><Relationship Id="rId63" Type="http://schemas.openxmlformats.org/officeDocument/2006/relationships/tags" Target="../tags/tag59.xml"/><Relationship Id="rId7" Type="http://schemas.openxmlformats.org/officeDocument/2006/relationships/slideLayout" Target="../slideLayouts/slideLayout6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9" Type="http://schemas.openxmlformats.org/officeDocument/2006/relationships/slideLayout" Target="../slideLayouts/slideLayout91.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32" Type="http://schemas.openxmlformats.org/officeDocument/2006/relationships/slideLayout" Target="../slideLayouts/slideLayout94.xml"/><Relationship Id="rId37" Type="http://schemas.openxmlformats.org/officeDocument/2006/relationships/slideLayout" Target="../slideLayouts/slideLayout99.xml"/><Relationship Id="rId40" Type="http://schemas.openxmlformats.org/officeDocument/2006/relationships/slideLayout" Target="../slideLayouts/slideLayout102.xml"/><Relationship Id="rId45" Type="http://schemas.openxmlformats.org/officeDocument/2006/relationships/slideLayout" Target="../slideLayouts/slideLayout107.xml"/><Relationship Id="rId53" Type="http://schemas.openxmlformats.org/officeDocument/2006/relationships/slideLayout" Target="../slideLayouts/slideLayout115.xml"/><Relationship Id="rId58" Type="http://schemas.openxmlformats.org/officeDocument/2006/relationships/slideLayout" Target="../slideLayouts/slideLayout120.xml"/><Relationship Id="rId66" Type="http://schemas.openxmlformats.org/officeDocument/2006/relationships/image" Target="../media/image2.png"/><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36" Type="http://schemas.openxmlformats.org/officeDocument/2006/relationships/slideLayout" Target="../slideLayouts/slideLayout98.xml"/><Relationship Id="rId49" Type="http://schemas.openxmlformats.org/officeDocument/2006/relationships/slideLayout" Target="../slideLayouts/slideLayout111.xml"/><Relationship Id="rId57" Type="http://schemas.openxmlformats.org/officeDocument/2006/relationships/slideLayout" Target="../slideLayouts/slideLayout119.xml"/><Relationship Id="rId61" Type="http://schemas.openxmlformats.org/officeDocument/2006/relationships/slideLayout" Target="../slideLayouts/slideLayout123.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slideLayout" Target="../slideLayouts/slideLayout93.xml"/><Relationship Id="rId44" Type="http://schemas.openxmlformats.org/officeDocument/2006/relationships/slideLayout" Target="../slideLayouts/slideLayout106.xml"/><Relationship Id="rId52" Type="http://schemas.openxmlformats.org/officeDocument/2006/relationships/slideLayout" Target="../slideLayouts/slideLayout114.xml"/><Relationship Id="rId60" Type="http://schemas.openxmlformats.org/officeDocument/2006/relationships/slideLayout" Target="../slideLayouts/slideLayout122.xml"/><Relationship Id="rId65" Type="http://schemas.openxmlformats.org/officeDocument/2006/relationships/image" Target="../media/image1.emf"/><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slideLayout" Target="../slideLayouts/slideLayout92.xml"/><Relationship Id="rId35" Type="http://schemas.openxmlformats.org/officeDocument/2006/relationships/slideLayout" Target="../slideLayouts/slideLayout97.xml"/><Relationship Id="rId43" Type="http://schemas.openxmlformats.org/officeDocument/2006/relationships/slideLayout" Target="../slideLayouts/slideLayout105.xml"/><Relationship Id="rId48" Type="http://schemas.openxmlformats.org/officeDocument/2006/relationships/slideLayout" Target="../slideLayouts/slideLayout110.xml"/><Relationship Id="rId56" Type="http://schemas.openxmlformats.org/officeDocument/2006/relationships/slideLayout" Target="../slideLayouts/slideLayout118.xml"/><Relationship Id="rId64" Type="http://schemas.openxmlformats.org/officeDocument/2006/relationships/oleObject" Target="../embeddings/oleObject1.bin"/><Relationship Id="rId8" Type="http://schemas.openxmlformats.org/officeDocument/2006/relationships/slideLayout" Target="../slideLayouts/slideLayout70.xml"/><Relationship Id="rId51" Type="http://schemas.openxmlformats.org/officeDocument/2006/relationships/slideLayout" Target="../slideLayouts/slideLayout113.xml"/><Relationship Id="rId3" Type="http://schemas.openxmlformats.org/officeDocument/2006/relationships/slideLayout" Target="../slideLayouts/slideLayout65.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33" Type="http://schemas.openxmlformats.org/officeDocument/2006/relationships/slideLayout" Target="../slideLayouts/slideLayout95.xml"/><Relationship Id="rId38" Type="http://schemas.openxmlformats.org/officeDocument/2006/relationships/slideLayout" Target="../slideLayouts/slideLayout100.xml"/><Relationship Id="rId46" Type="http://schemas.openxmlformats.org/officeDocument/2006/relationships/slideLayout" Target="../slideLayouts/slideLayout108.xml"/><Relationship Id="rId59" Type="http://schemas.openxmlformats.org/officeDocument/2006/relationships/slideLayout" Target="../slideLayouts/slideLayout121.xml"/><Relationship Id="rId67" Type="http://schemas.openxmlformats.org/officeDocument/2006/relationships/image" Target="../media/image3.svg"/><Relationship Id="rId20" Type="http://schemas.openxmlformats.org/officeDocument/2006/relationships/slideLayout" Target="../slideLayouts/slideLayout82.xml"/><Relationship Id="rId41" Type="http://schemas.openxmlformats.org/officeDocument/2006/relationships/slideLayout" Target="../slideLayouts/slideLayout103.xml"/><Relationship Id="rId54" Type="http://schemas.openxmlformats.org/officeDocument/2006/relationships/slideLayout" Target="../slideLayouts/slideLayout116.xml"/><Relationship Id="rId6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1D7DBB37-5DB1-AF5A-3D0F-54CF80A6EF41}"/>
              </a:ext>
              <a:ext uri="{C183D7F6-B498-43B3-948B-1728B52AA6E4}">
                <adec:decorative xmlns:adec="http://schemas.microsoft.com/office/drawing/2017/decorative" val="1"/>
              </a:ext>
            </a:extLst>
          </p:cNvPr>
          <p:cNvGraphicFramePr>
            <a:graphicFrameLocks noChangeAspect="1"/>
          </p:cNvGraphicFramePr>
          <p:nvPr userDrawn="1">
            <p:custDataLst>
              <p:tags r:id="rId4"/>
            </p:custDataLst>
            <p:extLst>
              <p:ext uri="{D42A27DB-BD31-4B8C-83A1-F6EECF244321}">
                <p14:modId xmlns:p14="http://schemas.microsoft.com/office/powerpoint/2010/main" val="25605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10" name="think-cell data - do not delete" hidden="1">
                        <a:extLst>
                          <a:ext uri="{FF2B5EF4-FFF2-40B4-BE49-F238E27FC236}">
                            <a16:creationId xmlns:a16="http://schemas.microsoft.com/office/drawing/2014/main" id="{1D7DBB37-5DB1-AF5A-3D0F-54CF80A6EF41}"/>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6F25A6B-8F5B-A241-A3BD-B5FDE9F512C5}"/>
              </a:ext>
            </a:extLst>
          </p:cNvPr>
          <p:cNvSpPr>
            <a:spLocks noGrp="1"/>
          </p:cNvSpPr>
          <p:nvPr>
            <p:ph type="dt" sz="half" idx="2"/>
          </p:nvPr>
        </p:nvSpPr>
        <p:spPr>
          <a:xfrm>
            <a:off x="10932000" y="2016"/>
            <a:ext cx="1260000" cy="319084"/>
          </a:xfrm>
          <a:prstGeom prst="rect">
            <a:avLst/>
          </a:prstGeom>
        </p:spPr>
        <p:txBody>
          <a:bodyPr vert="horz" wrap="none" lIns="72000" tIns="72000" rIns="72000" bIns="72000" rtlCol="0" anchor="ctr">
            <a:noAutofit/>
          </a:bodyPr>
          <a:lstStyle>
            <a:lvl1pPr algn="r">
              <a:defRPr sz="800" b="0" i="0">
                <a:solidFill>
                  <a:srgbClr val="281805"/>
                </a:solidFill>
                <a:latin typeface="Forever Forma Body Text" pitchFamily="2" charset="0"/>
              </a:defRPr>
            </a:lvl1pPr>
          </a:lstStyle>
          <a:p>
            <a:fld id="{8F81B36D-59DF-42A0-ABF0-6A71ABA2C4CD}" type="datetime3">
              <a:rPr lang="en-US" smtClean="0"/>
              <a:pPr/>
              <a:t>15 January 2026</a:t>
            </a:fld>
            <a:endParaRPr lang="en-US"/>
          </a:p>
        </p:txBody>
      </p:sp>
      <p:sp>
        <p:nvSpPr>
          <p:cNvPr id="2" name="Title Placeholder 1">
            <a:extLst>
              <a:ext uri="{FF2B5EF4-FFF2-40B4-BE49-F238E27FC236}">
                <a16:creationId xmlns:a16="http://schemas.microsoft.com/office/drawing/2014/main" id="{DF001C83-36AE-A5E2-4E80-B3AD2D747168}"/>
              </a:ext>
            </a:extLst>
          </p:cNvPr>
          <p:cNvSpPr>
            <a:spLocks noGrp="1"/>
          </p:cNvSpPr>
          <p:nvPr>
            <p:ph type="title"/>
          </p:nvPr>
        </p:nvSpPr>
        <p:spPr>
          <a:xfrm>
            <a:off x="521205" y="324213"/>
            <a:ext cx="11149576" cy="808050"/>
          </a:xfrm>
          <a:prstGeom prst="rect">
            <a:avLst/>
          </a:prstGeom>
        </p:spPr>
        <p:txBody>
          <a:bodyPr vert="horz" lIns="0" tIns="0" rIns="0" bIns="0" rtlCol="0" anchor="b"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E0A85944-6880-CBB6-BA63-4A90CA93596A}"/>
              </a:ext>
            </a:extLst>
          </p:cNvPr>
          <p:cNvSpPr>
            <a:spLocks noGrp="1"/>
          </p:cNvSpPr>
          <p:nvPr>
            <p:ph type="body" idx="1"/>
          </p:nvPr>
        </p:nvSpPr>
        <p:spPr>
          <a:xfrm>
            <a:off x="521208" y="1296000"/>
            <a:ext cx="11149576" cy="475394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A63915-CBC8-75C7-C27B-2ADA3EEF69F8}"/>
              </a:ext>
              <a:ext uri="{C183D7F6-B498-43B3-948B-1728B52AA6E4}">
                <adec:decorative xmlns:adec="http://schemas.microsoft.com/office/drawing/2017/decorative" val="1"/>
              </a:ext>
            </a:extLst>
          </p:cNvPr>
          <p:cNvSpPr>
            <a:spLocks noGrp="1"/>
          </p:cNvSpPr>
          <p:nvPr>
            <p:ph type="sldNum" sz="quarter" idx="4"/>
          </p:nvPr>
        </p:nvSpPr>
        <p:spPr>
          <a:xfrm>
            <a:off x="0" y="6049950"/>
            <a:ext cx="806400" cy="808050"/>
          </a:xfrm>
          <a:prstGeom prst="rect">
            <a:avLst/>
          </a:prstGeom>
        </p:spPr>
        <p:txBody>
          <a:bodyPr vert="horz" lIns="518400" tIns="0" rIns="64800" bIns="309600" rtlCol="0" anchor="b" anchorCtr="0">
            <a:noAutofit/>
          </a:bodyPr>
          <a:lstStyle>
            <a:lvl1pPr algn="l">
              <a:defRPr sz="900" b="0" i="0">
                <a:solidFill>
                  <a:schemeClr val="tx1"/>
                </a:solidFill>
                <a:latin typeface="Forever Forma Body Text" pitchFamily="2" charset="0"/>
              </a:defRPr>
            </a:lvl1pPr>
          </a:lstStyle>
          <a:p>
            <a:fld id="{1C1606C5-D483-4832-A0E9-CF578A9B5883}" type="slidenum">
              <a:rPr lang="en-US" smtClean="0"/>
              <a:pPr/>
              <a:t>‹#›</a:t>
            </a:fld>
            <a:endParaRPr lang="en-US"/>
          </a:p>
        </p:txBody>
      </p:sp>
      <p:grpSp>
        <p:nvGrpSpPr>
          <p:cNvPr id="79" name="Group 78" hidden="1">
            <a:extLst>
              <a:ext uri="{FF2B5EF4-FFF2-40B4-BE49-F238E27FC236}">
                <a16:creationId xmlns:a16="http://schemas.microsoft.com/office/drawing/2014/main" id="{BA72FC20-E2CA-59C4-7B21-62C9115E46A8}"/>
              </a:ext>
              <a:ext uri="{C183D7F6-B498-43B3-948B-1728B52AA6E4}">
                <adec:decorative xmlns:adec="http://schemas.microsoft.com/office/drawing/2017/decorative" val="1"/>
              </a:ext>
            </a:extLst>
          </p:cNvPr>
          <p:cNvGrpSpPr>
            <a:grpSpLocks noGrp="1" noUngrp="1" noRot="1" noMove="1" noResize="1"/>
          </p:cNvGrpSpPr>
          <p:nvPr userDrawn="1"/>
        </p:nvGrpSpPr>
        <p:grpSpPr>
          <a:xfrm>
            <a:off x="-282166" y="-250200"/>
            <a:ext cx="12756333" cy="7357336"/>
            <a:chOff x="-282166" y="-250200"/>
            <a:chExt cx="12756333" cy="7357336"/>
          </a:xfrm>
        </p:grpSpPr>
        <p:grpSp>
          <p:nvGrpSpPr>
            <p:cNvPr id="48" name="Group 47">
              <a:extLst>
                <a:ext uri="{FF2B5EF4-FFF2-40B4-BE49-F238E27FC236}">
                  <a16:creationId xmlns:a16="http://schemas.microsoft.com/office/drawing/2014/main" id="{A2B8D85E-52EF-FA63-9592-265E43AD271D}"/>
                </a:ext>
              </a:extLst>
            </p:cNvPr>
            <p:cNvGrpSpPr>
              <a:grpSpLocks noGrp="1" noUngrp="1" noRot="1" noMove="1" noResize="1"/>
            </p:cNvGrpSpPr>
            <p:nvPr userDrawn="1"/>
          </p:nvGrpSpPr>
          <p:grpSpPr>
            <a:xfrm>
              <a:off x="-282166" y="-249136"/>
              <a:ext cx="766850" cy="1806436"/>
              <a:chOff x="-282166" y="-249136"/>
              <a:chExt cx="766850" cy="1806436"/>
            </a:xfrm>
          </p:grpSpPr>
          <p:cxnSp>
            <p:nvCxnSpPr>
              <p:cNvPr id="40" name="Straight Connector 39">
                <a:extLst>
                  <a:ext uri="{FF2B5EF4-FFF2-40B4-BE49-F238E27FC236}">
                    <a16:creationId xmlns:a16="http://schemas.microsoft.com/office/drawing/2014/main" id="{8D6D0D5E-5313-2E8E-FAC4-9AE8AC71A06F}"/>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8468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2E47E72-9EED-156D-E1C9-0EF9F58EB76B}"/>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4860373-8117-E073-7E3E-240392FEC0F3}"/>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173599"/>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B8D9028B-4948-B67E-79B8-A1A4C3540ECC}"/>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4619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A97BD11A-2E6F-80FC-4AC5-0F4673578EF2}"/>
                </a:ext>
              </a:extLst>
            </p:cNvPr>
            <p:cNvGrpSpPr>
              <a:grpSpLocks noGrp="1" noUngrp="1" noRot="1" noMove="1" noResize="1"/>
            </p:cNvGrpSpPr>
            <p:nvPr userDrawn="1"/>
          </p:nvGrpSpPr>
          <p:grpSpPr>
            <a:xfrm flipV="1">
              <a:off x="-282166" y="6669000"/>
              <a:ext cx="766850" cy="438136"/>
              <a:chOff x="-282166" y="-249136"/>
              <a:chExt cx="766850" cy="438136"/>
            </a:xfrm>
          </p:grpSpPr>
          <p:cxnSp>
            <p:nvCxnSpPr>
              <p:cNvPr id="54" name="Straight Connector 53">
                <a:extLst>
                  <a:ext uri="{FF2B5EF4-FFF2-40B4-BE49-F238E27FC236}">
                    <a16:creationId xmlns:a16="http://schemas.microsoft.com/office/drawing/2014/main" id="{333A3C60-6DDF-0E86-7A5D-C9E2DC700AC6}"/>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8468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973A5B8-A847-F13D-C557-F6CAA8F1C3BC}"/>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6D787A70-EF66-4785-95AD-991F81706E7F}"/>
                </a:ext>
              </a:extLst>
            </p:cNvPr>
            <p:cNvGrpSpPr>
              <a:grpSpLocks noGrp="1" noUngrp="1" noRot="1" noMove="1" noResize="1"/>
            </p:cNvGrpSpPr>
            <p:nvPr userDrawn="1"/>
          </p:nvGrpSpPr>
          <p:grpSpPr>
            <a:xfrm flipH="1">
              <a:off x="11716147" y="-250200"/>
              <a:ext cx="758020" cy="1806436"/>
              <a:chOff x="-282166" y="-249136"/>
              <a:chExt cx="758020" cy="1806436"/>
            </a:xfrm>
          </p:grpSpPr>
          <p:cxnSp>
            <p:nvCxnSpPr>
              <p:cNvPr id="64" name="Straight Connector 63">
                <a:extLst>
                  <a:ext uri="{FF2B5EF4-FFF2-40B4-BE49-F238E27FC236}">
                    <a16:creationId xmlns:a16="http://schemas.microsoft.com/office/drawing/2014/main" id="{0C36DF73-1683-B9E0-DAE2-CC4FA9411740}"/>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7585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074D68E9-43F3-F793-E58E-42D96487CDA0}"/>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A51D9C8-457F-A702-330E-3E83FF49A907}"/>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173599"/>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8317C7D4-4BF5-ECE3-AB0F-69BAEB0392E2}"/>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4619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B1F3722B-662F-EE1F-F28F-2117DFF43FC7}"/>
                </a:ext>
              </a:extLst>
            </p:cNvPr>
            <p:cNvGrpSpPr>
              <a:grpSpLocks noGrp="1" noUngrp="1" noRot="1" noMove="1" noResize="1"/>
            </p:cNvGrpSpPr>
            <p:nvPr userDrawn="1"/>
          </p:nvGrpSpPr>
          <p:grpSpPr>
            <a:xfrm flipH="1" flipV="1">
              <a:off x="11716147" y="6669000"/>
              <a:ext cx="758020" cy="438136"/>
              <a:chOff x="-282166" y="-249136"/>
              <a:chExt cx="758020" cy="438136"/>
            </a:xfrm>
          </p:grpSpPr>
          <p:cxnSp>
            <p:nvCxnSpPr>
              <p:cNvPr id="60" name="Straight Connector 59">
                <a:extLst>
                  <a:ext uri="{FF2B5EF4-FFF2-40B4-BE49-F238E27FC236}">
                    <a16:creationId xmlns:a16="http://schemas.microsoft.com/office/drawing/2014/main" id="{31A63819-901C-AE9C-B688-44EE3E52D123}"/>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7585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E85C02E4-A713-5717-13B4-0D5BEFA009BA}"/>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pic>
        <p:nvPicPr>
          <p:cNvPr id="7" name="logo sm" descr="Transamerica Logo">
            <a:extLst>
              <a:ext uri="{FF2B5EF4-FFF2-40B4-BE49-F238E27FC236}">
                <a16:creationId xmlns:a16="http://schemas.microsoft.com/office/drawing/2014/main" id="{E8E14561-69C7-C85B-AE9E-F1AC72D424D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9799200" y="6053050"/>
            <a:ext cx="2138400" cy="804950"/>
          </a:xfrm>
          <a:prstGeom prst="rect">
            <a:avLst/>
          </a:prstGeom>
        </p:spPr>
      </p:pic>
      <p:grpSp>
        <p:nvGrpSpPr>
          <p:cNvPr id="24" name="Group 23" hidden="1">
            <a:extLst>
              <a:ext uri="{FF2B5EF4-FFF2-40B4-BE49-F238E27FC236}">
                <a16:creationId xmlns:a16="http://schemas.microsoft.com/office/drawing/2014/main" id="{7689F110-0941-B07F-153C-140E14E05BE5}"/>
              </a:ext>
            </a:extLst>
          </p:cNvPr>
          <p:cNvGrpSpPr/>
          <p:nvPr userDrawn="1"/>
        </p:nvGrpSpPr>
        <p:grpSpPr>
          <a:xfrm>
            <a:off x="521207" y="0"/>
            <a:ext cx="11149581" cy="3860999"/>
            <a:chOff x="521207" y="0"/>
            <a:chExt cx="11149581" cy="3860999"/>
          </a:xfrm>
        </p:grpSpPr>
        <p:sp>
          <p:nvSpPr>
            <p:cNvPr id="5" name="Title 1">
              <a:extLst>
                <a:ext uri="{FF2B5EF4-FFF2-40B4-BE49-F238E27FC236}">
                  <a16:creationId xmlns:a16="http://schemas.microsoft.com/office/drawing/2014/main" id="{C1D413FE-03CE-E672-098E-941F051A2EA2}"/>
                </a:ext>
              </a:extLst>
            </p:cNvPr>
            <p:cNvSpPr txBox="1">
              <a:spLocks/>
            </p:cNvSpPr>
            <p:nvPr userDrawn="1"/>
          </p:nvSpPr>
          <p:spPr>
            <a:xfrm>
              <a:off x="521207" y="0"/>
              <a:ext cx="11149581" cy="262798"/>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a:t> </a:t>
              </a:r>
            </a:p>
          </p:txBody>
        </p:sp>
        <p:sp>
          <p:nvSpPr>
            <p:cNvPr id="20" name="Title 1">
              <a:extLst>
                <a:ext uri="{FF2B5EF4-FFF2-40B4-BE49-F238E27FC236}">
                  <a16:creationId xmlns:a16="http://schemas.microsoft.com/office/drawing/2014/main" id="{3AACF22A-E7D6-036A-A047-5FDFE0292D95}"/>
                </a:ext>
              </a:extLst>
            </p:cNvPr>
            <p:cNvSpPr txBox="1">
              <a:spLocks/>
            </p:cNvSpPr>
            <p:nvPr userDrawn="1"/>
          </p:nvSpPr>
          <p:spPr>
            <a:xfrm>
              <a:off x="521207" y="1744716"/>
              <a:ext cx="11149581" cy="2116283"/>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a:t>Click to edit title</a:t>
              </a:r>
            </a:p>
          </p:txBody>
        </p:sp>
        <p:sp>
          <p:nvSpPr>
            <p:cNvPr id="23" name="Title 1">
              <a:extLst>
                <a:ext uri="{FF2B5EF4-FFF2-40B4-BE49-F238E27FC236}">
                  <a16:creationId xmlns:a16="http://schemas.microsoft.com/office/drawing/2014/main" id="{99183974-AC97-E968-FAA3-1131280530FC}"/>
                </a:ext>
              </a:extLst>
            </p:cNvPr>
            <p:cNvSpPr txBox="1">
              <a:spLocks/>
            </p:cNvSpPr>
            <p:nvPr userDrawn="1"/>
          </p:nvSpPr>
          <p:spPr>
            <a:xfrm>
              <a:off x="521207" y="259563"/>
              <a:ext cx="11149581" cy="64800"/>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a:t> </a:t>
              </a:r>
            </a:p>
          </p:txBody>
        </p:sp>
      </p:grpSp>
    </p:spTree>
    <p:extLst>
      <p:ext uri="{BB962C8B-B14F-4D97-AF65-F5344CB8AC3E}">
        <p14:creationId xmlns:p14="http://schemas.microsoft.com/office/powerpoint/2010/main" val="2461569463"/>
      </p:ext>
    </p:extLst>
  </p:cSld>
  <p:clrMap bg1="lt1" tx1="dk1" bg2="lt2" tx2="dk2" accent1="accent1" accent2="accent2" accent3="accent3" accent4="accent4" accent5="accent5" accent6="accent6" hlink="hlink" folHlink="folHlink"/>
  <p:sldLayoutIdLst>
    <p:sldLayoutId id="2147483910" r:id="rId1"/>
    <p:sldLayoutId id="2147483912" r:id="rId2"/>
  </p:sldLayoutIdLst>
  <p:hf hdr="0" ftr="0" dt="0"/>
  <p:txStyles>
    <p:titleStyle>
      <a:lvl1pPr algn="l" defTabSz="914400" rtl="0" eaLnBrk="1" latinLnBrk="0" hangingPunct="1">
        <a:lnSpc>
          <a:spcPct val="85000"/>
        </a:lnSpc>
        <a:spcBef>
          <a:spcPct val="0"/>
        </a:spcBef>
        <a:buNone/>
        <a:defRPr sz="3600" b="0" i="0" kern="100" spc="-30" baseline="0">
          <a:solidFill>
            <a:schemeClr val="tx1"/>
          </a:solidFill>
          <a:latin typeface="Forever Forma Heading" pitchFamily="2" charset="0"/>
          <a:ea typeface="+mj-ea"/>
          <a:cs typeface="+mj-cs"/>
        </a:defRPr>
      </a:lvl1pPr>
    </p:titleStyle>
    <p:body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600"/>
        </a:spcBef>
        <a:buClrTx/>
        <a:buFont typeface="Wingdings" pitchFamily="2" charset="2"/>
        <a:buChar char="§"/>
        <a:defRPr sz="1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p:bodyStyle>
    <p:otherStyle>
      <a:defPPr>
        <a:defRPr lang="en-US"/>
      </a:defPPr>
      <a:lvl1pPr marL="0" indent="0" algn="l" defTabSz="914400" rtl="0" eaLnBrk="1" latinLnBrk="0" hangingPunct="1">
        <a:lnSpc>
          <a:spcPct val="100000"/>
        </a:lnSpc>
        <a:spcBef>
          <a:spcPts val="0"/>
        </a:spcBef>
        <a:buClr>
          <a:srgbClr val="281805"/>
        </a:buClr>
        <a:buFont typeface="Arial" panose="020B0604020202020204" pitchFamily="34" charset="0"/>
        <a:buChar char="​"/>
        <a:defRPr sz="1800" b="0" kern="1200">
          <a:solidFill>
            <a:schemeClr val="tx1"/>
          </a:solidFill>
          <a:latin typeface="+mn-lt"/>
          <a:ea typeface="+mn-ea"/>
          <a:cs typeface="+mn-cs"/>
        </a:defRPr>
      </a:lvl1pPr>
      <a:lvl2pPr marL="180000" indent="-180000" algn="l" defTabSz="914400" rtl="0" eaLnBrk="1" latinLnBrk="0" hangingPunct="1">
        <a:lnSpc>
          <a:spcPct val="100000"/>
        </a:lnSpc>
        <a:spcBef>
          <a:spcPts val="0"/>
        </a:spcBef>
        <a:buClr>
          <a:srgbClr val="281805"/>
        </a:buClr>
        <a:buFont typeface="Arial" panose="020E0502030303020204" pitchFamily="34" charset="0"/>
        <a:buChar char="•"/>
        <a:defRPr sz="1800" b="0" kern="1200">
          <a:solidFill>
            <a:schemeClr val="tx1"/>
          </a:solidFill>
          <a:latin typeface="+mn-lt"/>
          <a:ea typeface="+mn-ea"/>
          <a:cs typeface="+mn-cs"/>
        </a:defRPr>
      </a:lvl2pPr>
      <a:lvl3pPr marL="360000" indent="-180000" algn="l" defTabSz="914400" rtl="0" eaLnBrk="1" latinLnBrk="0" hangingPunct="1">
        <a:lnSpc>
          <a:spcPct val="100000"/>
        </a:lnSpc>
        <a:spcBef>
          <a:spcPts val="0"/>
        </a:spcBef>
        <a:buClr>
          <a:srgbClr val="281805"/>
        </a:buClr>
        <a:buFont typeface="Arial" panose="020E0502030303020204" pitchFamily="34" charset="0"/>
        <a:buChar char="–"/>
        <a:defRPr sz="1800" b="0" kern="1200">
          <a:solidFill>
            <a:schemeClr val="tx1"/>
          </a:solidFill>
          <a:latin typeface="+mn-lt"/>
          <a:ea typeface="+mn-ea"/>
          <a:cs typeface="+mn-cs"/>
        </a:defRPr>
      </a:lvl3pPr>
      <a:lvl4pPr marL="540000" indent="-180000" algn="l" defTabSz="914400" rtl="0" eaLnBrk="1" latinLnBrk="0" hangingPunct="1">
        <a:lnSpc>
          <a:spcPct val="100000"/>
        </a:lnSpc>
        <a:spcBef>
          <a:spcPts val="0"/>
        </a:spcBef>
        <a:buClr>
          <a:srgbClr val="281805"/>
        </a:buClr>
        <a:buFont typeface="Arial" panose="020E0502030303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00000"/>
        </a:lnSpc>
        <a:spcBef>
          <a:spcPts val="0"/>
        </a:spcBef>
        <a:buClr>
          <a:srgbClr val="281805"/>
        </a:buClr>
        <a:buSzPct val="100000"/>
        <a:buFont typeface="Arial" panose="020E0502030303020204" pitchFamily="34" charset="0"/>
        <a:buChar char="–"/>
        <a:defRPr sz="1800" kern="1200">
          <a:solidFill>
            <a:schemeClr val="tx1"/>
          </a:solidFill>
          <a:latin typeface="+mn-lt"/>
          <a:ea typeface="+mn-ea"/>
          <a:cs typeface="+mn-cs"/>
        </a:defRPr>
      </a:lvl5pPr>
      <a:lvl6pPr marL="180000" indent="-180000" algn="l" defTabSz="914400" rtl="0" eaLnBrk="1" latinLnBrk="0" hangingPunct="1">
        <a:lnSpc>
          <a:spcPct val="100000"/>
        </a:lnSpc>
        <a:spcBef>
          <a:spcPts val="0"/>
        </a:spcBef>
        <a:buClr>
          <a:srgbClr val="281805"/>
        </a:buClr>
        <a:buSzPct val="90000"/>
        <a:buFont typeface="+mj-lt"/>
        <a:buAutoNum type="arabicPeriod"/>
        <a:defRPr sz="1800" kern="1200">
          <a:solidFill>
            <a:schemeClr val="tx1"/>
          </a:solidFill>
          <a:latin typeface="+mn-lt"/>
          <a:ea typeface="+mn-ea"/>
          <a:cs typeface="+mn-cs"/>
        </a:defRPr>
      </a:lvl6pPr>
      <a:lvl7pPr marL="360000" indent="-180000" algn="l" defTabSz="914400" rtl="0" eaLnBrk="1" latinLnBrk="0" hangingPunct="1">
        <a:lnSpc>
          <a:spcPct val="100000"/>
        </a:lnSpc>
        <a:spcBef>
          <a:spcPts val="0"/>
        </a:spcBef>
        <a:buClr>
          <a:srgbClr val="281805"/>
        </a:buClr>
        <a:buSzPct val="100000"/>
        <a:buFont typeface="Arial" panose="020E0502030303020204" pitchFamily="34" charset="0"/>
        <a:buChar char="–"/>
        <a:defRPr sz="1800" kern="1200">
          <a:solidFill>
            <a:schemeClr val="tx1"/>
          </a:solidFill>
          <a:latin typeface="+mn-lt"/>
          <a:ea typeface="+mn-ea"/>
          <a:cs typeface="+mn-cs"/>
        </a:defRPr>
      </a:lvl7pPr>
      <a:lvl8pPr marL="0" indent="0" algn="l" defTabSz="914400" rtl="0" eaLnBrk="1" latinLnBrk="0" hangingPunct="1">
        <a:lnSpc>
          <a:spcPct val="100000"/>
        </a:lnSpc>
        <a:spcBef>
          <a:spcPts val="0"/>
        </a:spcBef>
        <a:buClr>
          <a:srgbClr val="281805"/>
        </a:buClr>
        <a:buFont typeface="Arial" panose="020B0604020202020204" pitchFamily="34" charset="0"/>
        <a:buChar char="​"/>
        <a:defRPr sz="1800" b="1" kern="1200">
          <a:solidFill>
            <a:srgbClr val="281805"/>
          </a:solidFill>
          <a:latin typeface="+mn-lt"/>
          <a:ea typeface="+mn-ea"/>
          <a:cs typeface="+mn-cs"/>
        </a:defRPr>
      </a:lvl8pPr>
      <a:lvl9pPr marL="0" indent="0" algn="l" defTabSz="914400" rtl="0" eaLnBrk="1" latinLnBrk="0" hangingPunct="1">
        <a:lnSpc>
          <a:spcPct val="100000"/>
        </a:lnSpc>
        <a:spcBef>
          <a:spcPts val="0"/>
        </a:spcBef>
        <a:buClr>
          <a:srgbClr val="281805"/>
        </a:buClr>
        <a:buFont typeface="Arial" panose="020B0604020202020204" pitchFamily="34" charset="0"/>
        <a:buChar char="​"/>
        <a:defRPr sz="1800" b="1" kern="1200">
          <a:solidFill>
            <a:srgbClr val="281805"/>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1D7DBB37-5DB1-AF5A-3D0F-54CF80A6EF41}"/>
              </a:ext>
              <a:ext uri="{C183D7F6-B498-43B3-948B-1728B52AA6E4}">
                <adec:decorative xmlns:adec="http://schemas.microsoft.com/office/drawing/2017/decorative" val="1"/>
              </a:ext>
            </a:extLst>
          </p:cNvPr>
          <p:cNvGraphicFramePr>
            <a:graphicFrameLocks noChangeAspect="1"/>
          </p:cNvGraphicFramePr>
          <p:nvPr userDrawn="1">
            <p:custDataLst>
              <p:tags r:id="rId4"/>
            </p:custDataLst>
            <p:extLst>
              <p:ext uri="{D42A27DB-BD31-4B8C-83A1-F6EECF244321}">
                <p14:modId xmlns:p14="http://schemas.microsoft.com/office/powerpoint/2010/main" val="25605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10" name="think-cell data - do not delete" hidden="1">
                        <a:extLst>
                          <a:ext uri="{FF2B5EF4-FFF2-40B4-BE49-F238E27FC236}">
                            <a16:creationId xmlns:a16="http://schemas.microsoft.com/office/drawing/2014/main" id="{1D7DBB37-5DB1-AF5A-3D0F-54CF80A6EF41}"/>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6F25A6B-8F5B-A241-A3BD-B5FDE9F512C5}"/>
              </a:ext>
            </a:extLst>
          </p:cNvPr>
          <p:cNvSpPr>
            <a:spLocks noGrp="1"/>
          </p:cNvSpPr>
          <p:nvPr>
            <p:ph type="dt" sz="half" idx="2"/>
          </p:nvPr>
        </p:nvSpPr>
        <p:spPr>
          <a:xfrm>
            <a:off x="10932000" y="2016"/>
            <a:ext cx="1260000" cy="319084"/>
          </a:xfrm>
          <a:prstGeom prst="rect">
            <a:avLst/>
          </a:prstGeom>
        </p:spPr>
        <p:txBody>
          <a:bodyPr vert="horz" wrap="none" lIns="72000" tIns="72000" rIns="72000" bIns="72000" rtlCol="0" anchor="ctr">
            <a:noAutofit/>
          </a:bodyPr>
          <a:lstStyle>
            <a:lvl1pPr algn="r">
              <a:defRPr sz="800" b="0" i="0">
                <a:solidFill>
                  <a:srgbClr val="281805"/>
                </a:solidFill>
                <a:latin typeface="Forever Forma Body Text" pitchFamily="2" charset="0"/>
              </a:defRPr>
            </a:lvl1pPr>
          </a:lstStyle>
          <a:p>
            <a:fld id="{8F81B36D-59DF-42A0-ABF0-6A71ABA2C4CD}" type="datetime3">
              <a:rPr lang="en-US" smtClean="0"/>
              <a:pPr/>
              <a:t>15 January 2026</a:t>
            </a:fld>
            <a:endParaRPr lang="en-US"/>
          </a:p>
        </p:txBody>
      </p:sp>
      <p:sp>
        <p:nvSpPr>
          <p:cNvPr id="3" name="Text Placeholder 2">
            <a:extLst>
              <a:ext uri="{FF2B5EF4-FFF2-40B4-BE49-F238E27FC236}">
                <a16:creationId xmlns:a16="http://schemas.microsoft.com/office/drawing/2014/main" id="{E0A85944-6880-CBB6-BA63-4A90CA93596A}"/>
              </a:ext>
            </a:extLst>
          </p:cNvPr>
          <p:cNvSpPr>
            <a:spLocks noGrp="1"/>
          </p:cNvSpPr>
          <p:nvPr>
            <p:ph type="body" idx="1"/>
          </p:nvPr>
        </p:nvSpPr>
        <p:spPr>
          <a:xfrm>
            <a:off x="521208" y="1296000"/>
            <a:ext cx="11149576" cy="475394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Slide Number Placeholder 5">
            <a:extLst>
              <a:ext uri="{FF2B5EF4-FFF2-40B4-BE49-F238E27FC236}">
                <a16:creationId xmlns:a16="http://schemas.microsoft.com/office/drawing/2014/main" id="{CAA63915-CBC8-75C7-C27B-2ADA3EEF69F8}"/>
              </a:ext>
              <a:ext uri="{C183D7F6-B498-43B3-948B-1728B52AA6E4}">
                <adec:decorative xmlns:adec="http://schemas.microsoft.com/office/drawing/2017/decorative" val="1"/>
              </a:ext>
            </a:extLst>
          </p:cNvPr>
          <p:cNvSpPr>
            <a:spLocks noGrp="1"/>
          </p:cNvSpPr>
          <p:nvPr>
            <p:ph type="sldNum" sz="quarter" idx="4"/>
          </p:nvPr>
        </p:nvSpPr>
        <p:spPr>
          <a:xfrm>
            <a:off x="0" y="6049950"/>
            <a:ext cx="806400" cy="808050"/>
          </a:xfrm>
          <a:prstGeom prst="rect">
            <a:avLst/>
          </a:prstGeom>
        </p:spPr>
        <p:txBody>
          <a:bodyPr vert="horz" lIns="518400" tIns="0" rIns="64800" bIns="309600" rtlCol="0" anchor="b" anchorCtr="0">
            <a:noAutofit/>
          </a:bodyPr>
          <a:lstStyle>
            <a:lvl1pPr algn="l">
              <a:defRPr sz="900" b="0" i="0">
                <a:solidFill>
                  <a:schemeClr val="tx1"/>
                </a:solidFill>
                <a:latin typeface="Forever Forma Body Text" pitchFamily="2" charset="0"/>
              </a:defRPr>
            </a:lvl1pPr>
          </a:lstStyle>
          <a:p>
            <a:fld id="{1C1606C5-D483-4832-A0E9-CF578A9B5883}" type="slidenum">
              <a:rPr lang="en-US" smtClean="0"/>
              <a:pPr/>
              <a:t>‹#›</a:t>
            </a:fld>
            <a:endParaRPr lang="en-US"/>
          </a:p>
        </p:txBody>
      </p:sp>
      <p:grpSp>
        <p:nvGrpSpPr>
          <p:cNvPr id="79" name="Group 78" hidden="1">
            <a:extLst>
              <a:ext uri="{FF2B5EF4-FFF2-40B4-BE49-F238E27FC236}">
                <a16:creationId xmlns:a16="http://schemas.microsoft.com/office/drawing/2014/main" id="{BA72FC20-E2CA-59C4-7B21-62C9115E46A8}"/>
              </a:ext>
              <a:ext uri="{C183D7F6-B498-43B3-948B-1728B52AA6E4}">
                <adec:decorative xmlns:adec="http://schemas.microsoft.com/office/drawing/2017/decorative" val="1"/>
              </a:ext>
            </a:extLst>
          </p:cNvPr>
          <p:cNvGrpSpPr>
            <a:grpSpLocks noGrp="1" noUngrp="1" noRot="1" noMove="1" noResize="1"/>
          </p:cNvGrpSpPr>
          <p:nvPr userDrawn="1"/>
        </p:nvGrpSpPr>
        <p:grpSpPr>
          <a:xfrm>
            <a:off x="-282166" y="-250200"/>
            <a:ext cx="12756333" cy="7357336"/>
            <a:chOff x="-282166" y="-250200"/>
            <a:chExt cx="12756333" cy="7357336"/>
          </a:xfrm>
        </p:grpSpPr>
        <p:grpSp>
          <p:nvGrpSpPr>
            <p:cNvPr id="48" name="Group 47">
              <a:extLst>
                <a:ext uri="{FF2B5EF4-FFF2-40B4-BE49-F238E27FC236}">
                  <a16:creationId xmlns:a16="http://schemas.microsoft.com/office/drawing/2014/main" id="{A2B8D85E-52EF-FA63-9592-265E43AD271D}"/>
                </a:ext>
              </a:extLst>
            </p:cNvPr>
            <p:cNvGrpSpPr>
              <a:grpSpLocks noGrp="1" noUngrp="1" noRot="1" noMove="1" noResize="1"/>
            </p:cNvGrpSpPr>
            <p:nvPr userDrawn="1"/>
          </p:nvGrpSpPr>
          <p:grpSpPr>
            <a:xfrm>
              <a:off x="-282166" y="-249136"/>
              <a:ext cx="766850" cy="1806436"/>
              <a:chOff x="-282166" y="-249136"/>
              <a:chExt cx="766850" cy="1806436"/>
            </a:xfrm>
          </p:grpSpPr>
          <p:cxnSp>
            <p:nvCxnSpPr>
              <p:cNvPr id="40" name="Straight Connector 39">
                <a:extLst>
                  <a:ext uri="{FF2B5EF4-FFF2-40B4-BE49-F238E27FC236}">
                    <a16:creationId xmlns:a16="http://schemas.microsoft.com/office/drawing/2014/main" id="{8D6D0D5E-5313-2E8E-FAC4-9AE8AC71A06F}"/>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8468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2E47E72-9EED-156D-E1C9-0EF9F58EB76B}"/>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4860373-8117-E073-7E3E-240392FEC0F3}"/>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173599"/>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B8D9028B-4948-B67E-79B8-A1A4C3540ECC}"/>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4619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A97BD11A-2E6F-80FC-4AC5-0F4673578EF2}"/>
                </a:ext>
              </a:extLst>
            </p:cNvPr>
            <p:cNvGrpSpPr>
              <a:grpSpLocks noGrp="1" noUngrp="1" noRot="1" noMove="1" noResize="1"/>
            </p:cNvGrpSpPr>
            <p:nvPr userDrawn="1"/>
          </p:nvGrpSpPr>
          <p:grpSpPr>
            <a:xfrm flipV="1">
              <a:off x="-282166" y="6669000"/>
              <a:ext cx="766850" cy="438136"/>
              <a:chOff x="-282166" y="-249136"/>
              <a:chExt cx="766850" cy="438136"/>
            </a:xfrm>
          </p:grpSpPr>
          <p:cxnSp>
            <p:nvCxnSpPr>
              <p:cNvPr id="54" name="Straight Connector 53">
                <a:extLst>
                  <a:ext uri="{FF2B5EF4-FFF2-40B4-BE49-F238E27FC236}">
                    <a16:creationId xmlns:a16="http://schemas.microsoft.com/office/drawing/2014/main" id="{333A3C60-6DDF-0E86-7A5D-C9E2DC700AC6}"/>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8468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973A5B8-A847-F13D-C557-F6CAA8F1C3BC}"/>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6D787A70-EF66-4785-95AD-991F81706E7F}"/>
                </a:ext>
              </a:extLst>
            </p:cNvPr>
            <p:cNvGrpSpPr>
              <a:grpSpLocks noGrp="1" noUngrp="1" noRot="1" noMove="1" noResize="1"/>
            </p:cNvGrpSpPr>
            <p:nvPr userDrawn="1"/>
          </p:nvGrpSpPr>
          <p:grpSpPr>
            <a:xfrm flipH="1">
              <a:off x="11716147" y="-250200"/>
              <a:ext cx="758020" cy="1806436"/>
              <a:chOff x="-282166" y="-249136"/>
              <a:chExt cx="758020" cy="1806436"/>
            </a:xfrm>
          </p:grpSpPr>
          <p:cxnSp>
            <p:nvCxnSpPr>
              <p:cNvPr id="64" name="Straight Connector 63">
                <a:extLst>
                  <a:ext uri="{FF2B5EF4-FFF2-40B4-BE49-F238E27FC236}">
                    <a16:creationId xmlns:a16="http://schemas.microsoft.com/office/drawing/2014/main" id="{0C36DF73-1683-B9E0-DAE2-CC4FA9411740}"/>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7585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074D68E9-43F3-F793-E58E-42D96487CDA0}"/>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A51D9C8-457F-A702-330E-3E83FF49A907}"/>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173599"/>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8317C7D4-4BF5-ECE3-AB0F-69BAEB0392E2}"/>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4619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B1F3722B-662F-EE1F-F28F-2117DFF43FC7}"/>
                </a:ext>
              </a:extLst>
            </p:cNvPr>
            <p:cNvGrpSpPr>
              <a:grpSpLocks noGrp="1" noUngrp="1" noRot="1" noMove="1" noResize="1"/>
            </p:cNvGrpSpPr>
            <p:nvPr userDrawn="1"/>
          </p:nvGrpSpPr>
          <p:grpSpPr>
            <a:xfrm flipH="1" flipV="1">
              <a:off x="11716147" y="6669000"/>
              <a:ext cx="758020" cy="438136"/>
              <a:chOff x="-282166" y="-249136"/>
              <a:chExt cx="758020" cy="438136"/>
            </a:xfrm>
          </p:grpSpPr>
          <p:cxnSp>
            <p:nvCxnSpPr>
              <p:cNvPr id="60" name="Straight Connector 59">
                <a:extLst>
                  <a:ext uri="{FF2B5EF4-FFF2-40B4-BE49-F238E27FC236}">
                    <a16:creationId xmlns:a16="http://schemas.microsoft.com/office/drawing/2014/main" id="{31A63819-901C-AE9C-B688-44EE3E52D123}"/>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7585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E85C02E4-A713-5717-13B4-0D5BEFA009BA}"/>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pic>
        <p:nvPicPr>
          <p:cNvPr id="7" name="logo sm" descr="Transamerica Logo">
            <a:extLst>
              <a:ext uri="{FF2B5EF4-FFF2-40B4-BE49-F238E27FC236}">
                <a16:creationId xmlns:a16="http://schemas.microsoft.com/office/drawing/2014/main" id="{E8E14561-69C7-C85B-AE9E-F1AC72D424D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9799200" y="6053050"/>
            <a:ext cx="2138400" cy="804950"/>
          </a:xfrm>
          <a:prstGeom prst="rect">
            <a:avLst/>
          </a:prstGeom>
        </p:spPr>
      </p:pic>
      <p:grpSp>
        <p:nvGrpSpPr>
          <p:cNvPr id="24" name="Group 23" hidden="1">
            <a:extLst>
              <a:ext uri="{FF2B5EF4-FFF2-40B4-BE49-F238E27FC236}">
                <a16:creationId xmlns:a16="http://schemas.microsoft.com/office/drawing/2014/main" id="{7689F110-0941-B07F-153C-140E14E05BE5}"/>
              </a:ext>
            </a:extLst>
          </p:cNvPr>
          <p:cNvGrpSpPr/>
          <p:nvPr userDrawn="1"/>
        </p:nvGrpSpPr>
        <p:grpSpPr>
          <a:xfrm>
            <a:off x="521207" y="0"/>
            <a:ext cx="11149581" cy="3860999"/>
            <a:chOff x="521207" y="0"/>
            <a:chExt cx="11149581" cy="3860999"/>
          </a:xfrm>
        </p:grpSpPr>
        <p:sp>
          <p:nvSpPr>
            <p:cNvPr id="5" name="Title 1">
              <a:extLst>
                <a:ext uri="{FF2B5EF4-FFF2-40B4-BE49-F238E27FC236}">
                  <a16:creationId xmlns:a16="http://schemas.microsoft.com/office/drawing/2014/main" id="{C1D413FE-03CE-E672-098E-941F051A2EA2}"/>
                </a:ext>
              </a:extLst>
            </p:cNvPr>
            <p:cNvSpPr txBox="1">
              <a:spLocks/>
            </p:cNvSpPr>
            <p:nvPr userDrawn="1"/>
          </p:nvSpPr>
          <p:spPr>
            <a:xfrm>
              <a:off x="521207" y="0"/>
              <a:ext cx="11149581" cy="262798"/>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a:t> </a:t>
              </a:r>
            </a:p>
          </p:txBody>
        </p:sp>
        <p:sp>
          <p:nvSpPr>
            <p:cNvPr id="20" name="Title 1">
              <a:extLst>
                <a:ext uri="{FF2B5EF4-FFF2-40B4-BE49-F238E27FC236}">
                  <a16:creationId xmlns:a16="http://schemas.microsoft.com/office/drawing/2014/main" id="{3AACF22A-E7D6-036A-A047-5FDFE0292D95}"/>
                </a:ext>
              </a:extLst>
            </p:cNvPr>
            <p:cNvSpPr txBox="1">
              <a:spLocks/>
            </p:cNvSpPr>
            <p:nvPr userDrawn="1"/>
          </p:nvSpPr>
          <p:spPr>
            <a:xfrm>
              <a:off x="521207" y="1744716"/>
              <a:ext cx="11149581" cy="2116283"/>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a:t>Click to edit title</a:t>
              </a:r>
            </a:p>
          </p:txBody>
        </p:sp>
        <p:sp>
          <p:nvSpPr>
            <p:cNvPr id="23" name="Title 1">
              <a:extLst>
                <a:ext uri="{FF2B5EF4-FFF2-40B4-BE49-F238E27FC236}">
                  <a16:creationId xmlns:a16="http://schemas.microsoft.com/office/drawing/2014/main" id="{99183974-AC97-E968-FAA3-1131280530FC}"/>
                </a:ext>
              </a:extLst>
            </p:cNvPr>
            <p:cNvSpPr txBox="1">
              <a:spLocks/>
            </p:cNvSpPr>
            <p:nvPr userDrawn="1"/>
          </p:nvSpPr>
          <p:spPr>
            <a:xfrm>
              <a:off x="521207" y="259563"/>
              <a:ext cx="11149581" cy="64800"/>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a:t> </a:t>
              </a:r>
            </a:p>
          </p:txBody>
        </p:sp>
      </p:grpSp>
      <p:sp>
        <p:nvSpPr>
          <p:cNvPr id="9" name="Title Placeholder 1">
            <a:extLst>
              <a:ext uri="{FF2B5EF4-FFF2-40B4-BE49-F238E27FC236}">
                <a16:creationId xmlns:a16="http://schemas.microsoft.com/office/drawing/2014/main" id="{8C496B45-76B0-29AB-A28D-8085C8CA4E95}"/>
              </a:ext>
            </a:extLst>
          </p:cNvPr>
          <p:cNvSpPr>
            <a:spLocks noGrp="1"/>
          </p:cNvSpPr>
          <p:nvPr>
            <p:ph type="title"/>
          </p:nvPr>
        </p:nvSpPr>
        <p:spPr>
          <a:xfrm>
            <a:off x="521205" y="324213"/>
            <a:ext cx="11149576" cy="808050"/>
          </a:xfrm>
          <a:prstGeom prst="rect">
            <a:avLst/>
          </a:prstGeom>
        </p:spPr>
        <p:txBody>
          <a:bodyPr vert="horz" lIns="0" tIns="0" rIns="0" bIns="0" rtlCol="0" anchor="b" anchorCtr="0">
            <a:noAutofit/>
          </a:bodyPr>
          <a:lstStyle/>
          <a:p>
            <a:r>
              <a:rPr lang="en-US"/>
              <a:t>Click to edit Master title style</a:t>
            </a:r>
          </a:p>
        </p:txBody>
      </p:sp>
    </p:spTree>
    <p:extLst>
      <p:ext uri="{BB962C8B-B14F-4D97-AF65-F5344CB8AC3E}">
        <p14:creationId xmlns:p14="http://schemas.microsoft.com/office/powerpoint/2010/main" val="3431713441"/>
      </p:ext>
    </p:extLst>
  </p:cSld>
  <p:clrMap bg1="lt1" tx1="dk1" bg2="lt2" tx2="dk2" accent1="accent1" accent2="accent2" accent3="accent3" accent4="accent4" accent5="accent5" accent6="accent6" hlink="hlink" folHlink="folHlink"/>
  <p:sldLayoutIdLst>
    <p:sldLayoutId id="2147484110" r:id="rId1"/>
    <p:sldLayoutId id="2147484141" r:id="rId2"/>
  </p:sldLayoutIdLst>
  <p:hf hdr="0" ftr="0" dt="0"/>
  <p:txStyles>
    <p:titleStyle>
      <a:lvl1pPr algn="l" defTabSz="914400" rtl="0" eaLnBrk="1" latinLnBrk="0" hangingPunct="1">
        <a:lnSpc>
          <a:spcPct val="85000"/>
        </a:lnSpc>
        <a:spcBef>
          <a:spcPct val="0"/>
        </a:spcBef>
        <a:buNone/>
        <a:defRPr sz="3600" b="0" i="0" kern="100" spc="-30" baseline="0">
          <a:solidFill>
            <a:schemeClr val="tx1"/>
          </a:solidFill>
          <a:latin typeface="Forever Forma Heading" pitchFamily="2" charset="0"/>
          <a:ea typeface="+mj-ea"/>
          <a:cs typeface="+mj-cs"/>
        </a:defRPr>
      </a:lvl1pPr>
    </p:titleStyle>
    <p:body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600"/>
        </a:spcBef>
        <a:buClrTx/>
        <a:buFont typeface="Wingdings" pitchFamily="2" charset="2"/>
        <a:buChar char="§"/>
        <a:defRPr sz="1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p:bodyStyle>
    <p:otherStyle>
      <a:defPPr>
        <a:defRPr lang="en-US"/>
      </a:defPPr>
      <a:lvl1pPr marL="0" indent="0" algn="l" defTabSz="914400" rtl="0" eaLnBrk="1" latinLnBrk="0" hangingPunct="1">
        <a:lnSpc>
          <a:spcPct val="100000"/>
        </a:lnSpc>
        <a:spcBef>
          <a:spcPts val="0"/>
        </a:spcBef>
        <a:buClr>
          <a:srgbClr val="281805"/>
        </a:buClr>
        <a:buFont typeface="Arial" panose="020B0604020202020204" pitchFamily="34" charset="0"/>
        <a:buChar char="​"/>
        <a:defRPr sz="1800" b="0" kern="1200">
          <a:solidFill>
            <a:schemeClr val="tx1"/>
          </a:solidFill>
          <a:latin typeface="+mn-lt"/>
          <a:ea typeface="+mn-ea"/>
          <a:cs typeface="+mn-cs"/>
        </a:defRPr>
      </a:lvl1pPr>
      <a:lvl2pPr marL="180000" indent="-180000" algn="l" defTabSz="914400" rtl="0" eaLnBrk="1" latinLnBrk="0" hangingPunct="1">
        <a:lnSpc>
          <a:spcPct val="100000"/>
        </a:lnSpc>
        <a:spcBef>
          <a:spcPts val="0"/>
        </a:spcBef>
        <a:buClr>
          <a:srgbClr val="281805"/>
        </a:buClr>
        <a:buFont typeface="Arial" panose="020E0502030303020204" pitchFamily="34" charset="0"/>
        <a:buChar char="•"/>
        <a:defRPr sz="1800" b="0" kern="1200">
          <a:solidFill>
            <a:schemeClr val="tx1"/>
          </a:solidFill>
          <a:latin typeface="+mn-lt"/>
          <a:ea typeface="+mn-ea"/>
          <a:cs typeface="+mn-cs"/>
        </a:defRPr>
      </a:lvl2pPr>
      <a:lvl3pPr marL="360000" indent="-180000" algn="l" defTabSz="914400" rtl="0" eaLnBrk="1" latinLnBrk="0" hangingPunct="1">
        <a:lnSpc>
          <a:spcPct val="100000"/>
        </a:lnSpc>
        <a:spcBef>
          <a:spcPts val="0"/>
        </a:spcBef>
        <a:buClr>
          <a:srgbClr val="281805"/>
        </a:buClr>
        <a:buFont typeface="Arial" panose="020E0502030303020204" pitchFamily="34" charset="0"/>
        <a:buChar char="–"/>
        <a:defRPr sz="1800" b="0" kern="1200">
          <a:solidFill>
            <a:schemeClr val="tx1"/>
          </a:solidFill>
          <a:latin typeface="+mn-lt"/>
          <a:ea typeface="+mn-ea"/>
          <a:cs typeface="+mn-cs"/>
        </a:defRPr>
      </a:lvl3pPr>
      <a:lvl4pPr marL="540000" indent="-180000" algn="l" defTabSz="914400" rtl="0" eaLnBrk="1" latinLnBrk="0" hangingPunct="1">
        <a:lnSpc>
          <a:spcPct val="100000"/>
        </a:lnSpc>
        <a:spcBef>
          <a:spcPts val="0"/>
        </a:spcBef>
        <a:buClr>
          <a:srgbClr val="281805"/>
        </a:buClr>
        <a:buFont typeface="Arial" panose="020E0502030303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00000"/>
        </a:lnSpc>
        <a:spcBef>
          <a:spcPts val="0"/>
        </a:spcBef>
        <a:buClr>
          <a:srgbClr val="281805"/>
        </a:buClr>
        <a:buSzPct val="100000"/>
        <a:buFont typeface="Arial" panose="020E0502030303020204" pitchFamily="34" charset="0"/>
        <a:buChar char="–"/>
        <a:defRPr sz="1800" kern="1200">
          <a:solidFill>
            <a:schemeClr val="tx1"/>
          </a:solidFill>
          <a:latin typeface="+mn-lt"/>
          <a:ea typeface="+mn-ea"/>
          <a:cs typeface="+mn-cs"/>
        </a:defRPr>
      </a:lvl5pPr>
      <a:lvl6pPr marL="180000" indent="-180000" algn="l" defTabSz="914400" rtl="0" eaLnBrk="1" latinLnBrk="0" hangingPunct="1">
        <a:lnSpc>
          <a:spcPct val="100000"/>
        </a:lnSpc>
        <a:spcBef>
          <a:spcPts val="0"/>
        </a:spcBef>
        <a:buClr>
          <a:srgbClr val="281805"/>
        </a:buClr>
        <a:buSzPct val="90000"/>
        <a:buFont typeface="+mj-lt"/>
        <a:buAutoNum type="arabicPeriod"/>
        <a:defRPr sz="1800" kern="1200">
          <a:solidFill>
            <a:schemeClr val="tx1"/>
          </a:solidFill>
          <a:latin typeface="+mn-lt"/>
          <a:ea typeface="+mn-ea"/>
          <a:cs typeface="+mn-cs"/>
        </a:defRPr>
      </a:lvl6pPr>
      <a:lvl7pPr marL="360000" indent="-180000" algn="l" defTabSz="914400" rtl="0" eaLnBrk="1" latinLnBrk="0" hangingPunct="1">
        <a:lnSpc>
          <a:spcPct val="100000"/>
        </a:lnSpc>
        <a:spcBef>
          <a:spcPts val="0"/>
        </a:spcBef>
        <a:buClr>
          <a:srgbClr val="281805"/>
        </a:buClr>
        <a:buSzPct val="100000"/>
        <a:buFont typeface="Arial" panose="020E0502030303020204" pitchFamily="34" charset="0"/>
        <a:buChar char="–"/>
        <a:defRPr sz="1800" kern="1200">
          <a:solidFill>
            <a:schemeClr val="tx1"/>
          </a:solidFill>
          <a:latin typeface="+mn-lt"/>
          <a:ea typeface="+mn-ea"/>
          <a:cs typeface="+mn-cs"/>
        </a:defRPr>
      </a:lvl7pPr>
      <a:lvl8pPr marL="0" indent="0" algn="l" defTabSz="914400" rtl="0" eaLnBrk="1" latinLnBrk="0" hangingPunct="1">
        <a:lnSpc>
          <a:spcPct val="100000"/>
        </a:lnSpc>
        <a:spcBef>
          <a:spcPts val="0"/>
        </a:spcBef>
        <a:buClr>
          <a:srgbClr val="281805"/>
        </a:buClr>
        <a:buFont typeface="Arial" panose="020B0604020202020204" pitchFamily="34" charset="0"/>
        <a:buChar char="​"/>
        <a:defRPr sz="1800" b="1" kern="1200">
          <a:solidFill>
            <a:srgbClr val="281805"/>
          </a:solidFill>
          <a:latin typeface="+mn-lt"/>
          <a:ea typeface="+mn-ea"/>
          <a:cs typeface="+mn-cs"/>
        </a:defRPr>
      </a:lvl8pPr>
      <a:lvl9pPr marL="0" indent="0" algn="l" defTabSz="914400" rtl="0" eaLnBrk="1" latinLnBrk="0" hangingPunct="1">
        <a:lnSpc>
          <a:spcPct val="100000"/>
        </a:lnSpc>
        <a:spcBef>
          <a:spcPts val="0"/>
        </a:spcBef>
        <a:buClr>
          <a:srgbClr val="281805"/>
        </a:buClr>
        <a:buFont typeface="Arial" panose="020B0604020202020204" pitchFamily="34" charset="0"/>
        <a:buChar char="​"/>
        <a:defRPr sz="1800" b="1" kern="1200">
          <a:solidFill>
            <a:srgbClr val="281805"/>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1D7DBB37-5DB1-AF5A-3D0F-54CF80A6EF41}"/>
              </a:ext>
              <a:ext uri="{C183D7F6-B498-43B3-948B-1728B52AA6E4}">
                <adec:decorative xmlns:adec="http://schemas.microsoft.com/office/drawing/2017/decorative" val="1"/>
              </a:ext>
            </a:extLst>
          </p:cNvPr>
          <p:cNvGraphicFramePr>
            <a:graphicFrameLocks noChangeAspect="1"/>
          </p:cNvGraphicFramePr>
          <p:nvPr userDrawn="1">
            <p:custDataLst>
              <p:tags r:id="rId3"/>
            </p:custDataLst>
            <p:extLst>
              <p:ext uri="{D42A27DB-BD31-4B8C-83A1-F6EECF244321}">
                <p14:modId xmlns:p14="http://schemas.microsoft.com/office/powerpoint/2010/main" val="25605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10" name="think-cell data - do not delete" hidden="1">
                        <a:extLst>
                          <a:ext uri="{FF2B5EF4-FFF2-40B4-BE49-F238E27FC236}">
                            <a16:creationId xmlns:a16="http://schemas.microsoft.com/office/drawing/2014/main" id="{1D7DBB37-5DB1-AF5A-3D0F-54CF80A6EF41}"/>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6F25A6B-8F5B-A241-A3BD-B5FDE9F512C5}"/>
              </a:ext>
            </a:extLst>
          </p:cNvPr>
          <p:cNvSpPr>
            <a:spLocks noGrp="1"/>
          </p:cNvSpPr>
          <p:nvPr>
            <p:ph type="dt" sz="half" idx="2"/>
          </p:nvPr>
        </p:nvSpPr>
        <p:spPr>
          <a:xfrm>
            <a:off x="10932000" y="2016"/>
            <a:ext cx="1260000" cy="319084"/>
          </a:xfrm>
          <a:prstGeom prst="rect">
            <a:avLst/>
          </a:prstGeom>
        </p:spPr>
        <p:txBody>
          <a:bodyPr vert="horz" wrap="none" lIns="72000" tIns="72000" rIns="72000" bIns="72000" rtlCol="0" anchor="ctr">
            <a:noAutofit/>
          </a:bodyPr>
          <a:lstStyle>
            <a:lvl1pPr algn="r">
              <a:defRPr sz="800" b="0" i="0">
                <a:solidFill>
                  <a:srgbClr val="281805"/>
                </a:solidFill>
                <a:latin typeface="Forever Forma Body Text" pitchFamily="2" charset="0"/>
              </a:defRPr>
            </a:lvl1pPr>
          </a:lstStyle>
          <a:p>
            <a:fld id="{8F81B36D-59DF-42A0-ABF0-6A71ABA2C4CD}" type="datetime3">
              <a:rPr lang="en-US" smtClean="0"/>
              <a:pPr/>
              <a:t>15 January 2026</a:t>
            </a:fld>
            <a:endParaRPr lang="en-US"/>
          </a:p>
        </p:txBody>
      </p:sp>
      <p:sp>
        <p:nvSpPr>
          <p:cNvPr id="3" name="Text Placeholder 2">
            <a:extLst>
              <a:ext uri="{FF2B5EF4-FFF2-40B4-BE49-F238E27FC236}">
                <a16:creationId xmlns:a16="http://schemas.microsoft.com/office/drawing/2014/main" id="{E0A85944-6880-CBB6-BA63-4A90CA93596A}"/>
              </a:ext>
            </a:extLst>
          </p:cNvPr>
          <p:cNvSpPr>
            <a:spLocks noGrp="1"/>
          </p:cNvSpPr>
          <p:nvPr>
            <p:ph type="body" idx="1"/>
          </p:nvPr>
        </p:nvSpPr>
        <p:spPr>
          <a:xfrm>
            <a:off x="521208" y="1296000"/>
            <a:ext cx="11149576" cy="475394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Slide Number Placeholder 5">
            <a:extLst>
              <a:ext uri="{FF2B5EF4-FFF2-40B4-BE49-F238E27FC236}">
                <a16:creationId xmlns:a16="http://schemas.microsoft.com/office/drawing/2014/main" id="{CAA63915-CBC8-75C7-C27B-2ADA3EEF69F8}"/>
              </a:ext>
              <a:ext uri="{C183D7F6-B498-43B3-948B-1728B52AA6E4}">
                <adec:decorative xmlns:adec="http://schemas.microsoft.com/office/drawing/2017/decorative" val="1"/>
              </a:ext>
            </a:extLst>
          </p:cNvPr>
          <p:cNvSpPr>
            <a:spLocks noGrp="1"/>
          </p:cNvSpPr>
          <p:nvPr>
            <p:ph type="sldNum" sz="quarter" idx="4"/>
          </p:nvPr>
        </p:nvSpPr>
        <p:spPr>
          <a:xfrm>
            <a:off x="0" y="6049950"/>
            <a:ext cx="806400" cy="808050"/>
          </a:xfrm>
          <a:prstGeom prst="rect">
            <a:avLst/>
          </a:prstGeom>
        </p:spPr>
        <p:txBody>
          <a:bodyPr vert="horz" lIns="518400" tIns="0" rIns="64800" bIns="309600" rtlCol="0" anchor="b" anchorCtr="0">
            <a:noAutofit/>
          </a:bodyPr>
          <a:lstStyle>
            <a:lvl1pPr algn="l">
              <a:defRPr sz="900" b="0" i="0">
                <a:solidFill>
                  <a:schemeClr val="tx1"/>
                </a:solidFill>
                <a:latin typeface="Forever Forma Body Text" pitchFamily="2" charset="0"/>
              </a:defRPr>
            </a:lvl1pPr>
          </a:lstStyle>
          <a:p>
            <a:fld id="{1C1606C5-D483-4832-A0E9-CF578A9B5883}" type="slidenum">
              <a:rPr lang="en-US" smtClean="0"/>
              <a:pPr/>
              <a:t>‹#›</a:t>
            </a:fld>
            <a:endParaRPr lang="en-US"/>
          </a:p>
        </p:txBody>
      </p:sp>
      <p:grpSp>
        <p:nvGrpSpPr>
          <p:cNvPr id="79" name="Group 78" hidden="1">
            <a:extLst>
              <a:ext uri="{FF2B5EF4-FFF2-40B4-BE49-F238E27FC236}">
                <a16:creationId xmlns:a16="http://schemas.microsoft.com/office/drawing/2014/main" id="{BA72FC20-E2CA-59C4-7B21-62C9115E46A8}"/>
              </a:ext>
              <a:ext uri="{C183D7F6-B498-43B3-948B-1728B52AA6E4}">
                <adec:decorative xmlns:adec="http://schemas.microsoft.com/office/drawing/2017/decorative" val="1"/>
              </a:ext>
            </a:extLst>
          </p:cNvPr>
          <p:cNvGrpSpPr>
            <a:grpSpLocks noGrp="1" noUngrp="1" noRot="1" noMove="1" noResize="1"/>
          </p:cNvGrpSpPr>
          <p:nvPr userDrawn="1"/>
        </p:nvGrpSpPr>
        <p:grpSpPr>
          <a:xfrm>
            <a:off x="-282166" y="-250200"/>
            <a:ext cx="12756333" cy="7357336"/>
            <a:chOff x="-282166" y="-250200"/>
            <a:chExt cx="12756333" cy="7357336"/>
          </a:xfrm>
        </p:grpSpPr>
        <p:grpSp>
          <p:nvGrpSpPr>
            <p:cNvPr id="48" name="Group 47">
              <a:extLst>
                <a:ext uri="{FF2B5EF4-FFF2-40B4-BE49-F238E27FC236}">
                  <a16:creationId xmlns:a16="http://schemas.microsoft.com/office/drawing/2014/main" id="{A2B8D85E-52EF-FA63-9592-265E43AD271D}"/>
                </a:ext>
              </a:extLst>
            </p:cNvPr>
            <p:cNvGrpSpPr>
              <a:grpSpLocks noGrp="1" noUngrp="1" noRot="1" noMove="1" noResize="1"/>
            </p:cNvGrpSpPr>
            <p:nvPr userDrawn="1"/>
          </p:nvGrpSpPr>
          <p:grpSpPr>
            <a:xfrm>
              <a:off x="-282166" y="-249136"/>
              <a:ext cx="766850" cy="1806436"/>
              <a:chOff x="-282166" y="-249136"/>
              <a:chExt cx="766850" cy="1806436"/>
            </a:xfrm>
          </p:grpSpPr>
          <p:cxnSp>
            <p:nvCxnSpPr>
              <p:cNvPr id="40" name="Straight Connector 39">
                <a:extLst>
                  <a:ext uri="{FF2B5EF4-FFF2-40B4-BE49-F238E27FC236}">
                    <a16:creationId xmlns:a16="http://schemas.microsoft.com/office/drawing/2014/main" id="{8D6D0D5E-5313-2E8E-FAC4-9AE8AC71A06F}"/>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8468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2E47E72-9EED-156D-E1C9-0EF9F58EB76B}"/>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4860373-8117-E073-7E3E-240392FEC0F3}"/>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173599"/>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B8D9028B-4948-B67E-79B8-A1A4C3540ECC}"/>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4619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A97BD11A-2E6F-80FC-4AC5-0F4673578EF2}"/>
                </a:ext>
              </a:extLst>
            </p:cNvPr>
            <p:cNvGrpSpPr>
              <a:grpSpLocks noGrp="1" noUngrp="1" noRot="1" noMove="1" noResize="1"/>
            </p:cNvGrpSpPr>
            <p:nvPr userDrawn="1"/>
          </p:nvGrpSpPr>
          <p:grpSpPr>
            <a:xfrm flipV="1">
              <a:off x="-282166" y="6669000"/>
              <a:ext cx="766850" cy="438136"/>
              <a:chOff x="-282166" y="-249136"/>
              <a:chExt cx="766850" cy="438136"/>
            </a:xfrm>
          </p:grpSpPr>
          <p:cxnSp>
            <p:nvCxnSpPr>
              <p:cNvPr id="54" name="Straight Connector 53">
                <a:extLst>
                  <a:ext uri="{FF2B5EF4-FFF2-40B4-BE49-F238E27FC236}">
                    <a16:creationId xmlns:a16="http://schemas.microsoft.com/office/drawing/2014/main" id="{333A3C60-6DDF-0E86-7A5D-C9E2DC700AC6}"/>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8468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973A5B8-A847-F13D-C557-F6CAA8F1C3BC}"/>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6D787A70-EF66-4785-95AD-991F81706E7F}"/>
                </a:ext>
              </a:extLst>
            </p:cNvPr>
            <p:cNvGrpSpPr>
              <a:grpSpLocks noGrp="1" noUngrp="1" noRot="1" noMove="1" noResize="1"/>
            </p:cNvGrpSpPr>
            <p:nvPr userDrawn="1"/>
          </p:nvGrpSpPr>
          <p:grpSpPr>
            <a:xfrm flipH="1">
              <a:off x="11716147" y="-250200"/>
              <a:ext cx="758020" cy="1806436"/>
              <a:chOff x="-282166" y="-249136"/>
              <a:chExt cx="758020" cy="1806436"/>
            </a:xfrm>
          </p:grpSpPr>
          <p:cxnSp>
            <p:nvCxnSpPr>
              <p:cNvPr id="64" name="Straight Connector 63">
                <a:extLst>
                  <a:ext uri="{FF2B5EF4-FFF2-40B4-BE49-F238E27FC236}">
                    <a16:creationId xmlns:a16="http://schemas.microsoft.com/office/drawing/2014/main" id="{0C36DF73-1683-B9E0-DAE2-CC4FA9411740}"/>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7585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074D68E9-43F3-F793-E58E-42D96487CDA0}"/>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A51D9C8-457F-A702-330E-3E83FF49A907}"/>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173599"/>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8317C7D4-4BF5-ECE3-AB0F-69BAEB0392E2}"/>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4619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B1F3722B-662F-EE1F-F28F-2117DFF43FC7}"/>
                </a:ext>
              </a:extLst>
            </p:cNvPr>
            <p:cNvGrpSpPr>
              <a:grpSpLocks noGrp="1" noUngrp="1" noRot="1" noMove="1" noResize="1"/>
            </p:cNvGrpSpPr>
            <p:nvPr userDrawn="1"/>
          </p:nvGrpSpPr>
          <p:grpSpPr>
            <a:xfrm flipH="1" flipV="1">
              <a:off x="11716147" y="6669000"/>
              <a:ext cx="758020" cy="438136"/>
              <a:chOff x="-282166" y="-249136"/>
              <a:chExt cx="758020" cy="438136"/>
            </a:xfrm>
          </p:grpSpPr>
          <p:cxnSp>
            <p:nvCxnSpPr>
              <p:cNvPr id="60" name="Straight Connector 59">
                <a:extLst>
                  <a:ext uri="{FF2B5EF4-FFF2-40B4-BE49-F238E27FC236}">
                    <a16:creationId xmlns:a16="http://schemas.microsoft.com/office/drawing/2014/main" id="{31A63819-901C-AE9C-B688-44EE3E52D123}"/>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7585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E85C02E4-A713-5717-13B4-0D5BEFA009BA}"/>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pic>
        <p:nvPicPr>
          <p:cNvPr id="7" name="logo sm" descr="Transamerica Logo">
            <a:extLst>
              <a:ext uri="{FF2B5EF4-FFF2-40B4-BE49-F238E27FC236}">
                <a16:creationId xmlns:a16="http://schemas.microsoft.com/office/drawing/2014/main" id="{E8E14561-69C7-C85B-AE9E-F1AC72D424D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99200" y="6053050"/>
            <a:ext cx="2138400" cy="804950"/>
          </a:xfrm>
          <a:prstGeom prst="rect">
            <a:avLst/>
          </a:prstGeom>
        </p:spPr>
      </p:pic>
      <p:grpSp>
        <p:nvGrpSpPr>
          <p:cNvPr id="24" name="Group 23" hidden="1">
            <a:extLst>
              <a:ext uri="{FF2B5EF4-FFF2-40B4-BE49-F238E27FC236}">
                <a16:creationId xmlns:a16="http://schemas.microsoft.com/office/drawing/2014/main" id="{7689F110-0941-B07F-153C-140E14E05BE5}"/>
              </a:ext>
            </a:extLst>
          </p:cNvPr>
          <p:cNvGrpSpPr/>
          <p:nvPr userDrawn="1"/>
        </p:nvGrpSpPr>
        <p:grpSpPr>
          <a:xfrm>
            <a:off x="521207" y="0"/>
            <a:ext cx="11149581" cy="3860999"/>
            <a:chOff x="521207" y="0"/>
            <a:chExt cx="11149581" cy="3860999"/>
          </a:xfrm>
        </p:grpSpPr>
        <p:sp>
          <p:nvSpPr>
            <p:cNvPr id="5" name="Title 1">
              <a:extLst>
                <a:ext uri="{FF2B5EF4-FFF2-40B4-BE49-F238E27FC236}">
                  <a16:creationId xmlns:a16="http://schemas.microsoft.com/office/drawing/2014/main" id="{C1D413FE-03CE-E672-098E-941F051A2EA2}"/>
                </a:ext>
              </a:extLst>
            </p:cNvPr>
            <p:cNvSpPr txBox="1">
              <a:spLocks/>
            </p:cNvSpPr>
            <p:nvPr userDrawn="1"/>
          </p:nvSpPr>
          <p:spPr>
            <a:xfrm>
              <a:off x="521207" y="0"/>
              <a:ext cx="11149581" cy="262798"/>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a:t> </a:t>
              </a:r>
            </a:p>
          </p:txBody>
        </p:sp>
        <p:sp>
          <p:nvSpPr>
            <p:cNvPr id="20" name="Title 1">
              <a:extLst>
                <a:ext uri="{FF2B5EF4-FFF2-40B4-BE49-F238E27FC236}">
                  <a16:creationId xmlns:a16="http://schemas.microsoft.com/office/drawing/2014/main" id="{3AACF22A-E7D6-036A-A047-5FDFE0292D95}"/>
                </a:ext>
              </a:extLst>
            </p:cNvPr>
            <p:cNvSpPr txBox="1">
              <a:spLocks/>
            </p:cNvSpPr>
            <p:nvPr userDrawn="1"/>
          </p:nvSpPr>
          <p:spPr>
            <a:xfrm>
              <a:off x="521207" y="1744716"/>
              <a:ext cx="11149581" cy="2116283"/>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a:t>Click to edit title</a:t>
              </a:r>
            </a:p>
          </p:txBody>
        </p:sp>
        <p:sp>
          <p:nvSpPr>
            <p:cNvPr id="23" name="Title 1">
              <a:extLst>
                <a:ext uri="{FF2B5EF4-FFF2-40B4-BE49-F238E27FC236}">
                  <a16:creationId xmlns:a16="http://schemas.microsoft.com/office/drawing/2014/main" id="{99183974-AC97-E968-FAA3-1131280530FC}"/>
                </a:ext>
              </a:extLst>
            </p:cNvPr>
            <p:cNvSpPr txBox="1">
              <a:spLocks/>
            </p:cNvSpPr>
            <p:nvPr userDrawn="1"/>
          </p:nvSpPr>
          <p:spPr>
            <a:xfrm>
              <a:off x="521207" y="259563"/>
              <a:ext cx="11149581" cy="64800"/>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a:t> </a:t>
              </a:r>
            </a:p>
          </p:txBody>
        </p:sp>
      </p:grpSp>
      <p:sp>
        <p:nvSpPr>
          <p:cNvPr id="8" name="Title Placeholder 1">
            <a:extLst>
              <a:ext uri="{FF2B5EF4-FFF2-40B4-BE49-F238E27FC236}">
                <a16:creationId xmlns:a16="http://schemas.microsoft.com/office/drawing/2014/main" id="{D77ED4CC-4299-D184-05B9-48D7758B59DE}"/>
              </a:ext>
            </a:extLst>
          </p:cNvPr>
          <p:cNvSpPr>
            <a:spLocks noGrp="1"/>
          </p:cNvSpPr>
          <p:nvPr>
            <p:ph type="title"/>
          </p:nvPr>
        </p:nvSpPr>
        <p:spPr>
          <a:xfrm>
            <a:off x="521205" y="324213"/>
            <a:ext cx="11149576" cy="808050"/>
          </a:xfrm>
          <a:prstGeom prst="rect">
            <a:avLst/>
          </a:prstGeom>
        </p:spPr>
        <p:txBody>
          <a:bodyPr vert="horz" lIns="0" tIns="0" rIns="0" bIns="0" rtlCol="0" anchor="b" anchorCtr="0">
            <a:noAutofit/>
          </a:bodyPr>
          <a:lstStyle/>
          <a:p>
            <a:r>
              <a:rPr lang="en-US"/>
              <a:t>Click to edit Master title style</a:t>
            </a:r>
          </a:p>
        </p:txBody>
      </p:sp>
    </p:spTree>
    <p:extLst>
      <p:ext uri="{BB962C8B-B14F-4D97-AF65-F5344CB8AC3E}">
        <p14:creationId xmlns:p14="http://schemas.microsoft.com/office/powerpoint/2010/main" val="4040858563"/>
      </p:ext>
    </p:extLst>
  </p:cSld>
  <p:clrMap bg1="lt1" tx1="dk1" bg2="lt2" tx2="dk2" accent1="accent1" accent2="accent2" accent3="accent3" accent4="accent4" accent5="accent5" accent6="accent6" hlink="hlink" folHlink="folHlink"/>
  <p:sldLayoutIdLst>
    <p:sldLayoutId id="2147483948" r:id="rId1"/>
  </p:sldLayoutIdLst>
  <p:hf hdr="0" ftr="0" dt="0"/>
  <p:txStyles>
    <p:titleStyle>
      <a:lvl1pPr algn="l" defTabSz="914400" rtl="0" eaLnBrk="1" latinLnBrk="0" hangingPunct="1">
        <a:lnSpc>
          <a:spcPct val="85000"/>
        </a:lnSpc>
        <a:spcBef>
          <a:spcPct val="0"/>
        </a:spcBef>
        <a:buNone/>
        <a:defRPr sz="3600" b="0" i="0" kern="100" spc="-30" baseline="0">
          <a:solidFill>
            <a:schemeClr val="tx1"/>
          </a:solidFill>
          <a:latin typeface="Forever Forma Heading" pitchFamily="2" charset="0"/>
          <a:ea typeface="+mj-ea"/>
          <a:cs typeface="+mj-cs"/>
        </a:defRPr>
      </a:lvl1pPr>
    </p:titleStyle>
    <p:body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600"/>
        </a:spcBef>
        <a:buClrTx/>
        <a:buFont typeface="Wingdings" pitchFamily="2" charset="2"/>
        <a:buChar char="§"/>
        <a:defRPr sz="1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p:bodyStyle>
    <p:otherStyle>
      <a:defPPr>
        <a:defRPr lang="en-US"/>
      </a:defPPr>
      <a:lvl1pPr marL="0" indent="0" algn="l" defTabSz="914400" rtl="0" eaLnBrk="1" latinLnBrk="0" hangingPunct="1">
        <a:lnSpc>
          <a:spcPct val="100000"/>
        </a:lnSpc>
        <a:spcBef>
          <a:spcPts val="0"/>
        </a:spcBef>
        <a:buClr>
          <a:srgbClr val="281805"/>
        </a:buClr>
        <a:buFont typeface="Arial" panose="020B0604020202020204" pitchFamily="34" charset="0"/>
        <a:buChar char="​"/>
        <a:defRPr sz="1800" b="0" kern="1200">
          <a:solidFill>
            <a:schemeClr val="tx1"/>
          </a:solidFill>
          <a:latin typeface="+mn-lt"/>
          <a:ea typeface="+mn-ea"/>
          <a:cs typeface="+mn-cs"/>
        </a:defRPr>
      </a:lvl1pPr>
      <a:lvl2pPr marL="180000" indent="-180000" algn="l" defTabSz="914400" rtl="0" eaLnBrk="1" latinLnBrk="0" hangingPunct="1">
        <a:lnSpc>
          <a:spcPct val="100000"/>
        </a:lnSpc>
        <a:spcBef>
          <a:spcPts val="0"/>
        </a:spcBef>
        <a:buClr>
          <a:srgbClr val="281805"/>
        </a:buClr>
        <a:buFont typeface="Arial" panose="020E0502030303020204" pitchFamily="34" charset="0"/>
        <a:buChar char="•"/>
        <a:defRPr sz="1800" b="0" kern="1200">
          <a:solidFill>
            <a:schemeClr val="tx1"/>
          </a:solidFill>
          <a:latin typeface="+mn-lt"/>
          <a:ea typeface="+mn-ea"/>
          <a:cs typeface="+mn-cs"/>
        </a:defRPr>
      </a:lvl2pPr>
      <a:lvl3pPr marL="360000" indent="-180000" algn="l" defTabSz="914400" rtl="0" eaLnBrk="1" latinLnBrk="0" hangingPunct="1">
        <a:lnSpc>
          <a:spcPct val="100000"/>
        </a:lnSpc>
        <a:spcBef>
          <a:spcPts val="0"/>
        </a:spcBef>
        <a:buClr>
          <a:srgbClr val="281805"/>
        </a:buClr>
        <a:buFont typeface="Arial" panose="020E0502030303020204" pitchFamily="34" charset="0"/>
        <a:buChar char="–"/>
        <a:defRPr sz="1800" b="0" kern="1200">
          <a:solidFill>
            <a:schemeClr val="tx1"/>
          </a:solidFill>
          <a:latin typeface="+mn-lt"/>
          <a:ea typeface="+mn-ea"/>
          <a:cs typeface="+mn-cs"/>
        </a:defRPr>
      </a:lvl3pPr>
      <a:lvl4pPr marL="540000" indent="-180000" algn="l" defTabSz="914400" rtl="0" eaLnBrk="1" latinLnBrk="0" hangingPunct="1">
        <a:lnSpc>
          <a:spcPct val="100000"/>
        </a:lnSpc>
        <a:spcBef>
          <a:spcPts val="0"/>
        </a:spcBef>
        <a:buClr>
          <a:srgbClr val="281805"/>
        </a:buClr>
        <a:buFont typeface="Arial" panose="020E0502030303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00000"/>
        </a:lnSpc>
        <a:spcBef>
          <a:spcPts val="0"/>
        </a:spcBef>
        <a:buClr>
          <a:srgbClr val="281805"/>
        </a:buClr>
        <a:buSzPct val="100000"/>
        <a:buFont typeface="Arial" panose="020E0502030303020204" pitchFamily="34" charset="0"/>
        <a:buChar char="–"/>
        <a:defRPr sz="1800" kern="1200">
          <a:solidFill>
            <a:schemeClr val="tx1"/>
          </a:solidFill>
          <a:latin typeface="+mn-lt"/>
          <a:ea typeface="+mn-ea"/>
          <a:cs typeface="+mn-cs"/>
        </a:defRPr>
      </a:lvl5pPr>
      <a:lvl6pPr marL="180000" indent="-180000" algn="l" defTabSz="914400" rtl="0" eaLnBrk="1" latinLnBrk="0" hangingPunct="1">
        <a:lnSpc>
          <a:spcPct val="100000"/>
        </a:lnSpc>
        <a:spcBef>
          <a:spcPts val="0"/>
        </a:spcBef>
        <a:buClr>
          <a:srgbClr val="281805"/>
        </a:buClr>
        <a:buSzPct val="90000"/>
        <a:buFont typeface="+mj-lt"/>
        <a:buAutoNum type="arabicPeriod"/>
        <a:defRPr sz="1800" kern="1200">
          <a:solidFill>
            <a:schemeClr val="tx1"/>
          </a:solidFill>
          <a:latin typeface="+mn-lt"/>
          <a:ea typeface="+mn-ea"/>
          <a:cs typeface="+mn-cs"/>
        </a:defRPr>
      </a:lvl6pPr>
      <a:lvl7pPr marL="360000" indent="-180000" algn="l" defTabSz="914400" rtl="0" eaLnBrk="1" latinLnBrk="0" hangingPunct="1">
        <a:lnSpc>
          <a:spcPct val="100000"/>
        </a:lnSpc>
        <a:spcBef>
          <a:spcPts val="0"/>
        </a:spcBef>
        <a:buClr>
          <a:srgbClr val="281805"/>
        </a:buClr>
        <a:buSzPct val="100000"/>
        <a:buFont typeface="Arial" panose="020E0502030303020204" pitchFamily="34" charset="0"/>
        <a:buChar char="–"/>
        <a:defRPr sz="1800" kern="1200">
          <a:solidFill>
            <a:schemeClr val="tx1"/>
          </a:solidFill>
          <a:latin typeface="+mn-lt"/>
          <a:ea typeface="+mn-ea"/>
          <a:cs typeface="+mn-cs"/>
        </a:defRPr>
      </a:lvl7pPr>
      <a:lvl8pPr marL="0" indent="0" algn="l" defTabSz="914400" rtl="0" eaLnBrk="1" latinLnBrk="0" hangingPunct="1">
        <a:lnSpc>
          <a:spcPct val="100000"/>
        </a:lnSpc>
        <a:spcBef>
          <a:spcPts val="0"/>
        </a:spcBef>
        <a:buClr>
          <a:srgbClr val="281805"/>
        </a:buClr>
        <a:buFont typeface="Arial" panose="020B0604020202020204" pitchFamily="34" charset="0"/>
        <a:buChar char="​"/>
        <a:defRPr sz="1800" b="1" kern="1200">
          <a:solidFill>
            <a:srgbClr val="281805"/>
          </a:solidFill>
          <a:latin typeface="+mn-lt"/>
          <a:ea typeface="+mn-ea"/>
          <a:cs typeface="+mn-cs"/>
        </a:defRPr>
      </a:lvl8pPr>
      <a:lvl9pPr marL="0" indent="0" algn="l" defTabSz="914400" rtl="0" eaLnBrk="1" latinLnBrk="0" hangingPunct="1">
        <a:lnSpc>
          <a:spcPct val="100000"/>
        </a:lnSpc>
        <a:spcBef>
          <a:spcPts val="0"/>
        </a:spcBef>
        <a:buClr>
          <a:srgbClr val="281805"/>
        </a:buClr>
        <a:buFont typeface="Arial" panose="020B0604020202020204" pitchFamily="34" charset="0"/>
        <a:buChar char="​"/>
        <a:defRPr sz="1800" b="1" kern="1200">
          <a:solidFill>
            <a:srgbClr val="281805"/>
          </a:solidFill>
          <a:latin typeface="+mn-lt"/>
          <a:ea typeface="+mn-ea"/>
          <a:cs typeface="+mn-cs"/>
        </a:defRPr>
      </a:lvl9pPr>
    </p:otherStyle>
  </p:txStyles>
  <p:extLst>
    <p:ext uri="{27BBF7A9-308A-43DC-89C8-2F10F3537804}">
      <p15:sldGuideLst xmlns:p15="http://schemas.microsoft.com/office/powerpoint/2012/main">
        <p15:guide id="1" orient="horz" pos="72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1D7DBB37-5DB1-AF5A-3D0F-54CF80A6EF41}"/>
              </a:ext>
              <a:ext uri="{C183D7F6-B498-43B3-948B-1728B52AA6E4}">
                <adec:decorative xmlns:adec="http://schemas.microsoft.com/office/drawing/2017/decorative" val="1"/>
              </a:ext>
            </a:extLst>
          </p:cNvPr>
          <p:cNvGraphicFramePr>
            <a:graphicFrameLocks noChangeAspect="1"/>
          </p:cNvGraphicFramePr>
          <p:nvPr userDrawn="1">
            <p:custDataLst>
              <p:tags r:id="rId29"/>
            </p:custDataLst>
            <p:extLst>
              <p:ext uri="{D42A27DB-BD31-4B8C-83A1-F6EECF244321}">
                <p14:modId xmlns:p14="http://schemas.microsoft.com/office/powerpoint/2010/main" val="25605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306" imgH="306" progId="TCLayout.ActiveDocument.1">
                  <p:embed/>
                </p:oleObj>
              </mc:Choice>
              <mc:Fallback>
                <p:oleObj name="think-cell Slide" r:id="rId30" imgW="306" imgH="306" progId="TCLayout.ActiveDocument.1">
                  <p:embed/>
                  <p:pic>
                    <p:nvPicPr>
                      <p:cNvPr id="10" name="think-cell data - do not delete" hidden="1">
                        <a:extLst>
                          <a:ext uri="{FF2B5EF4-FFF2-40B4-BE49-F238E27FC236}">
                            <a16:creationId xmlns:a16="http://schemas.microsoft.com/office/drawing/2014/main" id="{1D7DBB37-5DB1-AF5A-3D0F-54CF80A6EF41}"/>
                          </a:ext>
                          <a:ext uri="{C183D7F6-B498-43B3-948B-1728B52AA6E4}">
                            <adec:decorative xmlns:adec="http://schemas.microsoft.com/office/drawing/2017/decorative" val="1"/>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6F25A6B-8F5B-A241-A3BD-B5FDE9F512C5}"/>
              </a:ext>
            </a:extLst>
          </p:cNvPr>
          <p:cNvSpPr>
            <a:spLocks noGrp="1"/>
          </p:cNvSpPr>
          <p:nvPr>
            <p:ph type="dt" sz="half" idx="2"/>
          </p:nvPr>
        </p:nvSpPr>
        <p:spPr>
          <a:xfrm>
            <a:off x="10932000" y="2016"/>
            <a:ext cx="1260000" cy="319084"/>
          </a:xfrm>
          <a:prstGeom prst="rect">
            <a:avLst/>
          </a:prstGeom>
        </p:spPr>
        <p:txBody>
          <a:bodyPr vert="horz" wrap="none" lIns="72000" tIns="72000" rIns="72000" bIns="72000" rtlCol="0" anchor="ctr">
            <a:noAutofit/>
          </a:bodyPr>
          <a:lstStyle>
            <a:lvl1pPr algn="r">
              <a:defRPr sz="800" b="0" i="0">
                <a:solidFill>
                  <a:srgbClr val="281805"/>
                </a:solidFill>
                <a:latin typeface="Forever Forma Body Text" pitchFamily="2" charset="0"/>
              </a:defRPr>
            </a:lvl1pPr>
          </a:lstStyle>
          <a:p>
            <a:fld id="{8F81B36D-59DF-42A0-ABF0-6A71ABA2C4CD}" type="datetime3">
              <a:rPr lang="en-US" smtClean="0"/>
              <a:pPr/>
              <a:t>15 January 2026</a:t>
            </a:fld>
            <a:endParaRPr lang="en-US"/>
          </a:p>
        </p:txBody>
      </p:sp>
      <p:sp>
        <p:nvSpPr>
          <p:cNvPr id="3" name="Text Placeholder 2">
            <a:extLst>
              <a:ext uri="{FF2B5EF4-FFF2-40B4-BE49-F238E27FC236}">
                <a16:creationId xmlns:a16="http://schemas.microsoft.com/office/drawing/2014/main" id="{E0A85944-6880-CBB6-BA63-4A90CA93596A}"/>
              </a:ext>
            </a:extLst>
          </p:cNvPr>
          <p:cNvSpPr>
            <a:spLocks noGrp="1"/>
          </p:cNvSpPr>
          <p:nvPr>
            <p:ph type="body" idx="1"/>
          </p:nvPr>
        </p:nvSpPr>
        <p:spPr>
          <a:xfrm>
            <a:off x="521208" y="1296000"/>
            <a:ext cx="11149576" cy="475394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Slide Number Placeholder 5">
            <a:extLst>
              <a:ext uri="{FF2B5EF4-FFF2-40B4-BE49-F238E27FC236}">
                <a16:creationId xmlns:a16="http://schemas.microsoft.com/office/drawing/2014/main" id="{CAA63915-CBC8-75C7-C27B-2ADA3EEF69F8}"/>
              </a:ext>
              <a:ext uri="{C183D7F6-B498-43B3-948B-1728B52AA6E4}">
                <adec:decorative xmlns:adec="http://schemas.microsoft.com/office/drawing/2017/decorative" val="1"/>
              </a:ext>
            </a:extLst>
          </p:cNvPr>
          <p:cNvSpPr>
            <a:spLocks noGrp="1"/>
          </p:cNvSpPr>
          <p:nvPr>
            <p:ph type="sldNum" sz="quarter" idx="4"/>
          </p:nvPr>
        </p:nvSpPr>
        <p:spPr>
          <a:xfrm>
            <a:off x="0" y="6049950"/>
            <a:ext cx="806400" cy="808050"/>
          </a:xfrm>
          <a:prstGeom prst="rect">
            <a:avLst/>
          </a:prstGeom>
        </p:spPr>
        <p:txBody>
          <a:bodyPr vert="horz" lIns="518400" tIns="0" rIns="64800" bIns="309600" rtlCol="0" anchor="b" anchorCtr="0">
            <a:noAutofit/>
          </a:bodyPr>
          <a:lstStyle>
            <a:lvl1pPr algn="l">
              <a:defRPr sz="900" b="0" i="0">
                <a:solidFill>
                  <a:schemeClr val="tx1"/>
                </a:solidFill>
                <a:latin typeface="Forever Forma Body Text" pitchFamily="2" charset="0"/>
              </a:defRPr>
            </a:lvl1pPr>
          </a:lstStyle>
          <a:p>
            <a:fld id="{1C1606C5-D483-4832-A0E9-CF578A9B5883}" type="slidenum">
              <a:rPr lang="en-US" smtClean="0"/>
              <a:pPr/>
              <a:t>‹#›</a:t>
            </a:fld>
            <a:endParaRPr lang="en-US"/>
          </a:p>
        </p:txBody>
      </p:sp>
      <p:grpSp>
        <p:nvGrpSpPr>
          <p:cNvPr id="79" name="Group 78" hidden="1">
            <a:extLst>
              <a:ext uri="{FF2B5EF4-FFF2-40B4-BE49-F238E27FC236}">
                <a16:creationId xmlns:a16="http://schemas.microsoft.com/office/drawing/2014/main" id="{BA72FC20-E2CA-59C4-7B21-62C9115E46A8}"/>
              </a:ext>
              <a:ext uri="{C183D7F6-B498-43B3-948B-1728B52AA6E4}">
                <adec:decorative xmlns:adec="http://schemas.microsoft.com/office/drawing/2017/decorative" val="1"/>
              </a:ext>
            </a:extLst>
          </p:cNvPr>
          <p:cNvGrpSpPr>
            <a:grpSpLocks noGrp="1" noUngrp="1" noRot="1" noMove="1" noResize="1"/>
          </p:cNvGrpSpPr>
          <p:nvPr userDrawn="1"/>
        </p:nvGrpSpPr>
        <p:grpSpPr>
          <a:xfrm>
            <a:off x="-282166" y="-250200"/>
            <a:ext cx="12756333" cy="7357336"/>
            <a:chOff x="-282166" y="-250200"/>
            <a:chExt cx="12756333" cy="7357336"/>
          </a:xfrm>
        </p:grpSpPr>
        <p:grpSp>
          <p:nvGrpSpPr>
            <p:cNvPr id="48" name="Group 47">
              <a:extLst>
                <a:ext uri="{FF2B5EF4-FFF2-40B4-BE49-F238E27FC236}">
                  <a16:creationId xmlns:a16="http://schemas.microsoft.com/office/drawing/2014/main" id="{A2B8D85E-52EF-FA63-9592-265E43AD271D}"/>
                </a:ext>
              </a:extLst>
            </p:cNvPr>
            <p:cNvGrpSpPr>
              <a:grpSpLocks noGrp="1" noUngrp="1" noRot="1" noMove="1" noResize="1"/>
            </p:cNvGrpSpPr>
            <p:nvPr userDrawn="1"/>
          </p:nvGrpSpPr>
          <p:grpSpPr>
            <a:xfrm>
              <a:off x="-282166" y="-249136"/>
              <a:ext cx="766850" cy="1806436"/>
              <a:chOff x="-282166" y="-249136"/>
              <a:chExt cx="766850" cy="1806436"/>
            </a:xfrm>
          </p:grpSpPr>
          <p:cxnSp>
            <p:nvCxnSpPr>
              <p:cNvPr id="40" name="Straight Connector 39">
                <a:extLst>
                  <a:ext uri="{FF2B5EF4-FFF2-40B4-BE49-F238E27FC236}">
                    <a16:creationId xmlns:a16="http://schemas.microsoft.com/office/drawing/2014/main" id="{8D6D0D5E-5313-2E8E-FAC4-9AE8AC71A06F}"/>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8468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2E47E72-9EED-156D-E1C9-0EF9F58EB76B}"/>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4860373-8117-E073-7E3E-240392FEC0F3}"/>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173599"/>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B8D9028B-4948-B67E-79B8-A1A4C3540ECC}"/>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4619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A97BD11A-2E6F-80FC-4AC5-0F4673578EF2}"/>
                </a:ext>
              </a:extLst>
            </p:cNvPr>
            <p:cNvGrpSpPr>
              <a:grpSpLocks noGrp="1" noUngrp="1" noRot="1" noMove="1" noResize="1"/>
            </p:cNvGrpSpPr>
            <p:nvPr userDrawn="1"/>
          </p:nvGrpSpPr>
          <p:grpSpPr>
            <a:xfrm flipV="1">
              <a:off x="-282166" y="6669000"/>
              <a:ext cx="766850" cy="438136"/>
              <a:chOff x="-282166" y="-249136"/>
              <a:chExt cx="766850" cy="438136"/>
            </a:xfrm>
          </p:grpSpPr>
          <p:cxnSp>
            <p:nvCxnSpPr>
              <p:cNvPr id="54" name="Straight Connector 53">
                <a:extLst>
                  <a:ext uri="{FF2B5EF4-FFF2-40B4-BE49-F238E27FC236}">
                    <a16:creationId xmlns:a16="http://schemas.microsoft.com/office/drawing/2014/main" id="{333A3C60-6DDF-0E86-7A5D-C9E2DC700AC6}"/>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8468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973A5B8-A847-F13D-C557-F6CAA8F1C3BC}"/>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6D787A70-EF66-4785-95AD-991F81706E7F}"/>
                </a:ext>
              </a:extLst>
            </p:cNvPr>
            <p:cNvGrpSpPr>
              <a:grpSpLocks noGrp="1" noUngrp="1" noRot="1" noMove="1" noResize="1"/>
            </p:cNvGrpSpPr>
            <p:nvPr userDrawn="1"/>
          </p:nvGrpSpPr>
          <p:grpSpPr>
            <a:xfrm flipH="1">
              <a:off x="11716147" y="-250200"/>
              <a:ext cx="758020" cy="1806436"/>
              <a:chOff x="-282166" y="-249136"/>
              <a:chExt cx="758020" cy="1806436"/>
            </a:xfrm>
          </p:grpSpPr>
          <p:cxnSp>
            <p:nvCxnSpPr>
              <p:cNvPr id="64" name="Straight Connector 63">
                <a:extLst>
                  <a:ext uri="{FF2B5EF4-FFF2-40B4-BE49-F238E27FC236}">
                    <a16:creationId xmlns:a16="http://schemas.microsoft.com/office/drawing/2014/main" id="{0C36DF73-1683-B9E0-DAE2-CC4FA9411740}"/>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7585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074D68E9-43F3-F793-E58E-42D96487CDA0}"/>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A51D9C8-457F-A702-330E-3E83FF49A907}"/>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173599"/>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8317C7D4-4BF5-ECE3-AB0F-69BAEB0392E2}"/>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4619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B1F3722B-662F-EE1F-F28F-2117DFF43FC7}"/>
                </a:ext>
              </a:extLst>
            </p:cNvPr>
            <p:cNvGrpSpPr>
              <a:grpSpLocks noGrp="1" noUngrp="1" noRot="1" noMove="1" noResize="1"/>
            </p:cNvGrpSpPr>
            <p:nvPr userDrawn="1"/>
          </p:nvGrpSpPr>
          <p:grpSpPr>
            <a:xfrm flipH="1" flipV="1">
              <a:off x="11716147" y="6669000"/>
              <a:ext cx="758020" cy="438136"/>
              <a:chOff x="-282166" y="-249136"/>
              <a:chExt cx="758020" cy="438136"/>
            </a:xfrm>
          </p:grpSpPr>
          <p:cxnSp>
            <p:nvCxnSpPr>
              <p:cNvPr id="60" name="Straight Connector 59">
                <a:extLst>
                  <a:ext uri="{FF2B5EF4-FFF2-40B4-BE49-F238E27FC236}">
                    <a16:creationId xmlns:a16="http://schemas.microsoft.com/office/drawing/2014/main" id="{31A63819-901C-AE9C-B688-44EE3E52D123}"/>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7585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E85C02E4-A713-5717-13B4-0D5BEFA009BA}"/>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pic>
        <p:nvPicPr>
          <p:cNvPr id="7" name="logo sm" descr="Transamerica Logo">
            <a:extLst>
              <a:ext uri="{FF2B5EF4-FFF2-40B4-BE49-F238E27FC236}">
                <a16:creationId xmlns:a16="http://schemas.microsoft.com/office/drawing/2014/main" id="{E8E14561-69C7-C85B-AE9E-F1AC72D424DC}"/>
              </a:ext>
            </a:extLst>
          </p:cNvPr>
          <p:cNvPicPr>
            <a:picLocks noChangeAspect="1"/>
          </p:cNvPicPr>
          <p:nvPr userDrawn="1"/>
        </p:nvPicPr>
        <p:blipFill>
          <a:blip r:embed="rId32">
            <a:extLst>
              <a:ext uri="{96DAC541-7B7A-43D3-8B79-37D633B846F1}">
                <asvg:svgBlip xmlns:asvg="http://schemas.microsoft.com/office/drawing/2016/SVG/main" r:embed="rId33"/>
              </a:ext>
            </a:extLst>
          </a:blip>
          <a:stretch>
            <a:fillRect/>
          </a:stretch>
        </p:blipFill>
        <p:spPr>
          <a:xfrm>
            <a:off x="9799200" y="6053050"/>
            <a:ext cx="2138400" cy="804950"/>
          </a:xfrm>
          <a:prstGeom prst="rect">
            <a:avLst/>
          </a:prstGeom>
        </p:spPr>
      </p:pic>
      <p:grpSp>
        <p:nvGrpSpPr>
          <p:cNvPr id="24" name="Group 23" hidden="1">
            <a:extLst>
              <a:ext uri="{FF2B5EF4-FFF2-40B4-BE49-F238E27FC236}">
                <a16:creationId xmlns:a16="http://schemas.microsoft.com/office/drawing/2014/main" id="{7689F110-0941-B07F-153C-140E14E05BE5}"/>
              </a:ext>
            </a:extLst>
          </p:cNvPr>
          <p:cNvGrpSpPr/>
          <p:nvPr userDrawn="1"/>
        </p:nvGrpSpPr>
        <p:grpSpPr>
          <a:xfrm>
            <a:off x="521207" y="0"/>
            <a:ext cx="11149581" cy="3860999"/>
            <a:chOff x="521207" y="0"/>
            <a:chExt cx="11149581" cy="3860999"/>
          </a:xfrm>
        </p:grpSpPr>
        <p:sp>
          <p:nvSpPr>
            <p:cNvPr id="5" name="Title 1">
              <a:extLst>
                <a:ext uri="{FF2B5EF4-FFF2-40B4-BE49-F238E27FC236}">
                  <a16:creationId xmlns:a16="http://schemas.microsoft.com/office/drawing/2014/main" id="{C1D413FE-03CE-E672-098E-941F051A2EA2}"/>
                </a:ext>
              </a:extLst>
            </p:cNvPr>
            <p:cNvSpPr txBox="1">
              <a:spLocks/>
            </p:cNvSpPr>
            <p:nvPr userDrawn="1"/>
          </p:nvSpPr>
          <p:spPr>
            <a:xfrm>
              <a:off x="521207" y="0"/>
              <a:ext cx="11149581" cy="262798"/>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a:t> </a:t>
              </a:r>
            </a:p>
          </p:txBody>
        </p:sp>
        <p:sp>
          <p:nvSpPr>
            <p:cNvPr id="20" name="Title 1">
              <a:extLst>
                <a:ext uri="{FF2B5EF4-FFF2-40B4-BE49-F238E27FC236}">
                  <a16:creationId xmlns:a16="http://schemas.microsoft.com/office/drawing/2014/main" id="{3AACF22A-E7D6-036A-A047-5FDFE0292D95}"/>
                </a:ext>
              </a:extLst>
            </p:cNvPr>
            <p:cNvSpPr txBox="1">
              <a:spLocks/>
            </p:cNvSpPr>
            <p:nvPr userDrawn="1"/>
          </p:nvSpPr>
          <p:spPr>
            <a:xfrm>
              <a:off x="521207" y="1744716"/>
              <a:ext cx="11149581" cy="2116283"/>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a:t>Click to edit title</a:t>
              </a:r>
            </a:p>
          </p:txBody>
        </p:sp>
        <p:sp>
          <p:nvSpPr>
            <p:cNvPr id="23" name="Title 1">
              <a:extLst>
                <a:ext uri="{FF2B5EF4-FFF2-40B4-BE49-F238E27FC236}">
                  <a16:creationId xmlns:a16="http://schemas.microsoft.com/office/drawing/2014/main" id="{99183974-AC97-E968-FAA3-1131280530FC}"/>
                </a:ext>
              </a:extLst>
            </p:cNvPr>
            <p:cNvSpPr txBox="1">
              <a:spLocks/>
            </p:cNvSpPr>
            <p:nvPr userDrawn="1"/>
          </p:nvSpPr>
          <p:spPr>
            <a:xfrm>
              <a:off x="521207" y="259563"/>
              <a:ext cx="11149581" cy="64800"/>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a:t> </a:t>
              </a:r>
            </a:p>
          </p:txBody>
        </p:sp>
      </p:grpSp>
      <p:sp>
        <p:nvSpPr>
          <p:cNvPr id="8" name="Title Placeholder 1">
            <a:extLst>
              <a:ext uri="{FF2B5EF4-FFF2-40B4-BE49-F238E27FC236}">
                <a16:creationId xmlns:a16="http://schemas.microsoft.com/office/drawing/2014/main" id="{6614278A-AC65-B80A-2282-665631EAD001}"/>
              </a:ext>
            </a:extLst>
          </p:cNvPr>
          <p:cNvSpPr>
            <a:spLocks noGrp="1"/>
          </p:cNvSpPr>
          <p:nvPr>
            <p:ph type="title"/>
          </p:nvPr>
        </p:nvSpPr>
        <p:spPr>
          <a:xfrm>
            <a:off x="521205" y="324213"/>
            <a:ext cx="11149576" cy="808050"/>
          </a:xfrm>
          <a:prstGeom prst="rect">
            <a:avLst/>
          </a:prstGeom>
        </p:spPr>
        <p:txBody>
          <a:bodyPr vert="horz" lIns="0" tIns="0" rIns="0" bIns="0" rtlCol="0" anchor="b" anchorCtr="0">
            <a:noAutofit/>
          </a:bodyPr>
          <a:lstStyle/>
          <a:p>
            <a:r>
              <a:rPr lang="en-US"/>
              <a:t>Click to edit Master title style</a:t>
            </a:r>
          </a:p>
        </p:txBody>
      </p:sp>
    </p:spTree>
    <p:extLst>
      <p:ext uri="{BB962C8B-B14F-4D97-AF65-F5344CB8AC3E}">
        <p14:creationId xmlns:p14="http://schemas.microsoft.com/office/powerpoint/2010/main" val="3164416552"/>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976" r:id="rId3"/>
    <p:sldLayoutId id="2147483829" r:id="rId4"/>
    <p:sldLayoutId id="2147483813" r:id="rId5"/>
    <p:sldLayoutId id="2147483814" r:id="rId6"/>
    <p:sldLayoutId id="2147483830" r:id="rId7"/>
    <p:sldLayoutId id="2147483815" r:id="rId8"/>
    <p:sldLayoutId id="2147483816" r:id="rId9"/>
    <p:sldLayoutId id="2147483831" r:id="rId10"/>
    <p:sldLayoutId id="2147483817" r:id="rId11"/>
    <p:sldLayoutId id="2147483818" r:id="rId12"/>
    <p:sldLayoutId id="2147483832" r:id="rId13"/>
    <p:sldLayoutId id="2147483819" r:id="rId14"/>
    <p:sldLayoutId id="2147483821" r:id="rId15"/>
    <p:sldLayoutId id="2147483820" r:id="rId16"/>
    <p:sldLayoutId id="2147483822" r:id="rId17"/>
    <p:sldLayoutId id="2147483878" r:id="rId18"/>
    <p:sldLayoutId id="2147483810" r:id="rId19"/>
    <p:sldLayoutId id="2147483854" r:id="rId20"/>
    <p:sldLayoutId id="2147483836" r:id="rId21"/>
    <p:sldLayoutId id="2147483837" r:id="rId22"/>
    <p:sldLayoutId id="2147483828" r:id="rId23"/>
    <p:sldLayoutId id="2147483841" r:id="rId24"/>
    <p:sldLayoutId id="2147483975" r:id="rId25"/>
    <p:sldLayoutId id="2147484218" r:id="rId26"/>
    <p:sldLayoutId id="2147484219" r:id="rId27"/>
  </p:sldLayoutIdLst>
  <p:hf hdr="0" ftr="0" dt="0"/>
  <p:txStyles>
    <p:titleStyle>
      <a:lvl1pPr algn="l" defTabSz="914400" rtl="0" eaLnBrk="1" latinLnBrk="0" hangingPunct="1">
        <a:lnSpc>
          <a:spcPct val="85000"/>
        </a:lnSpc>
        <a:spcBef>
          <a:spcPct val="0"/>
        </a:spcBef>
        <a:buNone/>
        <a:defRPr sz="3600" b="0" i="0" kern="100" spc="-30" baseline="0">
          <a:solidFill>
            <a:schemeClr val="tx1"/>
          </a:solidFill>
          <a:latin typeface="Forever Forma Heading" pitchFamily="2" charset="0"/>
          <a:ea typeface="+mj-ea"/>
          <a:cs typeface="+mj-cs"/>
        </a:defRPr>
      </a:lvl1pPr>
    </p:titleStyle>
    <p:body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600"/>
        </a:spcBef>
        <a:buClrTx/>
        <a:buFont typeface="Wingdings" pitchFamily="2" charset="2"/>
        <a:buChar char="§"/>
        <a:defRPr sz="1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p:bodyStyle>
    <p:otherStyle>
      <a:defPPr>
        <a:defRPr lang="en-US"/>
      </a:defPPr>
      <a:lvl1pPr marL="0" indent="0" algn="l" defTabSz="914400" rtl="0" eaLnBrk="1" latinLnBrk="0" hangingPunct="1">
        <a:lnSpc>
          <a:spcPct val="100000"/>
        </a:lnSpc>
        <a:spcBef>
          <a:spcPts val="0"/>
        </a:spcBef>
        <a:buClr>
          <a:srgbClr val="281805"/>
        </a:buClr>
        <a:buFont typeface="Arial" panose="020B0604020202020204" pitchFamily="34" charset="0"/>
        <a:buChar char="​"/>
        <a:defRPr sz="1800" b="0" kern="1200">
          <a:solidFill>
            <a:schemeClr val="tx1"/>
          </a:solidFill>
          <a:latin typeface="+mn-lt"/>
          <a:ea typeface="+mn-ea"/>
          <a:cs typeface="+mn-cs"/>
        </a:defRPr>
      </a:lvl1pPr>
      <a:lvl2pPr marL="180000" indent="-180000" algn="l" defTabSz="914400" rtl="0" eaLnBrk="1" latinLnBrk="0" hangingPunct="1">
        <a:lnSpc>
          <a:spcPct val="100000"/>
        </a:lnSpc>
        <a:spcBef>
          <a:spcPts val="0"/>
        </a:spcBef>
        <a:buClr>
          <a:srgbClr val="281805"/>
        </a:buClr>
        <a:buFont typeface="Arial" panose="020E0502030303020204" pitchFamily="34" charset="0"/>
        <a:buChar char="•"/>
        <a:defRPr sz="1800" b="0" kern="1200">
          <a:solidFill>
            <a:schemeClr val="tx1"/>
          </a:solidFill>
          <a:latin typeface="+mn-lt"/>
          <a:ea typeface="+mn-ea"/>
          <a:cs typeface="+mn-cs"/>
        </a:defRPr>
      </a:lvl2pPr>
      <a:lvl3pPr marL="360000" indent="-180000" algn="l" defTabSz="914400" rtl="0" eaLnBrk="1" latinLnBrk="0" hangingPunct="1">
        <a:lnSpc>
          <a:spcPct val="100000"/>
        </a:lnSpc>
        <a:spcBef>
          <a:spcPts val="0"/>
        </a:spcBef>
        <a:buClr>
          <a:srgbClr val="281805"/>
        </a:buClr>
        <a:buFont typeface="Arial" panose="020E0502030303020204" pitchFamily="34" charset="0"/>
        <a:buChar char="–"/>
        <a:defRPr sz="1800" b="0" kern="1200">
          <a:solidFill>
            <a:schemeClr val="tx1"/>
          </a:solidFill>
          <a:latin typeface="+mn-lt"/>
          <a:ea typeface="+mn-ea"/>
          <a:cs typeface="+mn-cs"/>
        </a:defRPr>
      </a:lvl3pPr>
      <a:lvl4pPr marL="540000" indent="-180000" algn="l" defTabSz="914400" rtl="0" eaLnBrk="1" latinLnBrk="0" hangingPunct="1">
        <a:lnSpc>
          <a:spcPct val="100000"/>
        </a:lnSpc>
        <a:spcBef>
          <a:spcPts val="0"/>
        </a:spcBef>
        <a:buClr>
          <a:srgbClr val="281805"/>
        </a:buClr>
        <a:buFont typeface="Arial" panose="020E0502030303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00000"/>
        </a:lnSpc>
        <a:spcBef>
          <a:spcPts val="0"/>
        </a:spcBef>
        <a:buClr>
          <a:srgbClr val="281805"/>
        </a:buClr>
        <a:buSzPct val="100000"/>
        <a:buFont typeface="Arial" panose="020E0502030303020204" pitchFamily="34" charset="0"/>
        <a:buChar char="–"/>
        <a:defRPr sz="1800" kern="1200">
          <a:solidFill>
            <a:schemeClr val="tx1"/>
          </a:solidFill>
          <a:latin typeface="+mn-lt"/>
          <a:ea typeface="+mn-ea"/>
          <a:cs typeface="+mn-cs"/>
        </a:defRPr>
      </a:lvl5pPr>
      <a:lvl6pPr marL="180000" indent="-180000" algn="l" defTabSz="914400" rtl="0" eaLnBrk="1" latinLnBrk="0" hangingPunct="1">
        <a:lnSpc>
          <a:spcPct val="100000"/>
        </a:lnSpc>
        <a:spcBef>
          <a:spcPts val="0"/>
        </a:spcBef>
        <a:buClr>
          <a:srgbClr val="281805"/>
        </a:buClr>
        <a:buSzPct val="90000"/>
        <a:buFont typeface="+mj-lt"/>
        <a:buAutoNum type="arabicPeriod"/>
        <a:defRPr sz="1800" kern="1200">
          <a:solidFill>
            <a:schemeClr val="tx1"/>
          </a:solidFill>
          <a:latin typeface="+mn-lt"/>
          <a:ea typeface="+mn-ea"/>
          <a:cs typeface="+mn-cs"/>
        </a:defRPr>
      </a:lvl6pPr>
      <a:lvl7pPr marL="360000" indent="-180000" algn="l" defTabSz="914400" rtl="0" eaLnBrk="1" latinLnBrk="0" hangingPunct="1">
        <a:lnSpc>
          <a:spcPct val="100000"/>
        </a:lnSpc>
        <a:spcBef>
          <a:spcPts val="0"/>
        </a:spcBef>
        <a:buClr>
          <a:srgbClr val="281805"/>
        </a:buClr>
        <a:buSzPct val="100000"/>
        <a:buFont typeface="Arial" panose="020E0502030303020204" pitchFamily="34" charset="0"/>
        <a:buChar char="–"/>
        <a:defRPr sz="1800" kern="1200">
          <a:solidFill>
            <a:schemeClr val="tx1"/>
          </a:solidFill>
          <a:latin typeface="+mn-lt"/>
          <a:ea typeface="+mn-ea"/>
          <a:cs typeface="+mn-cs"/>
        </a:defRPr>
      </a:lvl7pPr>
      <a:lvl8pPr marL="0" indent="0" algn="l" defTabSz="914400" rtl="0" eaLnBrk="1" latinLnBrk="0" hangingPunct="1">
        <a:lnSpc>
          <a:spcPct val="100000"/>
        </a:lnSpc>
        <a:spcBef>
          <a:spcPts val="0"/>
        </a:spcBef>
        <a:buClr>
          <a:srgbClr val="281805"/>
        </a:buClr>
        <a:buFont typeface="Arial" panose="020B0604020202020204" pitchFamily="34" charset="0"/>
        <a:buChar char="​"/>
        <a:defRPr sz="1800" b="1" kern="1200">
          <a:solidFill>
            <a:srgbClr val="281805"/>
          </a:solidFill>
          <a:latin typeface="+mn-lt"/>
          <a:ea typeface="+mn-ea"/>
          <a:cs typeface="+mn-cs"/>
        </a:defRPr>
      </a:lvl8pPr>
      <a:lvl9pPr marL="0" indent="0" algn="l" defTabSz="914400" rtl="0" eaLnBrk="1" latinLnBrk="0" hangingPunct="1">
        <a:lnSpc>
          <a:spcPct val="100000"/>
        </a:lnSpc>
        <a:spcBef>
          <a:spcPts val="0"/>
        </a:spcBef>
        <a:buClr>
          <a:srgbClr val="281805"/>
        </a:buClr>
        <a:buFont typeface="Arial" panose="020B0604020202020204" pitchFamily="34" charset="0"/>
        <a:buChar char="​"/>
        <a:defRPr sz="1800" b="1" kern="1200">
          <a:solidFill>
            <a:srgbClr val="281805"/>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1D7DBB37-5DB1-AF5A-3D0F-54CF80A6EF41}"/>
              </a:ext>
              <a:ext uri="{C183D7F6-B498-43B3-948B-1728B52AA6E4}">
                <adec:decorative xmlns:adec="http://schemas.microsoft.com/office/drawing/2017/decorative" val="1"/>
              </a:ext>
            </a:extLst>
          </p:cNvPr>
          <p:cNvGraphicFramePr>
            <a:graphicFrameLocks noChangeAspect="1"/>
          </p:cNvGraphicFramePr>
          <p:nvPr userDrawn="1">
            <p:custDataLst>
              <p:tags r:id="rId7"/>
            </p:custDataLst>
            <p:extLst>
              <p:ext uri="{D42A27DB-BD31-4B8C-83A1-F6EECF244321}">
                <p14:modId xmlns:p14="http://schemas.microsoft.com/office/powerpoint/2010/main" val="25605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06" imgH="306" progId="TCLayout.ActiveDocument.1">
                  <p:embed/>
                </p:oleObj>
              </mc:Choice>
              <mc:Fallback>
                <p:oleObj name="think-cell Slide" r:id="rId8" imgW="306" imgH="306" progId="TCLayout.ActiveDocument.1">
                  <p:embed/>
                  <p:pic>
                    <p:nvPicPr>
                      <p:cNvPr id="10" name="think-cell data - do not delete" hidden="1">
                        <a:extLst>
                          <a:ext uri="{FF2B5EF4-FFF2-40B4-BE49-F238E27FC236}">
                            <a16:creationId xmlns:a16="http://schemas.microsoft.com/office/drawing/2014/main" id="{1D7DBB37-5DB1-AF5A-3D0F-54CF80A6EF41}"/>
                          </a:ext>
                          <a:ext uri="{C183D7F6-B498-43B3-948B-1728B52AA6E4}">
                            <adec:decorative xmlns:adec="http://schemas.microsoft.com/office/drawing/2017/decorative" val="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6F25A6B-8F5B-A241-A3BD-B5FDE9F512C5}"/>
              </a:ext>
            </a:extLst>
          </p:cNvPr>
          <p:cNvSpPr>
            <a:spLocks noGrp="1"/>
          </p:cNvSpPr>
          <p:nvPr>
            <p:ph type="dt" sz="half" idx="2"/>
          </p:nvPr>
        </p:nvSpPr>
        <p:spPr>
          <a:xfrm>
            <a:off x="10932000" y="2016"/>
            <a:ext cx="1260000" cy="319084"/>
          </a:xfrm>
          <a:prstGeom prst="rect">
            <a:avLst/>
          </a:prstGeom>
        </p:spPr>
        <p:txBody>
          <a:bodyPr vert="horz" wrap="none" lIns="72000" tIns="72000" rIns="72000" bIns="72000" rtlCol="0" anchor="ctr">
            <a:noAutofit/>
          </a:bodyPr>
          <a:lstStyle>
            <a:lvl1pPr algn="r">
              <a:defRPr sz="800" b="0" i="0">
                <a:solidFill>
                  <a:srgbClr val="281805"/>
                </a:solidFill>
                <a:latin typeface="Forever Forma Body Text" pitchFamily="2" charset="0"/>
              </a:defRPr>
            </a:lvl1pPr>
          </a:lstStyle>
          <a:p>
            <a:fld id="{8F81B36D-59DF-42A0-ABF0-6A71ABA2C4CD}" type="datetime3">
              <a:rPr lang="en-US" smtClean="0"/>
              <a:pPr/>
              <a:t>15 January 2026</a:t>
            </a:fld>
            <a:endParaRPr lang="en-US"/>
          </a:p>
        </p:txBody>
      </p:sp>
      <p:sp>
        <p:nvSpPr>
          <p:cNvPr id="2" name="Title Placeholder 1">
            <a:extLst>
              <a:ext uri="{FF2B5EF4-FFF2-40B4-BE49-F238E27FC236}">
                <a16:creationId xmlns:a16="http://schemas.microsoft.com/office/drawing/2014/main" id="{DF001C83-36AE-A5E2-4E80-B3AD2D747168}"/>
              </a:ext>
            </a:extLst>
          </p:cNvPr>
          <p:cNvSpPr>
            <a:spLocks noGrp="1"/>
          </p:cNvSpPr>
          <p:nvPr>
            <p:ph type="title"/>
          </p:nvPr>
        </p:nvSpPr>
        <p:spPr>
          <a:xfrm>
            <a:off x="521205" y="324212"/>
            <a:ext cx="11149576" cy="944787"/>
          </a:xfrm>
          <a:prstGeom prst="rect">
            <a:avLst/>
          </a:prstGeom>
        </p:spPr>
        <p:txBody>
          <a:bodyPr vert="horz" lIns="0" tIns="0" rIns="0" bIns="0" rtlCol="0" anchor="b"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E0A85944-6880-CBB6-BA63-4A90CA93596A}"/>
              </a:ext>
            </a:extLst>
          </p:cNvPr>
          <p:cNvSpPr>
            <a:spLocks noGrp="1"/>
          </p:cNvSpPr>
          <p:nvPr>
            <p:ph type="body" idx="1"/>
          </p:nvPr>
        </p:nvSpPr>
        <p:spPr>
          <a:xfrm>
            <a:off x="521208" y="1296000"/>
            <a:ext cx="11149576" cy="475394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Slide Number Placeholder 5">
            <a:extLst>
              <a:ext uri="{FF2B5EF4-FFF2-40B4-BE49-F238E27FC236}">
                <a16:creationId xmlns:a16="http://schemas.microsoft.com/office/drawing/2014/main" id="{CAA63915-CBC8-75C7-C27B-2ADA3EEF69F8}"/>
              </a:ext>
              <a:ext uri="{C183D7F6-B498-43B3-948B-1728B52AA6E4}">
                <adec:decorative xmlns:adec="http://schemas.microsoft.com/office/drawing/2017/decorative" val="1"/>
              </a:ext>
            </a:extLst>
          </p:cNvPr>
          <p:cNvSpPr>
            <a:spLocks noGrp="1"/>
          </p:cNvSpPr>
          <p:nvPr>
            <p:ph type="sldNum" sz="quarter" idx="4"/>
          </p:nvPr>
        </p:nvSpPr>
        <p:spPr>
          <a:xfrm>
            <a:off x="0" y="6049950"/>
            <a:ext cx="806400" cy="808050"/>
          </a:xfrm>
          <a:prstGeom prst="rect">
            <a:avLst/>
          </a:prstGeom>
        </p:spPr>
        <p:txBody>
          <a:bodyPr vert="horz" lIns="518400" tIns="0" rIns="64800" bIns="309600" rtlCol="0" anchor="b" anchorCtr="0">
            <a:noAutofit/>
          </a:bodyPr>
          <a:lstStyle>
            <a:lvl1pPr algn="l">
              <a:defRPr sz="900" b="0" i="0">
                <a:solidFill>
                  <a:schemeClr val="tx1"/>
                </a:solidFill>
                <a:latin typeface="Forever Forma Body Text" pitchFamily="2" charset="0"/>
              </a:defRPr>
            </a:lvl1pPr>
          </a:lstStyle>
          <a:p>
            <a:fld id="{1C1606C5-D483-4832-A0E9-CF578A9B5883}" type="slidenum">
              <a:rPr lang="en-US" smtClean="0"/>
              <a:pPr/>
              <a:t>‹#›</a:t>
            </a:fld>
            <a:endParaRPr lang="en-US"/>
          </a:p>
        </p:txBody>
      </p:sp>
      <p:grpSp>
        <p:nvGrpSpPr>
          <p:cNvPr id="79" name="Group 78" hidden="1">
            <a:extLst>
              <a:ext uri="{FF2B5EF4-FFF2-40B4-BE49-F238E27FC236}">
                <a16:creationId xmlns:a16="http://schemas.microsoft.com/office/drawing/2014/main" id="{BA72FC20-E2CA-59C4-7B21-62C9115E46A8}"/>
              </a:ext>
              <a:ext uri="{C183D7F6-B498-43B3-948B-1728B52AA6E4}">
                <adec:decorative xmlns:adec="http://schemas.microsoft.com/office/drawing/2017/decorative" val="1"/>
              </a:ext>
            </a:extLst>
          </p:cNvPr>
          <p:cNvGrpSpPr>
            <a:grpSpLocks noGrp="1" noUngrp="1" noRot="1" noMove="1" noResize="1"/>
          </p:cNvGrpSpPr>
          <p:nvPr userDrawn="1"/>
        </p:nvGrpSpPr>
        <p:grpSpPr>
          <a:xfrm>
            <a:off x="-282166" y="-250200"/>
            <a:ext cx="12756333" cy="7357336"/>
            <a:chOff x="-282166" y="-250200"/>
            <a:chExt cx="12756333" cy="7357336"/>
          </a:xfrm>
        </p:grpSpPr>
        <p:grpSp>
          <p:nvGrpSpPr>
            <p:cNvPr id="48" name="Group 47">
              <a:extLst>
                <a:ext uri="{FF2B5EF4-FFF2-40B4-BE49-F238E27FC236}">
                  <a16:creationId xmlns:a16="http://schemas.microsoft.com/office/drawing/2014/main" id="{A2B8D85E-52EF-FA63-9592-265E43AD271D}"/>
                </a:ext>
              </a:extLst>
            </p:cNvPr>
            <p:cNvGrpSpPr>
              <a:grpSpLocks noGrp="1" noUngrp="1" noRot="1" noMove="1" noResize="1"/>
            </p:cNvGrpSpPr>
            <p:nvPr userDrawn="1"/>
          </p:nvGrpSpPr>
          <p:grpSpPr>
            <a:xfrm>
              <a:off x="-282166" y="-249136"/>
              <a:ext cx="766850" cy="1806436"/>
              <a:chOff x="-282166" y="-249136"/>
              <a:chExt cx="766850" cy="1806436"/>
            </a:xfrm>
          </p:grpSpPr>
          <p:cxnSp>
            <p:nvCxnSpPr>
              <p:cNvPr id="40" name="Straight Connector 39">
                <a:extLst>
                  <a:ext uri="{FF2B5EF4-FFF2-40B4-BE49-F238E27FC236}">
                    <a16:creationId xmlns:a16="http://schemas.microsoft.com/office/drawing/2014/main" id="{8D6D0D5E-5313-2E8E-FAC4-9AE8AC71A06F}"/>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8468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2E47E72-9EED-156D-E1C9-0EF9F58EB76B}"/>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4860373-8117-E073-7E3E-240392FEC0F3}"/>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173599"/>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B8D9028B-4948-B67E-79B8-A1A4C3540ECC}"/>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4619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A97BD11A-2E6F-80FC-4AC5-0F4673578EF2}"/>
                </a:ext>
              </a:extLst>
            </p:cNvPr>
            <p:cNvGrpSpPr>
              <a:grpSpLocks noGrp="1" noUngrp="1" noRot="1" noMove="1" noResize="1"/>
            </p:cNvGrpSpPr>
            <p:nvPr userDrawn="1"/>
          </p:nvGrpSpPr>
          <p:grpSpPr>
            <a:xfrm flipV="1">
              <a:off x="-282166" y="6669000"/>
              <a:ext cx="766850" cy="438136"/>
              <a:chOff x="-282166" y="-249136"/>
              <a:chExt cx="766850" cy="438136"/>
            </a:xfrm>
          </p:grpSpPr>
          <p:cxnSp>
            <p:nvCxnSpPr>
              <p:cNvPr id="54" name="Straight Connector 53">
                <a:extLst>
                  <a:ext uri="{FF2B5EF4-FFF2-40B4-BE49-F238E27FC236}">
                    <a16:creationId xmlns:a16="http://schemas.microsoft.com/office/drawing/2014/main" id="{333A3C60-6DDF-0E86-7A5D-C9E2DC700AC6}"/>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8468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973A5B8-A847-F13D-C557-F6CAA8F1C3BC}"/>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6D787A70-EF66-4785-95AD-991F81706E7F}"/>
                </a:ext>
              </a:extLst>
            </p:cNvPr>
            <p:cNvGrpSpPr>
              <a:grpSpLocks noGrp="1" noUngrp="1" noRot="1" noMove="1" noResize="1"/>
            </p:cNvGrpSpPr>
            <p:nvPr userDrawn="1"/>
          </p:nvGrpSpPr>
          <p:grpSpPr>
            <a:xfrm flipH="1">
              <a:off x="11716147" y="-250200"/>
              <a:ext cx="758020" cy="1806436"/>
              <a:chOff x="-282166" y="-249136"/>
              <a:chExt cx="758020" cy="1806436"/>
            </a:xfrm>
          </p:grpSpPr>
          <p:cxnSp>
            <p:nvCxnSpPr>
              <p:cNvPr id="64" name="Straight Connector 63">
                <a:extLst>
                  <a:ext uri="{FF2B5EF4-FFF2-40B4-BE49-F238E27FC236}">
                    <a16:creationId xmlns:a16="http://schemas.microsoft.com/office/drawing/2014/main" id="{0C36DF73-1683-B9E0-DAE2-CC4FA9411740}"/>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7585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074D68E9-43F3-F793-E58E-42D96487CDA0}"/>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A51D9C8-457F-A702-330E-3E83FF49A907}"/>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173599"/>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8317C7D4-4BF5-ECE3-AB0F-69BAEB0392E2}"/>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4619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B1F3722B-662F-EE1F-F28F-2117DFF43FC7}"/>
                </a:ext>
              </a:extLst>
            </p:cNvPr>
            <p:cNvGrpSpPr>
              <a:grpSpLocks noGrp="1" noUngrp="1" noRot="1" noMove="1" noResize="1"/>
            </p:cNvGrpSpPr>
            <p:nvPr userDrawn="1"/>
          </p:nvGrpSpPr>
          <p:grpSpPr>
            <a:xfrm flipH="1" flipV="1">
              <a:off x="11716147" y="6669000"/>
              <a:ext cx="758020" cy="438136"/>
              <a:chOff x="-282166" y="-249136"/>
              <a:chExt cx="758020" cy="438136"/>
            </a:xfrm>
          </p:grpSpPr>
          <p:cxnSp>
            <p:nvCxnSpPr>
              <p:cNvPr id="60" name="Straight Connector 59">
                <a:extLst>
                  <a:ext uri="{FF2B5EF4-FFF2-40B4-BE49-F238E27FC236}">
                    <a16:creationId xmlns:a16="http://schemas.microsoft.com/office/drawing/2014/main" id="{31A63819-901C-AE9C-B688-44EE3E52D123}"/>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7585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E85C02E4-A713-5717-13B4-0D5BEFA009BA}"/>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pic>
        <p:nvPicPr>
          <p:cNvPr id="7" name="logo sm" descr="Transamerica Logo">
            <a:extLst>
              <a:ext uri="{FF2B5EF4-FFF2-40B4-BE49-F238E27FC236}">
                <a16:creationId xmlns:a16="http://schemas.microsoft.com/office/drawing/2014/main" id="{E8E14561-69C7-C85B-AE9E-F1AC72D424DC}"/>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9799200" y="6053050"/>
            <a:ext cx="2138400" cy="804950"/>
          </a:xfrm>
          <a:prstGeom prst="rect">
            <a:avLst/>
          </a:prstGeom>
        </p:spPr>
      </p:pic>
      <p:grpSp>
        <p:nvGrpSpPr>
          <p:cNvPr id="24" name="Group 23" hidden="1">
            <a:extLst>
              <a:ext uri="{FF2B5EF4-FFF2-40B4-BE49-F238E27FC236}">
                <a16:creationId xmlns:a16="http://schemas.microsoft.com/office/drawing/2014/main" id="{7689F110-0941-B07F-153C-140E14E05BE5}"/>
              </a:ext>
            </a:extLst>
          </p:cNvPr>
          <p:cNvGrpSpPr/>
          <p:nvPr userDrawn="1"/>
        </p:nvGrpSpPr>
        <p:grpSpPr>
          <a:xfrm>
            <a:off x="521207" y="0"/>
            <a:ext cx="11149581" cy="3860999"/>
            <a:chOff x="521207" y="0"/>
            <a:chExt cx="11149581" cy="3860999"/>
          </a:xfrm>
        </p:grpSpPr>
        <p:sp>
          <p:nvSpPr>
            <p:cNvPr id="5" name="Title 1">
              <a:extLst>
                <a:ext uri="{FF2B5EF4-FFF2-40B4-BE49-F238E27FC236}">
                  <a16:creationId xmlns:a16="http://schemas.microsoft.com/office/drawing/2014/main" id="{C1D413FE-03CE-E672-098E-941F051A2EA2}"/>
                </a:ext>
              </a:extLst>
            </p:cNvPr>
            <p:cNvSpPr txBox="1">
              <a:spLocks/>
            </p:cNvSpPr>
            <p:nvPr userDrawn="1"/>
          </p:nvSpPr>
          <p:spPr>
            <a:xfrm>
              <a:off x="521207" y="0"/>
              <a:ext cx="11149581" cy="262798"/>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a:t> </a:t>
              </a:r>
            </a:p>
          </p:txBody>
        </p:sp>
        <p:sp>
          <p:nvSpPr>
            <p:cNvPr id="20" name="Title 1">
              <a:extLst>
                <a:ext uri="{FF2B5EF4-FFF2-40B4-BE49-F238E27FC236}">
                  <a16:creationId xmlns:a16="http://schemas.microsoft.com/office/drawing/2014/main" id="{3AACF22A-E7D6-036A-A047-5FDFE0292D95}"/>
                </a:ext>
              </a:extLst>
            </p:cNvPr>
            <p:cNvSpPr txBox="1">
              <a:spLocks/>
            </p:cNvSpPr>
            <p:nvPr userDrawn="1"/>
          </p:nvSpPr>
          <p:spPr>
            <a:xfrm>
              <a:off x="521207" y="1744716"/>
              <a:ext cx="11149581" cy="2116283"/>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a:t>Click to edit title</a:t>
              </a:r>
            </a:p>
          </p:txBody>
        </p:sp>
        <p:sp>
          <p:nvSpPr>
            <p:cNvPr id="23" name="Title 1">
              <a:extLst>
                <a:ext uri="{FF2B5EF4-FFF2-40B4-BE49-F238E27FC236}">
                  <a16:creationId xmlns:a16="http://schemas.microsoft.com/office/drawing/2014/main" id="{99183974-AC97-E968-FAA3-1131280530FC}"/>
                </a:ext>
              </a:extLst>
            </p:cNvPr>
            <p:cNvSpPr txBox="1">
              <a:spLocks/>
            </p:cNvSpPr>
            <p:nvPr userDrawn="1"/>
          </p:nvSpPr>
          <p:spPr>
            <a:xfrm>
              <a:off x="521207" y="259563"/>
              <a:ext cx="11149581" cy="64800"/>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a:t> </a:t>
              </a:r>
            </a:p>
          </p:txBody>
        </p:sp>
      </p:grpSp>
    </p:spTree>
    <p:extLst>
      <p:ext uri="{BB962C8B-B14F-4D97-AF65-F5344CB8AC3E}">
        <p14:creationId xmlns:p14="http://schemas.microsoft.com/office/powerpoint/2010/main" val="1235047050"/>
      </p:ext>
    </p:extLst>
  </p:cSld>
  <p:clrMap bg1="lt1" tx1="dk1" bg2="lt2" tx2="dk2" accent1="accent1" accent2="accent2" accent3="accent3" accent4="accent4" accent5="accent5" accent6="accent6" hlink="hlink" folHlink="folHlink"/>
  <p:sldLayoutIdLst>
    <p:sldLayoutId id="2147484032" r:id="rId1"/>
    <p:sldLayoutId id="2147484033" r:id="rId2"/>
    <p:sldLayoutId id="2147484034" r:id="rId3"/>
    <p:sldLayoutId id="2147484035" r:id="rId4"/>
    <p:sldLayoutId id="2147484036" r:id="rId5"/>
  </p:sldLayoutIdLst>
  <p:hf hdr="0" ftr="0" dt="0"/>
  <p:txStyles>
    <p:titleStyle>
      <a:lvl1pPr algn="l" defTabSz="914400" rtl="0" eaLnBrk="1" latinLnBrk="0" hangingPunct="1">
        <a:lnSpc>
          <a:spcPct val="85000"/>
        </a:lnSpc>
        <a:spcBef>
          <a:spcPct val="0"/>
        </a:spcBef>
        <a:buNone/>
        <a:defRPr sz="3600" b="0" i="0" kern="100" spc="-30" baseline="0">
          <a:solidFill>
            <a:schemeClr val="tx1"/>
          </a:solidFill>
          <a:latin typeface="Forever Forma Heading" pitchFamily="2" charset="0"/>
          <a:ea typeface="+mj-ea"/>
          <a:cs typeface="+mj-cs"/>
        </a:defRPr>
      </a:lvl1pPr>
    </p:titleStyle>
    <p:body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600"/>
        </a:spcBef>
        <a:buClrTx/>
        <a:buFont typeface="Wingdings" pitchFamily="2" charset="2"/>
        <a:buChar char="§"/>
        <a:defRPr sz="1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p:bodyStyle>
    <p:otherStyle>
      <a:defPPr>
        <a:defRPr lang="en-US"/>
      </a:defPPr>
      <a:lvl1pPr marL="0" indent="0" algn="l" defTabSz="914400" rtl="0" eaLnBrk="1" latinLnBrk="0" hangingPunct="1">
        <a:lnSpc>
          <a:spcPct val="100000"/>
        </a:lnSpc>
        <a:spcBef>
          <a:spcPts val="0"/>
        </a:spcBef>
        <a:buClr>
          <a:srgbClr val="281805"/>
        </a:buClr>
        <a:buFont typeface="Arial" panose="020B0604020202020204" pitchFamily="34" charset="0"/>
        <a:buChar char="​"/>
        <a:defRPr sz="1800" b="0" kern="1200">
          <a:solidFill>
            <a:schemeClr val="tx1"/>
          </a:solidFill>
          <a:latin typeface="+mn-lt"/>
          <a:ea typeface="+mn-ea"/>
          <a:cs typeface="+mn-cs"/>
        </a:defRPr>
      </a:lvl1pPr>
      <a:lvl2pPr marL="180000" indent="-180000" algn="l" defTabSz="914400" rtl="0" eaLnBrk="1" latinLnBrk="0" hangingPunct="1">
        <a:lnSpc>
          <a:spcPct val="100000"/>
        </a:lnSpc>
        <a:spcBef>
          <a:spcPts val="0"/>
        </a:spcBef>
        <a:buClr>
          <a:srgbClr val="281805"/>
        </a:buClr>
        <a:buFont typeface="Arial" panose="020E0502030303020204" pitchFamily="34" charset="0"/>
        <a:buChar char="•"/>
        <a:defRPr sz="1800" b="0" kern="1200">
          <a:solidFill>
            <a:schemeClr val="tx1"/>
          </a:solidFill>
          <a:latin typeface="+mn-lt"/>
          <a:ea typeface="+mn-ea"/>
          <a:cs typeface="+mn-cs"/>
        </a:defRPr>
      </a:lvl2pPr>
      <a:lvl3pPr marL="360000" indent="-180000" algn="l" defTabSz="914400" rtl="0" eaLnBrk="1" latinLnBrk="0" hangingPunct="1">
        <a:lnSpc>
          <a:spcPct val="100000"/>
        </a:lnSpc>
        <a:spcBef>
          <a:spcPts val="0"/>
        </a:spcBef>
        <a:buClr>
          <a:srgbClr val="281805"/>
        </a:buClr>
        <a:buFont typeface="Arial" panose="020E0502030303020204" pitchFamily="34" charset="0"/>
        <a:buChar char="–"/>
        <a:defRPr sz="1800" b="0" kern="1200">
          <a:solidFill>
            <a:schemeClr val="tx1"/>
          </a:solidFill>
          <a:latin typeface="+mn-lt"/>
          <a:ea typeface="+mn-ea"/>
          <a:cs typeface="+mn-cs"/>
        </a:defRPr>
      </a:lvl3pPr>
      <a:lvl4pPr marL="540000" indent="-180000" algn="l" defTabSz="914400" rtl="0" eaLnBrk="1" latinLnBrk="0" hangingPunct="1">
        <a:lnSpc>
          <a:spcPct val="100000"/>
        </a:lnSpc>
        <a:spcBef>
          <a:spcPts val="0"/>
        </a:spcBef>
        <a:buClr>
          <a:srgbClr val="281805"/>
        </a:buClr>
        <a:buFont typeface="Arial" panose="020E0502030303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00000"/>
        </a:lnSpc>
        <a:spcBef>
          <a:spcPts val="0"/>
        </a:spcBef>
        <a:buClr>
          <a:srgbClr val="281805"/>
        </a:buClr>
        <a:buSzPct val="100000"/>
        <a:buFont typeface="Arial" panose="020E0502030303020204" pitchFamily="34" charset="0"/>
        <a:buChar char="–"/>
        <a:defRPr sz="1800" kern="1200">
          <a:solidFill>
            <a:schemeClr val="tx1"/>
          </a:solidFill>
          <a:latin typeface="+mn-lt"/>
          <a:ea typeface="+mn-ea"/>
          <a:cs typeface="+mn-cs"/>
        </a:defRPr>
      </a:lvl5pPr>
      <a:lvl6pPr marL="180000" indent="-180000" algn="l" defTabSz="914400" rtl="0" eaLnBrk="1" latinLnBrk="0" hangingPunct="1">
        <a:lnSpc>
          <a:spcPct val="100000"/>
        </a:lnSpc>
        <a:spcBef>
          <a:spcPts val="0"/>
        </a:spcBef>
        <a:buClr>
          <a:srgbClr val="281805"/>
        </a:buClr>
        <a:buSzPct val="90000"/>
        <a:buFont typeface="+mj-lt"/>
        <a:buAutoNum type="arabicPeriod"/>
        <a:defRPr sz="1800" kern="1200">
          <a:solidFill>
            <a:schemeClr val="tx1"/>
          </a:solidFill>
          <a:latin typeface="+mn-lt"/>
          <a:ea typeface="+mn-ea"/>
          <a:cs typeface="+mn-cs"/>
        </a:defRPr>
      </a:lvl6pPr>
      <a:lvl7pPr marL="360000" indent="-180000" algn="l" defTabSz="914400" rtl="0" eaLnBrk="1" latinLnBrk="0" hangingPunct="1">
        <a:lnSpc>
          <a:spcPct val="100000"/>
        </a:lnSpc>
        <a:spcBef>
          <a:spcPts val="0"/>
        </a:spcBef>
        <a:buClr>
          <a:srgbClr val="281805"/>
        </a:buClr>
        <a:buSzPct val="100000"/>
        <a:buFont typeface="Arial" panose="020E0502030303020204" pitchFamily="34" charset="0"/>
        <a:buChar char="–"/>
        <a:defRPr sz="1800" kern="1200">
          <a:solidFill>
            <a:schemeClr val="tx1"/>
          </a:solidFill>
          <a:latin typeface="+mn-lt"/>
          <a:ea typeface="+mn-ea"/>
          <a:cs typeface="+mn-cs"/>
        </a:defRPr>
      </a:lvl7pPr>
      <a:lvl8pPr marL="0" indent="0" algn="l" defTabSz="914400" rtl="0" eaLnBrk="1" latinLnBrk="0" hangingPunct="1">
        <a:lnSpc>
          <a:spcPct val="100000"/>
        </a:lnSpc>
        <a:spcBef>
          <a:spcPts val="0"/>
        </a:spcBef>
        <a:buClr>
          <a:srgbClr val="281805"/>
        </a:buClr>
        <a:buFont typeface="Arial" panose="020B0604020202020204" pitchFamily="34" charset="0"/>
        <a:buChar char="​"/>
        <a:defRPr sz="1800" b="1" kern="1200">
          <a:solidFill>
            <a:srgbClr val="281805"/>
          </a:solidFill>
          <a:latin typeface="+mn-lt"/>
          <a:ea typeface="+mn-ea"/>
          <a:cs typeface="+mn-cs"/>
        </a:defRPr>
      </a:lvl8pPr>
      <a:lvl9pPr marL="0" indent="0" algn="l" defTabSz="914400" rtl="0" eaLnBrk="1" latinLnBrk="0" hangingPunct="1">
        <a:lnSpc>
          <a:spcPct val="100000"/>
        </a:lnSpc>
        <a:spcBef>
          <a:spcPts val="0"/>
        </a:spcBef>
        <a:buClr>
          <a:srgbClr val="281805"/>
        </a:buClr>
        <a:buFont typeface="Arial" panose="020B0604020202020204" pitchFamily="34" charset="0"/>
        <a:buChar char="​"/>
        <a:defRPr sz="1800" b="1" kern="1200">
          <a:solidFill>
            <a:srgbClr val="281805"/>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1D7DBB37-5DB1-AF5A-3D0F-54CF80A6EF41}"/>
              </a:ext>
              <a:ext uri="{C183D7F6-B498-43B3-948B-1728B52AA6E4}">
                <adec:decorative xmlns:adec="http://schemas.microsoft.com/office/drawing/2017/decorative" val="1"/>
              </a:ext>
            </a:extLst>
          </p:cNvPr>
          <p:cNvGraphicFramePr>
            <a:graphicFrameLocks noChangeAspect="1"/>
          </p:cNvGraphicFramePr>
          <p:nvPr userDrawn="1">
            <p:custDataLst>
              <p:tags r:id="rId4"/>
            </p:custDataLst>
            <p:extLst>
              <p:ext uri="{D42A27DB-BD31-4B8C-83A1-F6EECF244321}">
                <p14:modId xmlns:p14="http://schemas.microsoft.com/office/powerpoint/2010/main" val="25605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10" name="think-cell data - do not delete" hidden="1">
                        <a:extLst>
                          <a:ext uri="{FF2B5EF4-FFF2-40B4-BE49-F238E27FC236}">
                            <a16:creationId xmlns:a16="http://schemas.microsoft.com/office/drawing/2014/main" id="{1D7DBB37-5DB1-AF5A-3D0F-54CF80A6EF41}"/>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6F25A6B-8F5B-A241-A3BD-B5FDE9F512C5}"/>
              </a:ext>
            </a:extLst>
          </p:cNvPr>
          <p:cNvSpPr>
            <a:spLocks noGrp="1"/>
          </p:cNvSpPr>
          <p:nvPr>
            <p:ph type="dt" sz="half" idx="2"/>
          </p:nvPr>
        </p:nvSpPr>
        <p:spPr>
          <a:xfrm>
            <a:off x="10932000" y="2016"/>
            <a:ext cx="1260000" cy="319084"/>
          </a:xfrm>
          <a:prstGeom prst="rect">
            <a:avLst/>
          </a:prstGeom>
        </p:spPr>
        <p:txBody>
          <a:bodyPr vert="horz" wrap="none" lIns="72000" tIns="72000" rIns="72000" bIns="72000" rtlCol="0" anchor="ctr">
            <a:noAutofit/>
          </a:bodyPr>
          <a:lstStyle>
            <a:lvl1pPr algn="r">
              <a:defRPr sz="800" b="0" i="0">
                <a:solidFill>
                  <a:srgbClr val="281805"/>
                </a:solidFill>
                <a:latin typeface="Forever Forma Body Text" pitchFamily="2" charset="0"/>
              </a:defRPr>
            </a:lvl1pPr>
          </a:lstStyle>
          <a:p>
            <a:fld id="{8F81B36D-59DF-42A0-ABF0-6A71ABA2C4CD}" type="datetime3">
              <a:rPr lang="en-US" smtClean="0"/>
              <a:pPr/>
              <a:t>15 January 2026</a:t>
            </a:fld>
            <a:endParaRPr lang="en-US"/>
          </a:p>
        </p:txBody>
      </p:sp>
      <p:sp>
        <p:nvSpPr>
          <p:cNvPr id="2" name="Title Placeholder 1">
            <a:extLst>
              <a:ext uri="{FF2B5EF4-FFF2-40B4-BE49-F238E27FC236}">
                <a16:creationId xmlns:a16="http://schemas.microsoft.com/office/drawing/2014/main" id="{DF001C83-36AE-A5E2-4E80-B3AD2D747168}"/>
              </a:ext>
            </a:extLst>
          </p:cNvPr>
          <p:cNvSpPr>
            <a:spLocks noGrp="1"/>
          </p:cNvSpPr>
          <p:nvPr>
            <p:ph type="title"/>
          </p:nvPr>
        </p:nvSpPr>
        <p:spPr>
          <a:xfrm>
            <a:off x="521205" y="324212"/>
            <a:ext cx="11149576" cy="944787"/>
          </a:xfrm>
          <a:prstGeom prst="rect">
            <a:avLst/>
          </a:prstGeom>
        </p:spPr>
        <p:txBody>
          <a:bodyPr vert="horz" lIns="0" tIns="0" rIns="0" bIns="0" rtlCol="0" anchor="t" anchorCtr="0">
            <a:noAutofit/>
          </a:bodyPr>
          <a:lstStyle/>
          <a:p>
            <a:r>
              <a:rPr lang="en-US"/>
              <a:t>Click to edit </a:t>
            </a:r>
            <a:br>
              <a:rPr lang="en-US"/>
            </a:br>
            <a:r>
              <a:rPr lang="en-US"/>
              <a:t>Master title style</a:t>
            </a:r>
          </a:p>
        </p:txBody>
      </p:sp>
      <p:sp>
        <p:nvSpPr>
          <p:cNvPr id="3" name="Text Placeholder 2">
            <a:extLst>
              <a:ext uri="{FF2B5EF4-FFF2-40B4-BE49-F238E27FC236}">
                <a16:creationId xmlns:a16="http://schemas.microsoft.com/office/drawing/2014/main" id="{E0A85944-6880-CBB6-BA63-4A90CA93596A}"/>
              </a:ext>
            </a:extLst>
          </p:cNvPr>
          <p:cNvSpPr>
            <a:spLocks noGrp="1"/>
          </p:cNvSpPr>
          <p:nvPr>
            <p:ph type="body" idx="1"/>
          </p:nvPr>
        </p:nvSpPr>
        <p:spPr>
          <a:xfrm>
            <a:off x="521208" y="1296000"/>
            <a:ext cx="11149576" cy="475394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Slide Number Placeholder 5">
            <a:extLst>
              <a:ext uri="{FF2B5EF4-FFF2-40B4-BE49-F238E27FC236}">
                <a16:creationId xmlns:a16="http://schemas.microsoft.com/office/drawing/2014/main" id="{CAA63915-CBC8-75C7-C27B-2ADA3EEF69F8}"/>
              </a:ext>
              <a:ext uri="{C183D7F6-B498-43B3-948B-1728B52AA6E4}">
                <adec:decorative xmlns:adec="http://schemas.microsoft.com/office/drawing/2017/decorative" val="1"/>
              </a:ext>
            </a:extLst>
          </p:cNvPr>
          <p:cNvSpPr>
            <a:spLocks noGrp="1"/>
          </p:cNvSpPr>
          <p:nvPr>
            <p:ph type="sldNum" sz="quarter" idx="4"/>
          </p:nvPr>
        </p:nvSpPr>
        <p:spPr>
          <a:xfrm>
            <a:off x="0" y="6049950"/>
            <a:ext cx="806400" cy="808050"/>
          </a:xfrm>
          <a:prstGeom prst="rect">
            <a:avLst/>
          </a:prstGeom>
        </p:spPr>
        <p:txBody>
          <a:bodyPr vert="horz" lIns="518400" tIns="0" rIns="64800" bIns="309600" rtlCol="0" anchor="b" anchorCtr="0">
            <a:noAutofit/>
          </a:bodyPr>
          <a:lstStyle>
            <a:lvl1pPr algn="l">
              <a:defRPr sz="900" b="0" i="0">
                <a:solidFill>
                  <a:schemeClr val="tx1"/>
                </a:solidFill>
                <a:latin typeface="Forever Forma Body Text" pitchFamily="2" charset="0"/>
              </a:defRPr>
            </a:lvl1pPr>
          </a:lstStyle>
          <a:p>
            <a:fld id="{1C1606C5-D483-4832-A0E9-CF578A9B5883}" type="slidenum">
              <a:rPr lang="en-US" smtClean="0"/>
              <a:pPr/>
              <a:t>‹#›</a:t>
            </a:fld>
            <a:endParaRPr lang="en-US"/>
          </a:p>
        </p:txBody>
      </p:sp>
      <p:grpSp>
        <p:nvGrpSpPr>
          <p:cNvPr id="79" name="Group 78" hidden="1">
            <a:extLst>
              <a:ext uri="{FF2B5EF4-FFF2-40B4-BE49-F238E27FC236}">
                <a16:creationId xmlns:a16="http://schemas.microsoft.com/office/drawing/2014/main" id="{BA72FC20-E2CA-59C4-7B21-62C9115E46A8}"/>
              </a:ext>
              <a:ext uri="{C183D7F6-B498-43B3-948B-1728B52AA6E4}">
                <adec:decorative xmlns:adec="http://schemas.microsoft.com/office/drawing/2017/decorative" val="1"/>
              </a:ext>
            </a:extLst>
          </p:cNvPr>
          <p:cNvGrpSpPr>
            <a:grpSpLocks noGrp="1" noUngrp="1" noRot="1" noMove="1" noResize="1"/>
          </p:cNvGrpSpPr>
          <p:nvPr userDrawn="1"/>
        </p:nvGrpSpPr>
        <p:grpSpPr>
          <a:xfrm>
            <a:off x="-282166" y="-250200"/>
            <a:ext cx="12756333" cy="7357336"/>
            <a:chOff x="-282166" y="-250200"/>
            <a:chExt cx="12756333" cy="7357336"/>
          </a:xfrm>
        </p:grpSpPr>
        <p:grpSp>
          <p:nvGrpSpPr>
            <p:cNvPr id="48" name="Group 47">
              <a:extLst>
                <a:ext uri="{FF2B5EF4-FFF2-40B4-BE49-F238E27FC236}">
                  <a16:creationId xmlns:a16="http://schemas.microsoft.com/office/drawing/2014/main" id="{A2B8D85E-52EF-FA63-9592-265E43AD271D}"/>
                </a:ext>
              </a:extLst>
            </p:cNvPr>
            <p:cNvGrpSpPr>
              <a:grpSpLocks noGrp="1" noUngrp="1" noRot="1" noMove="1" noResize="1"/>
            </p:cNvGrpSpPr>
            <p:nvPr userDrawn="1"/>
          </p:nvGrpSpPr>
          <p:grpSpPr>
            <a:xfrm>
              <a:off x="-282166" y="-249136"/>
              <a:ext cx="766850" cy="1806436"/>
              <a:chOff x="-282166" y="-249136"/>
              <a:chExt cx="766850" cy="1806436"/>
            </a:xfrm>
          </p:grpSpPr>
          <p:cxnSp>
            <p:nvCxnSpPr>
              <p:cNvPr id="40" name="Straight Connector 39">
                <a:extLst>
                  <a:ext uri="{FF2B5EF4-FFF2-40B4-BE49-F238E27FC236}">
                    <a16:creationId xmlns:a16="http://schemas.microsoft.com/office/drawing/2014/main" id="{8D6D0D5E-5313-2E8E-FAC4-9AE8AC71A06F}"/>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8468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2E47E72-9EED-156D-E1C9-0EF9F58EB76B}"/>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4860373-8117-E073-7E3E-240392FEC0F3}"/>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173599"/>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B8D9028B-4948-B67E-79B8-A1A4C3540ECC}"/>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4619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A97BD11A-2E6F-80FC-4AC5-0F4673578EF2}"/>
                </a:ext>
              </a:extLst>
            </p:cNvPr>
            <p:cNvGrpSpPr>
              <a:grpSpLocks noGrp="1" noUngrp="1" noRot="1" noMove="1" noResize="1"/>
            </p:cNvGrpSpPr>
            <p:nvPr userDrawn="1"/>
          </p:nvGrpSpPr>
          <p:grpSpPr>
            <a:xfrm flipV="1">
              <a:off x="-282166" y="6669000"/>
              <a:ext cx="766850" cy="438136"/>
              <a:chOff x="-282166" y="-249136"/>
              <a:chExt cx="766850" cy="438136"/>
            </a:xfrm>
          </p:grpSpPr>
          <p:cxnSp>
            <p:nvCxnSpPr>
              <p:cNvPr id="54" name="Straight Connector 53">
                <a:extLst>
                  <a:ext uri="{FF2B5EF4-FFF2-40B4-BE49-F238E27FC236}">
                    <a16:creationId xmlns:a16="http://schemas.microsoft.com/office/drawing/2014/main" id="{333A3C60-6DDF-0E86-7A5D-C9E2DC700AC6}"/>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8468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973A5B8-A847-F13D-C557-F6CAA8F1C3BC}"/>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6D787A70-EF66-4785-95AD-991F81706E7F}"/>
                </a:ext>
              </a:extLst>
            </p:cNvPr>
            <p:cNvGrpSpPr>
              <a:grpSpLocks noGrp="1" noUngrp="1" noRot="1" noMove="1" noResize="1"/>
            </p:cNvGrpSpPr>
            <p:nvPr userDrawn="1"/>
          </p:nvGrpSpPr>
          <p:grpSpPr>
            <a:xfrm flipH="1">
              <a:off x="11716147" y="-250200"/>
              <a:ext cx="758020" cy="1806436"/>
              <a:chOff x="-282166" y="-249136"/>
              <a:chExt cx="758020" cy="1806436"/>
            </a:xfrm>
          </p:grpSpPr>
          <p:cxnSp>
            <p:nvCxnSpPr>
              <p:cNvPr id="64" name="Straight Connector 63">
                <a:extLst>
                  <a:ext uri="{FF2B5EF4-FFF2-40B4-BE49-F238E27FC236}">
                    <a16:creationId xmlns:a16="http://schemas.microsoft.com/office/drawing/2014/main" id="{0C36DF73-1683-B9E0-DAE2-CC4FA9411740}"/>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7585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074D68E9-43F3-F793-E58E-42D96487CDA0}"/>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A51D9C8-457F-A702-330E-3E83FF49A907}"/>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173599"/>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8317C7D4-4BF5-ECE3-AB0F-69BAEB0392E2}"/>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4619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B1F3722B-662F-EE1F-F28F-2117DFF43FC7}"/>
                </a:ext>
              </a:extLst>
            </p:cNvPr>
            <p:cNvGrpSpPr>
              <a:grpSpLocks noGrp="1" noUngrp="1" noRot="1" noMove="1" noResize="1"/>
            </p:cNvGrpSpPr>
            <p:nvPr userDrawn="1"/>
          </p:nvGrpSpPr>
          <p:grpSpPr>
            <a:xfrm flipH="1" flipV="1">
              <a:off x="11716147" y="6669000"/>
              <a:ext cx="758020" cy="438136"/>
              <a:chOff x="-282166" y="-249136"/>
              <a:chExt cx="758020" cy="438136"/>
            </a:xfrm>
          </p:grpSpPr>
          <p:cxnSp>
            <p:nvCxnSpPr>
              <p:cNvPr id="60" name="Straight Connector 59">
                <a:extLst>
                  <a:ext uri="{FF2B5EF4-FFF2-40B4-BE49-F238E27FC236}">
                    <a16:creationId xmlns:a16="http://schemas.microsoft.com/office/drawing/2014/main" id="{31A63819-901C-AE9C-B688-44EE3E52D123}"/>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7585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E85C02E4-A713-5717-13B4-0D5BEFA009BA}"/>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pic>
        <p:nvPicPr>
          <p:cNvPr id="7" name="logo sm">
            <a:extLst>
              <a:ext uri="{FF2B5EF4-FFF2-40B4-BE49-F238E27FC236}">
                <a16:creationId xmlns:a16="http://schemas.microsoft.com/office/drawing/2014/main" id="{E8E14561-69C7-C85B-AE9E-F1AC72D424D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9799200" y="6053050"/>
            <a:ext cx="2138400" cy="804950"/>
          </a:xfrm>
          <a:prstGeom prst="rect">
            <a:avLst/>
          </a:prstGeom>
        </p:spPr>
      </p:pic>
      <p:grpSp>
        <p:nvGrpSpPr>
          <p:cNvPr id="24" name="Group 23" hidden="1">
            <a:extLst>
              <a:ext uri="{FF2B5EF4-FFF2-40B4-BE49-F238E27FC236}">
                <a16:creationId xmlns:a16="http://schemas.microsoft.com/office/drawing/2014/main" id="{7689F110-0941-B07F-153C-140E14E05BE5}"/>
              </a:ext>
            </a:extLst>
          </p:cNvPr>
          <p:cNvGrpSpPr/>
          <p:nvPr userDrawn="1"/>
        </p:nvGrpSpPr>
        <p:grpSpPr>
          <a:xfrm>
            <a:off x="521207" y="0"/>
            <a:ext cx="11149581" cy="3860999"/>
            <a:chOff x="521207" y="0"/>
            <a:chExt cx="11149581" cy="3860999"/>
          </a:xfrm>
        </p:grpSpPr>
        <p:sp>
          <p:nvSpPr>
            <p:cNvPr id="5" name="Title 1">
              <a:extLst>
                <a:ext uri="{FF2B5EF4-FFF2-40B4-BE49-F238E27FC236}">
                  <a16:creationId xmlns:a16="http://schemas.microsoft.com/office/drawing/2014/main" id="{C1D413FE-03CE-E672-098E-941F051A2EA2}"/>
                </a:ext>
              </a:extLst>
            </p:cNvPr>
            <p:cNvSpPr txBox="1">
              <a:spLocks/>
            </p:cNvSpPr>
            <p:nvPr userDrawn="1"/>
          </p:nvSpPr>
          <p:spPr>
            <a:xfrm>
              <a:off x="521207" y="0"/>
              <a:ext cx="11149581" cy="262798"/>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a:t> </a:t>
              </a:r>
            </a:p>
          </p:txBody>
        </p:sp>
        <p:sp>
          <p:nvSpPr>
            <p:cNvPr id="20" name="Title 1">
              <a:extLst>
                <a:ext uri="{FF2B5EF4-FFF2-40B4-BE49-F238E27FC236}">
                  <a16:creationId xmlns:a16="http://schemas.microsoft.com/office/drawing/2014/main" id="{3AACF22A-E7D6-036A-A047-5FDFE0292D95}"/>
                </a:ext>
              </a:extLst>
            </p:cNvPr>
            <p:cNvSpPr txBox="1">
              <a:spLocks/>
            </p:cNvSpPr>
            <p:nvPr userDrawn="1"/>
          </p:nvSpPr>
          <p:spPr>
            <a:xfrm>
              <a:off x="521207" y="1744716"/>
              <a:ext cx="11149581" cy="2116283"/>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a:t>Click to edit title</a:t>
              </a:r>
            </a:p>
          </p:txBody>
        </p:sp>
        <p:sp>
          <p:nvSpPr>
            <p:cNvPr id="23" name="Title 1">
              <a:extLst>
                <a:ext uri="{FF2B5EF4-FFF2-40B4-BE49-F238E27FC236}">
                  <a16:creationId xmlns:a16="http://schemas.microsoft.com/office/drawing/2014/main" id="{99183974-AC97-E968-FAA3-1131280530FC}"/>
                </a:ext>
              </a:extLst>
            </p:cNvPr>
            <p:cNvSpPr txBox="1">
              <a:spLocks/>
            </p:cNvSpPr>
            <p:nvPr userDrawn="1"/>
          </p:nvSpPr>
          <p:spPr>
            <a:xfrm>
              <a:off x="521207" y="259563"/>
              <a:ext cx="11149581" cy="64800"/>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a:t> </a:t>
              </a:r>
            </a:p>
          </p:txBody>
        </p:sp>
      </p:grpSp>
    </p:spTree>
    <p:extLst>
      <p:ext uri="{BB962C8B-B14F-4D97-AF65-F5344CB8AC3E}">
        <p14:creationId xmlns:p14="http://schemas.microsoft.com/office/powerpoint/2010/main" val="3825668860"/>
      </p:ext>
    </p:extLst>
  </p:cSld>
  <p:clrMap bg1="lt1" tx1="dk1" bg2="lt2" tx2="dk2" accent1="accent1" accent2="accent2" accent3="accent3" accent4="accent4" accent5="accent5" accent6="accent6" hlink="hlink" folHlink="folHlink"/>
  <p:sldLayoutIdLst>
    <p:sldLayoutId id="2147484097" r:id="rId1"/>
    <p:sldLayoutId id="2147484098" r:id="rId2"/>
  </p:sldLayoutIdLst>
  <p:hf hdr="0" ftr="0" dt="0"/>
  <p:txStyles>
    <p:titleStyle>
      <a:lvl1pPr algn="l" defTabSz="914400" rtl="0" eaLnBrk="1" latinLnBrk="0" hangingPunct="1">
        <a:lnSpc>
          <a:spcPct val="85000"/>
        </a:lnSpc>
        <a:spcBef>
          <a:spcPct val="0"/>
        </a:spcBef>
        <a:buNone/>
        <a:defRPr sz="3600" b="0" i="0" kern="100" spc="-30" baseline="0">
          <a:solidFill>
            <a:schemeClr val="tx1"/>
          </a:solidFill>
          <a:latin typeface="Forever Forma Heading" pitchFamily="2" charset="0"/>
          <a:ea typeface="+mj-ea"/>
          <a:cs typeface="+mj-cs"/>
        </a:defRPr>
      </a:lvl1pPr>
    </p:titleStyle>
    <p:body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600"/>
        </a:spcBef>
        <a:buClrTx/>
        <a:buFont typeface="Wingdings" pitchFamily="2" charset="2"/>
        <a:buChar char="§"/>
        <a:defRPr sz="1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p:bodyStyle>
    <p:otherStyle>
      <a:defPPr>
        <a:defRPr lang="en-US"/>
      </a:defPPr>
      <a:lvl1pPr marL="0" indent="0" algn="l" defTabSz="914400" rtl="0" eaLnBrk="1" latinLnBrk="0" hangingPunct="1">
        <a:lnSpc>
          <a:spcPct val="100000"/>
        </a:lnSpc>
        <a:spcBef>
          <a:spcPts val="0"/>
        </a:spcBef>
        <a:buClr>
          <a:srgbClr val="281805"/>
        </a:buClr>
        <a:buFont typeface="Arial" panose="020B0604020202020204" pitchFamily="34" charset="0"/>
        <a:buChar char="​"/>
        <a:defRPr sz="1800" b="0" kern="1200">
          <a:solidFill>
            <a:schemeClr val="tx1"/>
          </a:solidFill>
          <a:latin typeface="+mn-lt"/>
          <a:ea typeface="+mn-ea"/>
          <a:cs typeface="+mn-cs"/>
        </a:defRPr>
      </a:lvl1pPr>
      <a:lvl2pPr marL="180000" indent="-180000" algn="l" defTabSz="914400" rtl="0" eaLnBrk="1" latinLnBrk="0" hangingPunct="1">
        <a:lnSpc>
          <a:spcPct val="100000"/>
        </a:lnSpc>
        <a:spcBef>
          <a:spcPts val="0"/>
        </a:spcBef>
        <a:buClr>
          <a:srgbClr val="281805"/>
        </a:buClr>
        <a:buFont typeface="Arial" panose="020E0502030303020204" pitchFamily="34" charset="0"/>
        <a:buChar char="•"/>
        <a:defRPr sz="1800" b="0" kern="1200">
          <a:solidFill>
            <a:schemeClr val="tx1"/>
          </a:solidFill>
          <a:latin typeface="+mn-lt"/>
          <a:ea typeface="+mn-ea"/>
          <a:cs typeface="+mn-cs"/>
        </a:defRPr>
      </a:lvl2pPr>
      <a:lvl3pPr marL="360000" indent="-180000" algn="l" defTabSz="914400" rtl="0" eaLnBrk="1" latinLnBrk="0" hangingPunct="1">
        <a:lnSpc>
          <a:spcPct val="100000"/>
        </a:lnSpc>
        <a:spcBef>
          <a:spcPts val="0"/>
        </a:spcBef>
        <a:buClr>
          <a:srgbClr val="281805"/>
        </a:buClr>
        <a:buFont typeface="Arial" panose="020E0502030303020204" pitchFamily="34" charset="0"/>
        <a:buChar char="–"/>
        <a:defRPr sz="1800" b="0" kern="1200">
          <a:solidFill>
            <a:schemeClr val="tx1"/>
          </a:solidFill>
          <a:latin typeface="+mn-lt"/>
          <a:ea typeface="+mn-ea"/>
          <a:cs typeface="+mn-cs"/>
        </a:defRPr>
      </a:lvl3pPr>
      <a:lvl4pPr marL="540000" indent="-180000" algn="l" defTabSz="914400" rtl="0" eaLnBrk="1" latinLnBrk="0" hangingPunct="1">
        <a:lnSpc>
          <a:spcPct val="100000"/>
        </a:lnSpc>
        <a:spcBef>
          <a:spcPts val="0"/>
        </a:spcBef>
        <a:buClr>
          <a:srgbClr val="281805"/>
        </a:buClr>
        <a:buFont typeface="Arial" panose="020E0502030303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00000"/>
        </a:lnSpc>
        <a:spcBef>
          <a:spcPts val="0"/>
        </a:spcBef>
        <a:buClr>
          <a:srgbClr val="281805"/>
        </a:buClr>
        <a:buSzPct val="100000"/>
        <a:buFont typeface="Arial" panose="020E0502030303020204" pitchFamily="34" charset="0"/>
        <a:buChar char="–"/>
        <a:defRPr sz="1800" kern="1200">
          <a:solidFill>
            <a:schemeClr val="tx1"/>
          </a:solidFill>
          <a:latin typeface="+mn-lt"/>
          <a:ea typeface="+mn-ea"/>
          <a:cs typeface="+mn-cs"/>
        </a:defRPr>
      </a:lvl5pPr>
      <a:lvl6pPr marL="180000" indent="-180000" algn="l" defTabSz="914400" rtl="0" eaLnBrk="1" latinLnBrk="0" hangingPunct="1">
        <a:lnSpc>
          <a:spcPct val="100000"/>
        </a:lnSpc>
        <a:spcBef>
          <a:spcPts val="0"/>
        </a:spcBef>
        <a:buClr>
          <a:srgbClr val="281805"/>
        </a:buClr>
        <a:buSzPct val="90000"/>
        <a:buFont typeface="+mj-lt"/>
        <a:buAutoNum type="arabicPeriod"/>
        <a:defRPr sz="1800" kern="1200">
          <a:solidFill>
            <a:schemeClr val="tx1"/>
          </a:solidFill>
          <a:latin typeface="+mn-lt"/>
          <a:ea typeface="+mn-ea"/>
          <a:cs typeface="+mn-cs"/>
        </a:defRPr>
      </a:lvl6pPr>
      <a:lvl7pPr marL="360000" indent="-180000" algn="l" defTabSz="914400" rtl="0" eaLnBrk="1" latinLnBrk="0" hangingPunct="1">
        <a:lnSpc>
          <a:spcPct val="100000"/>
        </a:lnSpc>
        <a:spcBef>
          <a:spcPts val="0"/>
        </a:spcBef>
        <a:buClr>
          <a:srgbClr val="281805"/>
        </a:buClr>
        <a:buSzPct val="100000"/>
        <a:buFont typeface="Arial" panose="020E0502030303020204" pitchFamily="34" charset="0"/>
        <a:buChar char="–"/>
        <a:defRPr sz="1800" kern="1200">
          <a:solidFill>
            <a:schemeClr val="tx1"/>
          </a:solidFill>
          <a:latin typeface="+mn-lt"/>
          <a:ea typeface="+mn-ea"/>
          <a:cs typeface="+mn-cs"/>
        </a:defRPr>
      </a:lvl7pPr>
      <a:lvl8pPr marL="0" indent="0" algn="l" defTabSz="914400" rtl="0" eaLnBrk="1" latinLnBrk="0" hangingPunct="1">
        <a:lnSpc>
          <a:spcPct val="100000"/>
        </a:lnSpc>
        <a:spcBef>
          <a:spcPts val="0"/>
        </a:spcBef>
        <a:buClr>
          <a:srgbClr val="281805"/>
        </a:buClr>
        <a:buFont typeface="Arial" panose="020B0604020202020204" pitchFamily="34" charset="0"/>
        <a:buChar char="​"/>
        <a:defRPr sz="1800" b="1" kern="1200">
          <a:solidFill>
            <a:srgbClr val="281805"/>
          </a:solidFill>
          <a:latin typeface="+mn-lt"/>
          <a:ea typeface="+mn-ea"/>
          <a:cs typeface="+mn-cs"/>
        </a:defRPr>
      </a:lvl8pPr>
      <a:lvl9pPr marL="0" indent="0" algn="l" defTabSz="914400" rtl="0" eaLnBrk="1" latinLnBrk="0" hangingPunct="1">
        <a:lnSpc>
          <a:spcPct val="100000"/>
        </a:lnSpc>
        <a:spcBef>
          <a:spcPts val="0"/>
        </a:spcBef>
        <a:buClr>
          <a:srgbClr val="281805"/>
        </a:buClr>
        <a:buFont typeface="Arial" panose="020B0604020202020204" pitchFamily="34" charset="0"/>
        <a:buChar char="​"/>
        <a:defRPr sz="1800" b="1" kern="1200">
          <a:solidFill>
            <a:srgbClr val="281805"/>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1D7DBB37-5DB1-AF5A-3D0F-54CF80A6EF41}"/>
              </a:ext>
              <a:ext uri="{C183D7F6-B498-43B3-948B-1728B52AA6E4}">
                <adec:decorative xmlns:adec="http://schemas.microsoft.com/office/drawing/2017/decorative" val="1"/>
              </a:ext>
            </a:extLst>
          </p:cNvPr>
          <p:cNvGraphicFramePr>
            <a:graphicFrameLocks noChangeAspect="1"/>
          </p:cNvGraphicFramePr>
          <p:nvPr userDrawn="1">
            <p:custDataLst>
              <p:tags r:id="rId12"/>
            </p:custDataLst>
            <p:extLst>
              <p:ext uri="{D42A27DB-BD31-4B8C-83A1-F6EECF244321}">
                <p14:modId xmlns:p14="http://schemas.microsoft.com/office/powerpoint/2010/main" val="25605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06" imgH="306" progId="TCLayout.ActiveDocument.1">
                  <p:embed/>
                </p:oleObj>
              </mc:Choice>
              <mc:Fallback>
                <p:oleObj name="think-cell Slide" r:id="rId13" imgW="306" imgH="306" progId="TCLayout.ActiveDocument.1">
                  <p:embed/>
                  <p:pic>
                    <p:nvPicPr>
                      <p:cNvPr id="10" name="think-cell data - do not delete" hidden="1">
                        <a:extLst>
                          <a:ext uri="{FF2B5EF4-FFF2-40B4-BE49-F238E27FC236}">
                            <a16:creationId xmlns:a16="http://schemas.microsoft.com/office/drawing/2014/main" id="{1D7DBB37-5DB1-AF5A-3D0F-54CF80A6EF41}"/>
                          </a:ext>
                          <a:ext uri="{C183D7F6-B498-43B3-948B-1728B52AA6E4}">
                            <adec:decorative xmlns:adec="http://schemas.microsoft.com/office/drawing/2017/decorative" val="1"/>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6F25A6B-8F5B-A241-A3BD-B5FDE9F512C5}"/>
              </a:ext>
            </a:extLst>
          </p:cNvPr>
          <p:cNvSpPr>
            <a:spLocks noGrp="1"/>
          </p:cNvSpPr>
          <p:nvPr>
            <p:ph type="dt" sz="half" idx="2"/>
          </p:nvPr>
        </p:nvSpPr>
        <p:spPr>
          <a:xfrm>
            <a:off x="10932000" y="2016"/>
            <a:ext cx="1260000" cy="319084"/>
          </a:xfrm>
          <a:prstGeom prst="rect">
            <a:avLst/>
          </a:prstGeom>
        </p:spPr>
        <p:txBody>
          <a:bodyPr vert="horz" wrap="none" lIns="72000" tIns="72000" rIns="72000" bIns="72000" rtlCol="0" anchor="ctr">
            <a:noAutofit/>
          </a:bodyPr>
          <a:lstStyle>
            <a:lvl1pPr algn="r">
              <a:defRPr sz="800" b="0" i="0">
                <a:solidFill>
                  <a:srgbClr val="281805"/>
                </a:solidFill>
                <a:latin typeface="Forever Forma Body Text" pitchFamily="2" charset="0"/>
              </a:defRPr>
            </a:lvl1pPr>
          </a:lstStyle>
          <a:p>
            <a:fld id="{8F81B36D-59DF-42A0-ABF0-6A71ABA2C4CD}" type="datetime3">
              <a:rPr lang="en-US" smtClean="0"/>
              <a:pPr/>
              <a:t>15 January 2026</a:t>
            </a:fld>
            <a:endParaRPr lang="en-US"/>
          </a:p>
        </p:txBody>
      </p:sp>
      <p:sp>
        <p:nvSpPr>
          <p:cNvPr id="2" name="Title Placeholder 1">
            <a:extLst>
              <a:ext uri="{FF2B5EF4-FFF2-40B4-BE49-F238E27FC236}">
                <a16:creationId xmlns:a16="http://schemas.microsoft.com/office/drawing/2014/main" id="{DF001C83-36AE-A5E2-4E80-B3AD2D747168}"/>
              </a:ext>
            </a:extLst>
          </p:cNvPr>
          <p:cNvSpPr>
            <a:spLocks noGrp="1"/>
          </p:cNvSpPr>
          <p:nvPr>
            <p:ph type="title"/>
          </p:nvPr>
        </p:nvSpPr>
        <p:spPr>
          <a:xfrm>
            <a:off x="521205" y="324212"/>
            <a:ext cx="11149576" cy="944787"/>
          </a:xfrm>
          <a:prstGeom prst="rect">
            <a:avLst/>
          </a:prstGeom>
        </p:spPr>
        <p:txBody>
          <a:bodyPr vert="horz" lIns="0" tIns="0" rIns="0" bIns="0" rtlCol="0" anchor="t" anchorCtr="0">
            <a:noAutofit/>
          </a:bodyPr>
          <a:lstStyle/>
          <a:p>
            <a:r>
              <a:rPr lang="en-US"/>
              <a:t>Click to edit </a:t>
            </a:r>
            <a:br>
              <a:rPr lang="en-US"/>
            </a:br>
            <a:r>
              <a:rPr lang="en-US"/>
              <a:t>Master title style</a:t>
            </a:r>
          </a:p>
        </p:txBody>
      </p:sp>
      <p:sp>
        <p:nvSpPr>
          <p:cNvPr id="3" name="Text Placeholder 2">
            <a:extLst>
              <a:ext uri="{FF2B5EF4-FFF2-40B4-BE49-F238E27FC236}">
                <a16:creationId xmlns:a16="http://schemas.microsoft.com/office/drawing/2014/main" id="{E0A85944-6880-CBB6-BA63-4A90CA93596A}"/>
              </a:ext>
            </a:extLst>
          </p:cNvPr>
          <p:cNvSpPr>
            <a:spLocks noGrp="1"/>
          </p:cNvSpPr>
          <p:nvPr>
            <p:ph type="body" idx="1"/>
          </p:nvPr>
        </p:nvSpPr>
        <p:spPr>
          <a:xfrm>
            <a:off x="521208" y="1296000"/>
            <a:ext cx="11149576" cy="475394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Slide Number Placeholder 5">
            <a:extLst>
              <a:ext uri="{FF2B5EF4-FFF2-40B4-BE49-F238E27FC236}">
                <a16:creationId xmlns:a16="http://schemas.microsoft.com/office/drawing/2014/main" id="{CAA63915-CBC8-75C7-C27B-2ADA3EEF69F8}"/>
              </a:ext>
              <a:ext uri="{C183D7F6-B498-43B3-948B-1728B52AA6E4}">
                <adec:decorative xmlns:adec="http://schemas.microsoft.com/office/drawing/2017/decorative" val="1"/>
              </a:ext>
            </a:extLst>
          </p:cNvPr>
          <p:cNvSpPr>
            <a:spLocks noGrp="1"/>
          </p:cNvSpPr>
          <p:nvPr>
            <p:ph type="sldNum" sz="quarter" idx="4"/>
          </p:nvPr>
        </p:nvSpPr>
        <p:spPr>
          <a:xfrm>
            <a:off x="0" y="6049950"/>
            <a:ext cx="806400" cy="808050"/>
          </a:xfrm>
          <a:prstGeom prst="rect">
            <a:avLst/>
          </a:prstGeom>
        </p:spPr>
        <p:txBody>
          <a:bodyPr vert="horz" lIns="518400" tIns="0" rIns="64800" bIns="309600" rtlCol="0" anchor="b" anchorCtr="0">
            <a:noAutofit/>
          </a:bodyPr>
          <a:lstStyle>
            <a:lvl1pPr algn="l">
              <a:defRPr sz="900" b="0" i="0">
                <a:solidFill>
                  <a:schemeClr val="tx1"/>
                </a:solidFill>
                <a:latin typeface="Forever Forma Body Text" pitchFamily="2" charset="0"/>
              </a:defRPr>
            </a:lvl1pPr>
          </a:lstStyle>
          <a:p>
            <a:fld id="{1C1606C5-D483-4832-A0E9-CF578A9B5883}" type="slidenum">
              <a:rPr lang="en-US" smtClean="0"/>
              <a:pPr/>
              <a:t>‹#›</a:t>
            </a:fld>
            <a:endParaRPr lang="en-US"/>
          </a:p>
        </p:txBody>
      </p:sp>
      <p:grpSp>
        <p:nvGrpSpPr>
          <p:cNvPr id="79" name="Group 78" hidden="1">
            <a:extLst>
              <a:ext uri="{FF2B5EF4-FFF2-40B4-BE49-F238E27FC236}">
                <a16:creationId xmlns:a16="http://schemas.microsoft.com/office/drawing/2014/main" id="{BA72FC20-E2CA-59C4-7B21-62C9115E46A8}"/>
              </a:ext>
              <a:ext uri="{C183D7F6-B498-43B3-948B-1728B52AA6E4}">
                <adec:decorative xmlns:adec="http://schemas.microsoft.com/office/drawing/2017/decorative" val="1"/>
              </a:ext>
            </a:extLst>
          </p:cNvPr>
          <p:cNvGrpSpPr>
            <a:grpSpLocks noGrp="1" noUngrp="1" noRot="1" noMove="1" noResize="1"/>
          </p:cNvGrpSpPr>
          <p:nvPr userDrawn="1"/>
        </p:nvGrpSpPr>
        <p:grpSpPr>
          <a:xfrm>
            <a:off x="-282166" y="-250200"/>
            <a:ext cx="12756333" cy="7357336"/>
            <a:chOff x="-282166" y="-250200"/>
            <a:chExt cx="12756333" cy="7357336"/>
          </a:xfrm>
        </p:grpSpPr>
        <p:grpSp>
          <p:nvGrpSpPr>
            <p:cNvPr id="48" name="Group 47">
              <a:extLst>
                <a:ext uri="{FF2B5EF4-FFF2-40B4-BE49-F238E27FC236}">
                  <a16:creationId xmlns:a16="http://schemas.microsoft.com/office/drawing/2014/main" id="{A2B8D85E-52EF-FA63-9592-265E43AD271D}"/>
                </a:ext>
              </a:extLst>
            </p:cNvPr>
            <p:cNvGrpSpPr>
              <a:grpSpLocks noGrp="1" noUngrp="1" noRot="1" noMove="1" noResize="1"/>
            </p:cNvGrpSpPr>
            <p:nvPr userDrawn="1"/>
          </p:nvGrpSpPr>
          <p:grpSpPr>
            <a:xfrm>
              <a:off x="-282166" y="-249136"/>
              <a:ext cx="766850" cy="1806436"/>
              <a:chOff x="-282166" y="-249136"/>
              <a:chExt cx="766850" cy="1806436"/>
            </a:xfrm>
          </p:grpSpPr>
          <p:cxnSp>
            <p:nvCxnSpPr>
              <p:cNvPr id="40" name="Straight Connector 39">
                <a:extLst>
                  <a:ext uri="{FF2B5EF4-FFF2-40B4-BE49-F238E27FC236}">
                    <a16:creationId xmlns:a16="http://schemas.microsoft.com/office/drawing/2014/main" id="{8D6D0D5E-5313-2E8E-FAC4-9AE8AC71A06F}"/>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8468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2E47E72-9EED-156D-E1C9-0EF9F58EB76B}"/>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4860373-8117-E073-7E3E-240392FEC0F3}"/>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173599"/>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B8D9028B-4948-B67E-79B8-A1A4C3540ECC}"/>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4619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A97BD11A-2E6F-80FC-4AC5-0F4673578EF2}"/>
                </a:ext>
              </a:extLst>
            </p:cNvPr>
            <p:cNvGrpSpPr>
              <a:grpSpLocks noGrp="1" noUngrp="1" noRot="1" noMove="1" noResize="1"/>
            </p:cNvGrpSpPr>
            <p:nvPr userDrawn="1"/>
          </p:nvGrpSpPr>
          <p:grpSpPr>
            <a:xfrm flipV="1">
              <a:off x="-282166" y="6669000"/>
              <a:ext cx="766850" cy="438136"/>
              <a:chOff x="-282166" y="-249136"/>
              <a:chExt cx="766850" cy="438136"/>
            </a:xfrm>
          </p:grpSpPr>
          <p:cxnSp>
            <p:nvCxnSpPr>
              <p:cNvPr id="54" name="Straight Connector 53">
                <a:extLst>
                  <a:ext uri="{FF2B5EF4-FFF2-40B4-BE49-F238E27FC236}">
                    <a16:creationId xmlns:a16="http://schemas.microsoft.com/office/drawing/2014/main" id="{333A3C60-6DDF-0E86-7A5D-C9E2DC700AC6}"/>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8468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973A5B8-A847-F13D-C557-F6CAA8F1C3BC}"/>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6D787A70-EF66-4785-95AD-991F81706E7F}"/>
                </a:ext>
              </a:extLst>
            </p:cNvPr>
            <p:cNvGrpSpPr>
              <a:grpSpLocks noGrp="1" noUngrp="1" noRot="1" noMove="1" noResize="1"/>
            </p:cNvGrpSpPr>
            <p:nvPr userDrawn="1"/>
          </p:nvGrpSpPr>
          <p:grpSpPr>
            <a:xfrm flipH="1">
              <a:off x="11716147" y="-250200"/>
              <a:ext cx="758020" cy="1806436"/>
              <a:chOff x="-282166" y="-249136"/>
              <a:chExt cx="758020" cy="1806436"/>
            </a:xfrm>
          </p:grpSpPr>
          <p:cxnSp>
            <p:nvCxnSpPr>
              <p:cNvPr id="64" name="Straight Connector 63">
                <a:extLst>
                  <a:ext uri="{FF2B5EF4-FFF2-40B4-BE49-F238E27FC236}">
                    <a16:creationId xmlns:a16="http://schemas.microsoft.com/office/drawing/2014/main" id="{0C36DF73-1683-B9E0-DAE2-CC4FA9411740}"/>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7585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074D68E9-43F3-F793-E58E-42D96487CDA0}"/>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A51D9C8-457F-A702-330E-3E83FF49A907}"/>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173599"/>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8317C7D4-4BF5-ECE3-AB0F-69BAEB0392E2}"/>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4619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B1F3722B-662F-EE1F-F28F-2117DFF43FC7}"/>
                </a:ext>
              </a:extLst>
            </p:cNvPr>
            <p:cNvGrpSpPr>
              <a:grpSpLocks noGrp="1" noUngrp="1" noRot="1" noMove="1" noResize="1"/>
            </p:cNvGrpSpPr>
            <p:nvPr userDrawn="1"/>
          </p:nvGrpSpPr>
          <p:grpSpPr>
            <a:xfrm flipH="1" flipV="1">
              <a:off x="11716147" y="6669000"/>
              <a:ext cx="758020" cy="438136"/>
              <a:chOff x="-282166" y="-249136"/>
              <a:chExt cx="758020" cy="438136"/>
            </a:xfrm>
          </p:grpSpPr>
          <p:cxnSp>
            <p:nvCxnSpPr>
              <p:cNvPr id="60" name="Straight Connector 59">
                <a:extLst>
                  <a:ext uri="{FF2B5EF4-FFF2-40B4-BE49-F238E27FC236}">
                    <a16:creationId xmlns:a16="http://schemas.microsoft.com/office/drawing/2014/main" id="{31A63819-901C-AE9C-B688-44EE3E52D123}"/>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7585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E85C02E4-A713-5717-13B4-0D5BEFA009BA}"/>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pic>
        <p:nvPicPr>
          <p:cNvPr id="7" name="logo sm" descr="Transamerica Logo">
            <a:extLst>
              <a:ext uri="{FF2B5EF4-FFF2-40B4-BE49-F238E27FC236}">
                <a16:creationId xmlns:a16="http://schemas.microsoft.com/office/drawing/2014/main" id="{E8E14561-69C7-C85B-AE9E-F1AC72D424DC}"/>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9799200" y="6053050"/>
            <a:ext cx="2138400" cy="804950"/>
          </a:xfrm>
          <a:prstGeom prst="rect">
            <a:avLst/>
          </a:prstGeom>
        </p:spPr>
      </p:pic>
      <p:grpSp>
        <p:nvGrpSpPr>
          <p:cNvPr id="24" name="Group 23" hidden="1">
            <a:extLst>
              <a:ext uri="{FF2B5EF4-FFF2-40B4-BE49-F238E27FC236}">
                <a16:creationId xmlns:a16="http://schemas.microsoft.com/office/drawing/2014/main" id="{7689F110-0941-B07F-153C-140E14E05BE5}"/>
              </a:ext>
            </a:extLst>
          </p:cNvPr>
          <p:cNvGrpSpPr/>
          <p:nvPr userDrawn="1"/>
        </p:nvGrpSpPr>
        <p:grpSpPr>
          <a:xfrm>
            <a:off x="521207" y="0"/>
            <a:ext cx="11149581" cy="3860999"/>
            <a:chOff x="521207" y="0"/>
            <a:chExt cx="11149581" cy="3860999"/>
          </a:xfrm>
        </p:grpSpPr>
        <p:sp>
          <p:nvSpPr>
            <p:cNvPr id="5" name="Title 1">
              <a:extLst>
                <a:ext uri="{FF2B5EF4-FFF2-40B4-BE49-F238E27FC236}">
                  <a16:creationId xmlns:a16="http://schemas.microsoft.com/office/drawing/2014/main" id="{C1D413FE-03CE-E672-098E-941F051A2EA2}"/>
                </a:ext>
              </a:extLst>
            </p:cNvPr>
            <p:cNvSpPr txBox="1">
              <a:spLocks/>
            </p:cNvSpPr>
            <p:nvPr userDrawn="1"/>
          </p:nvSpPr>
          <p:spPr>
            <a:xfrm>
              <a:off x="521207" y="0"/>
              <a:ext cx="11149581" cy="262798"/>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a:t> </a:t>
              </a:r>
            </a:p>
          </p:txBody>
        </p:sp>
        <p:sp>
          <p:nvSpPr>
            <p:cNvPr id="20" name="Title 1">
              <a:extLst>
                <a:ext uri="{FF2B5EF4-FFF2-40B4-BE49-F238E27FC236}">
                  <a16:creationId xmlns:a16="http://schemas.microsoft.com/office/drawing/2014/main" id="{3AACF22A-E7D6-036A-A047-5FDFE0292D95}"/>
                </a:ext>
              </a:extLst>
            </p:cNvPr>
            <p:cNvSpPr txBox="1">
              <a:spLocks/>
            </p:cNvSpPr>
            <p:nvPr userDrawn="1"/>
          </p:nvSpPr>
          <p:spPr>
            <a:xfrm>
              <a:off x="521207" y="1744716"/>
              <a:ext cx="11149581" cy="2116283"/>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a:t>Click to edit title</a:t>
              </a:r>
            </a:p>
          </p:txBody>
        </p:sp>
        <p:sp>
          <p:nvSpPr>
            <p:cNvPr id="23" name="Title 1">
              <a:extLst>
                <a:ext uri="{FF2B5EF4-FFF2-40B4-BE49-F238E27FC236}">
                  <a16:creationId xmlns:a16="http://schemas.microsoft.com/office/drawing/2014/main" id="{99183974-AC97-E968-FAA3-1131280530FC}"/>
                </a:ext>
              </a:extLst>
            </p:cNvPr>
            <p:cNvSpPr txBox="1">
              <a:spLocks/>
            </p:cNvSpPr>
            <p:nvPr userDrawn="1"/>
          </p:nvSpPr>
          <p:spPr>
            <a:xfrm>
              <a:off x="521207" y="259563"/>
              <a:ext cx="11149581" cy="64800"/>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a:t> </a:t>
              </a:r>
            </a:p>
          </p:txBody>
        </p:sp>
      </p:grpSp>
    </p:spTree>
    <p:extLst>
      <p:ext uri="{BB962C8B-B14F-4D97-AF65-F5344CB8AC3E}">
        <p14:creationId xmlns:p14="http://schemas.microsoft.com/office/powerpoint/2010/main" val="2954458772"/>
      </p:ext>
    </p:extLst>
  </p:cSld>
  <p:clrMap bg1="lt1" tx1="dk1" bg2="lt2" tx2="dk2" accent1="accent1" accent2="accent2" accent3="accent3" accent4="accent4" accent5="accent5" accent6="accent6" hlink="hlink" folHlink="folHlink"/>
  <p:sldLayoutIdLst>
    <p:sldLayoutId id="2147484130" r:id="rId1"/>
    <p:sldLayoutId id="2147484131" r:id="rId2"/>
    <p:sldLayoutId id="2147484132" r:id="rId3"/>
    <p:sldLayoutId id="2147484133" r:id="rId4"/>
    <p:sldLayoutId id="2147484134" r:id="rId5"/>
    <p:sldLayoutId id="2147484135" r:id="rId6"/>
    <p:sldLayoutId id="2147484136" r:id="rId7"/>
    <p:sldLayoutId id="2147484137" r:id="rId8"/>
    <p:sldLayoutId id="2147484139" r:id="rId9"/>
    <p:sldLayoutId id="2147484140" r:id="rId10"/>
  </p:sldLayoutIdLst>
  <p:hf hdr="0" ftr="0" dt="0"/>
  <p:txStyles>
    <p:titleStyle>
      <a:lvl1pPr algn="l" defTabSz="914400" rtl="0" eaLnBrk="1" latinLnBrk="0" hangingPunct="1">
        <a:lnSpc>
          <a:spcPct val="85000"/>
        </a:lnSpc>
        <a:spcBef>
          <a:spcPct val="0"/>
        </a:spcBef>
        <a:buNone/>
        <a:defRPr sz="3600" b="0" i="0" kern="100" spc="-30" baseline="0">
          <a:solidFill>
            <a:schemeClr val="tx1"/>
          </a:solidFill>
          <a:latin typeface="Forever Forma Heading" pitchFamily="2" charset="0"/>
          <a:ea typeface="+mj-ea"/>
          <a:cs typeface="+mj-cs"/>
        </a:defRPr>
      </a:lvl1pPr>
    </p:titleStyle>
    <p:body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600"/>
        </a:spcBef>
        <a:buClrTx/>
        <a:buFont typeface="Wingdings" pitchFamily="2" charset="2"/>
        <a:buChar char="§"/>
        <a:defRPr sz="1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p:bodyStyle>
    <p:otherStyle>
      <a:defPPr>
        <a:defRPr lang="en-US"/>
      </a:defPPr>
      <a:lvl1pPr marL="0" indent="0" algn="l" defTabSz="914400" rtl="0" eaLnBrk="1" latinLnBrk="0" hangingPunct="1">
        <a:lnSpc>
          <a:spcPct val="100000"/>
        </a:lnSpc>
        <a:spcBef>
          <a:spcPts val="0"/>
        </a:spcBef>
        <a:buClr>
          <a:srgbClr val="281805"/>
        </a:buClr>
        <a:buFont typeface="Arial" panose="020B0604020202020204" pitchFamily="34" charset="0"/>
        <a:buChar char="​"/>
        <a:defRPr sz="1800" b="0" kern="1200">
          <a:solidFill>
            <a:schemeClr val="tx1"/>
          </a:solidFill>
          <a:latin typeface="+mn-lt"/>
          <a:ea typeface="+mn-ea"/>
          <a:cs typeface="+mn-cs"/>
        </a:defRPr>
      </a:lvl1pPr>
      <a:lvl2pPr marL="180000" indent="-180000" algn="l" defTabSz="914400" rtl="0" eaLnBrk="1" latinLnBrk="0" hangingPunct="1">
        <a:lnSpc>
          <a:spcPct val="100000"/>
        </a:lnSpc>
        <a:spcBef>
          <a:spcPts val="0"/>
        </a:spcBef>
        <a:buClr>
          <a:srgbClr val="281805"/>
        </a:buClr>
        <a:buFont typeface="Arial" panose="020E0502030303020204" pitchFamily="34" charset="0"/>
        <a:buChar char="•"/>
        <a:defRPr sz="1800" b="0" kern="1200">
          <a:solidFill>
            <a:schemeClr val="tx1"/>
          </a:solidFill>
          <a:latin typeface="+mn-lt"/>
          <a:ea typeface="+mn-ea"/>
          <a:cs typeface="+mn-cs"/>
        </a:defRPr>
      </a:lvl2pPr>
      <a:lvl3pPr marL="360000" indent="-180000" algn="l" defTabSz="914400" rtl="0" eaLnBrk="1" latinLnBrk="0" hangingPunct="1">
        <a:lnSpc>
          <a:spcPct val="100000"/>
        </a:lnSpc>
        <a:spcBef>
          <a:spcPts val="0"/>
        </a:spcBef>
        <a:buClr>
          <a:srgbClr val="281805"/>
        </a:buClr>
        <a:buFont typeface="Arial" panose="020E0502030303020204" pitchFamily="34" charset="0"/>
        <a:buChar char="–"/>
        <a:defRPr sz="1800" b="0" kern="1200">
          <a:solidFill>
            <a:schemeClr val="tx1"/>
          </a:solidFill>
          <a:latin typeface="+mn-lt"/>
          <a:ea typeface="+mn-ea"/>
          <a:cs typeface="+mn-cs"/>
        </a:defRPr>
      </a:lvl3pPr>
      <a:lvl4pPr marL="540000" indent="-180000" algn="l" defTabSz="914400" rtl="0" eaLnBrk="1" latinLnBrk="0" hangingPunct="1">
        <a:lnSpc>
          <a:spcPct val="100000"/>
        </a:lnSpc>
        <a:spcBef>
          <a:spcPts val="0"/>
        </a:spcBef>
        <a:buClr>
          <a:srgbClr val="281805"/>
        </a:buClr>
        <a:buFont typeface="Arial" panose="020E0502030303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00000"/>
        </a:lnSpc>
        <a:spcBef>
          <a:spcPts val="0"/>
        </a:spcBef>
        <a:buClr>
          <a:srgbClr val="281805"/>
        </a:buClr>
        <a:buSzPct val="100000"/>
        <a:buFont typeface="Arial" panose="020E0502030303020204" pitchFamily="34" charset="0"/>
        <a:buChar char="–"/>
        <a:defRPr sz="1800" kern="1200">
          <a:solidFill>
            <a:schemeClr val="tx1"/>
          </a:solidFill>
          <a:latin typeface="+mn-lt"/>
          <a:ea typeface="+mn-ea"/>
          <a:cs typeface="+mn-cs"/>
        </a:defRPr>
      </a:lvl5pPr>
      <a:lvl6pPr marL="180000" indent="-180000" algn="l" defTabSz="914400" rtl="0" eaLnBrk="1" latinLnBrk="0" hangingPunct="1">
        <a:lnSpc>
          <a:spcPct val="100000"/>
        </a:lnSpc>
        <a:spcBef>
          <a:spcPts val="0"/>
        </a:spcBef>
        <a:buClr>
          <a:srgbClr val="281805"/>
        </a:buClr>
        <a:buSzPct val="90000"/>
        <a:buFont typeface="+mj-lt"/>
        <a:buAutoNum type="arabicPeriod"/>
        <a:defRPr sz="1800" kern="1200">
          <a:solidFill>
            <a:schemeClr val="tx1"/>
          </a:solidFill>
          <a:latin typeface="+mn-lt"/>
          <a:ea typeface="+mn-ea"/>
          <a:cs typeface="+mn-cs"/>
        </a:defRPr>
      </a:lvl6pPr>
      <a:lvl7pPr marL="360000" indent="-180000" algn="l" defTabSz="914400" rtl="0" eaLnBrk="1" latinLnBrk="0" hangingPunct="1">
        <a:lnSpc>
          <a:spcPct val="100000"/>
        </a:lnSpc>
        <a:spcBef>
          <a:spcPts val="0"/>
        </a:spcBef>
        <a:buClr>
          <a:srgbClr val="281805"/>
        </a:buClr>
        <a:buSzPct val="100000"/>
        <a:buFont typeface="Arial" panose="020E0502030303020204" pitchFamily="34" charset="0"/>
        <a:buChar char="–"/>
        <a:defRPr sz="1800" kern="1200">
          <a:solidFill>
            <a:schemeClr val="tx1"/>
          </a:solidFill>
          <a:latin typeface="+mn-lt"/>
          <a:ea typeface="+mn-ea"/>
          <a:cs typeface="+mn-cs"/>
        </a:defRPr>
      </a:lvl7pPr>
      <a:lvl8pPr marL="0" indent="0" algn="l" defTabSz="914400" rtl="0" eaLnBrk="1" latinLnBrk="0" hangingPunct="1">
        <a:lnSpc>
          <a:spcPct val="100000"/>
        </a:lnSpc>
        <a:spcBef>
          <a:spcPts val="0"/>
        </a:spcBef>
        <a:buClr>
          <a:srgbClr val="281805"/>
        </a:buClr>
        <a:buFont typeface="Arial" panose="020B0604020202020204" pitchFamily="34" charset="0"/>
        <a:buChar char="​"/>
        <a:defRPr sz="1800" b="1" kern="1200">
          <a:solidFill>
            <a:srgbClr val="281805"/>
          </a:solidFill>
          <a:latin typeface="+mn-lt"/>
          <a:ea typeface="+mn-ea"/>
          <a:cs typeface="+mn-cs"/>
        </a:defRPr>
      </a:lvl8pPr>
      <a:lvl9pPr marL="0" indent="0" algn="l" defTabSz="914400" rtl="0" eaLnBrk="1" latinLnBrk="0" hangingPunct="1">
        <a:lnSpc>
          <a:spcPct val="100000"/>
        </a:lnSpc>
        <a:spcBef>
          <a:spcPts val="0"/>
        </a:spcBef>
        <a:buClr>
          <a:srgbClr val="281805"/>
        </a:buClr>
        <a:buFont typeface="Arial" panose="020B0604020202020204" pitchFamily="34" charset="0"/>
        <a:buChar char="​"/>
        <a:defRPr sz="1800" b="1" kern="1200">
          <a:solidFill>
            <a:srgbClr val="281805"/>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0D5FBA4-03B3-1DF0-3604-F40DE78079C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E81790B-4765-C850-46F9-1CABC8ADEE2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F1308D7-9193-99D9-55D3-C81BD4206ED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E973BBE3-9153-46B2-8FA8-B7CF6202469E}" type="datetimeFigureOut">
              <a:rPr lang="en-US" smtClean="0"/>
              <a:t>1/15/2026</a:t>
            </a:fld>
            <a:endParaRPr lang="en-US"/>
          </a:p>
        </p:txBody>
      </p:sp>
      <p:sp>
        <p:nvSpPr>
          <p:cNvPr id="5" name="Footer Placeholder 4">
            <a:extLst>
              <a:ext uri="{FF2B5EF4-FFF2-40B4-BE49-F238E27FC236}">
                <a16:creationId xmlns:a16="http://schemas.microsoft.com/office/drawing/2014/main" id="{0C14ABC2-FD3F-31CF-DD47-B31975D09E2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53568FCE-E542-1CAB-96DD-C5538ECC40A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22E80CA5-7A71-4842-92A0-D0693F259A1B}" type="slidenum">
              <a:rPr lang="en-US" smtClean="0"/>
              <a:t>‹#›</a:t>
            </a:fld>
            <a:endParaRPr lang="en-US"/>
          </a:p>
        </p:txBody>
      </p:sp>
    </p:spTree>
    <p:extLst>
      <p:ext uri="{BB962C8B-B14F-4D97-AF65-F5344CB8AC3E}">
        <p14:creationId xmlns:p14="http://schemas.microsoft.com/office/powerpoint/2010/main" val="179099561"/>
      </p:ext>
    </p:extLst>
  </p:cSld>
  <p:clrMap bg1="lt1" tx1="dk1" bg2="lt2" tx2="dk2" accent1="accent1" accent2="accent2" accent3="accent3" accent4="accent4" accent5="accent5" accent6="accent6" hlink="hlink" folHlink="folHlink"/>
  <p:sldLayoutIdLst>
    <p:sldLayoutId id="2147484143" r:id="rId1"/>
    <p:sldLayoutId id="2147484144" r:id="rId2"/>
    <p:sldLayoutId id="2147484145" r:id="rId3"/>
    <p:sldLayoutId id="2147484146" r:id="rId4"/>
    <p:sldLayoutId id="2147484147" r:id="rId5"/>
    <p:sldLayoutId id="2147484148" r:id="rId6"/>
    <p:sldLayoutId id="2147484149" r:id="rId7"/>
    <p:sldLayoutId id="2147484150" r:id="rId8"/>
    <p:sldLayoutId id="2147484151" r:id="rId9"/>
    <p:sldLayoutId id="2147484152" r:id="rId10"/>
    <p:sldLayoutId id="2147484153" r:id="rId11"/>
    <p:sldLayoutId id="2147484154" r:id="rId12"/>
    <p:sldLayoutId id="2147484155"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1D7DBB37-5DB1-AF5A-3D0F-54CF80A6EF41}"/>
              </a:ext>
              <a:ext uri="{C183D7F6-B498-43B3-948B-1728B52AA6E4}">
                <adec:decorative xmlns:adec="http://schemas.microsoft.com/office/drawing/2017/decorative" val="1"/>
              </a:ext>
            </a:extLst>
          </p:cNvPr>
          <p:cNvGraphicFramePr>
            <a:graphicFrameLocks noChangeAspect="1"/>
          </p:cNvGraphicFramePr>
          <p:nvPr userDrawn="1">
            <p:custDataLst>
              <p:tags r:id="rId63"/>
            </p:custDataLst>
            <p:extLst>
              <p:ext uri="{D42A27DB-BD31-4B8C-83A1-F6EECF244321}">
                <p14:modId xmlns:p14="http://schemas.microsoft.com/office/powerpoint/2010/main" val="25605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4" imgW="306" imgH="306" progId="TCLayout.ActiveDocument.1">
                  <p:embed/>
                </p:oleObj>
              </mc:Choice>
              <mc:Fallback>
                <p:oleObj name="think-cell Slide" r:id="rId64" imgW="306" imgH="306" progId="TCLayout.ActiveDocument.1">
                  <p:embed/>
                  <p:pic>
                    <p:nvPicPr>
                      <p:cNvPr id="10" name="think-cell data - do not delete" hidden="1">
                        <a:extLst>
                          <a:ext uri="{FF2B5EF4-FFF2-40B4-BE49-F238E27FC236}">
                            <a16:creationId xmlns:a16="http://schemas.microsoft.com/office/drawing/2014/main" id="{1D7DBB37-5DB1-AF5A-3D0F-54CF80A6EF41}"/>
                          </a:ext>
                          <a:ext uri="{C183D7F6-B498-43B3-948B-1728B52AA6E4}">
                            <adec:decorative xmlns:adec="http://schemas.microsoft.com/office/drawing/2017/decorative" val="1"/>
                          </a:ext>
                        </a:extLst>
                      </p:cNvPr>
                      <p:cNvPicPr/>
                      <p:nvPr/>
                    </p:nvPicPr>
                    <p:blipFill>
                      <a:blip r:embed="rId65"/>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6F25A6B-8F5B-A241-A3BD-B5FDE9F512C5}"/>
              </a:ext>
            </a:extLst>
          </p:cNvPr>
          <p:cNvSpPr>
            <a:spLocks noGrp="1"/>
          </p:cNvSpPr>
          <p:nvPr>
            <p:ph type="dt" sz="half" idx="2"/>
          </p:nvPr>
        </p:nvSpPr>
        <p:spPr>
          <a:xfrm>
            <a:off x="10932000" y="2016"/>
            <a:ext cx="1260000" cy="319084"/>
          </a:xfrm>
          <a:prstGeom prst="rect">
            <a:avLst/>
          </a:prstGeom>
        </p:spPr>
        <p:txBody>
          <a:bodyPr vert="horz" wrap="none" lIns="72000" tIns="72000" rIns="72000" bIns="72000" rtlCol="0" anchor="ctr">
            <a:noAutofit/>
          </a:bodyPr>
          <a:lstStyle>
            <a:lvl1pPr algn="r">
              <a:defRPr sz="800" b="0" i="0">
                <a:solidFill>
                  <a:srgbClr val="281805"/>
                </a:solidFill>
                <a:latin typeface="Forever Forma Body Text" pitchFamily="2" charset="0"/>
              </a:defRPr>
            </a:lvl1pPr>
          </a:lstStyle>
          <a:p>
            <a:fld id="{8F81B36D-59DF-42A0-ABF0-6A71ABA2C4CD}" type="datetime3">
              <a:rPr lang="en-US" smtClean="0"/>
              <a:pPr/>
              <a:t>15 January 2026</a:t>
            </a:fld>
            <a:endParaRPr lang="en-US"/>
          </a:p>
        </p:txBody>
      </p:sp>
      <p:sp>
        <p:nvSpPr>
          <p:cNvPr id="3" name="Text Placeholder 2">
            <a:extLst>
              <a:ext uri="{FF2B5EF4-FFF2-40B4-BE49-F238E27FC236}">
                <a16:creationId xmlns:a16="http://schemas.microsoft.com/office/drawing/2014/main" id="{E0A85944-6880-CBB6-BA63-4A90CA93596A}"/>
              </a:ext>
            </a:extLst>
          </p:cNvPr>
          <p:cNvSpPr>
            <a:spLocks noGrp="1"/>
          </p:cNvSpPr>
          <p:nvPr>
            <p:ph type="body" idx="1"/>
          </p:nvPr>
        </p:nvSpPr>
        <p:spPr>
          <a:xfrm>
            <a:off x="521208" y="1296000"/>
            <a:ext cx="11149576" cy="475394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Slide Number Placeholder 5">
            <a:extLst>
              <a:ext uri="{FF2B5EF4-FFF2-40B4-BE49-F238E27FC236}">
                <a16:creationId xmlns:a16="http://schemas.microsoft.com/office/drawing/2014/main" id="{CAA63915-CBC8-75C7-C27B-2ADA3EEF69F8}"/>
              </a:ext>
              <a:ext uri="{C183D7F6-B498-43B3-948B-1728B52AA6E4}">
                <adec:decorative xmlns:adec="http://schemas.microsoft.com/office/drawing/2017/decorative" val="1"/>
              </a:ext>
            </a:extLst>
          </p:cNvPr>
          <p:cNvSpPr>
            <a:spLocks noGrp="1"/>
          </p:cNvSpPr>
          <p:nvPr>
            <p:ph type="sldNum" sz="quarter" idx="4"/>
          </p:nvPr>
        </p:nvSpPr>
        <p:spPr>
          <a:xfrm>
            <a:off x="0" y="6049950"/>
            <a:ext cx="806400" cy="808050"/>
          </a:xfrm>
          <a:prstGeom prst="rect">
            <a:avLst/>
          </a:prstGeom>
        </p:spPr>
        <p:txBody>
          <a:bodyPr vert="horz" lIns="518400" tIns="0" rIns="64800" bIns="309600" rtlCol="0" anchor="b" anchorCtr="0">
            <a:noAutofit/>
          </a:bodyPr>
          <a:lstStyle>
            <a:lvl1pPr algn="l">
              <a:defRPr sz="900" b="0" i="0">
                <a:solidFill>
                  <a:schemeClr val="tx1"/>
                </a:solidFill>
                <a:latin typeface="Forever Forma Body Text" pitchFamily="2" charset="0"/>
              </a:defRPr>
            </a:lvl1pPr>
          </a:lstStyle>
          <a:p>
            <a:fld id="{1C1606C5-D483-4832-A0E9-CF578A9B5883}" type="slidenum">
              <a:rPr lang="en-US" smtClean="0"/>
              <a:pPr/>
              <a:t>‹#›</a:t>
            </a:fld>
            <a:endParaRPr lang="en-US"/>
          </a:p>
        </p:txBody>
      </p:sp>
      <p:grpSp>
        <p:nvGrpSpPr>
          <p:cNvPr id="79" name="Group 78" hidden="1">
            <a:extLst>
              <a:ext uri="{FF2B5EF4-FFF2-40B4-BE49-F238E27FC236}">
                <a16:creationId xmlns:a16="http://schemas.microsoft.com/office/drawing/2014/main" id="{BA72FC20-E2CA-59C4-7B21-62C9115E46A8}"/>
              </a:ext>
              <a:ext uri="{C183D7F6-B498-43B3-948B-1728B52AA6E4}">
                <adec:decorative xmlns:adec="http://schemas.microsoft.com/office/drawing/2017/decorative" val="1"/>
              </a:ext>
            </a:extLst>
          </p:cNvPr>
          <p:cNvGrpSpPr>
            <a:grpSpLocks noGrp="1" noUngrp="1" noRot="1" noMove="1" noResize="1"/>
          </p:cNvGrpSpPr>
          <p:nvPr userDrawn="1"/>
        </p:nvGrpSpPr>
        <p:grpSpPr>
          <a:xfrm>
            <a:off x="-282166" y="-250200"/>
            <a:ext cx="12756333" cy="7357336"/>
            <a:chOff x="-282166" y="-250200"/>
            <a:chExt cx="12756333" cy="7357336"/>
          </a:xfrm>
        </p:grpSpPr>
        <p:grpSp>
          <p:nvGrpSpPr>
            <p:cNvPr id="48" name="Group 47">
              <a:extLst>
                <a:ext uri="{FF2B5EF4-FFF2-40B4-BE49-F238E27FC236}">
                  <a16:creationId xmlns:a16="http://schemas.microsoft.com/office/drawing/2014/main" id="{A2B8D85E-52EF-FA63-9592-265E43AD271D}"/>
                </a:ext>
              </a:extLst>
            </p:cNvPr>
            <p:cNvGrpSpPr>
              <a:grpSpLocks noGrp="1" noUngrp="1" noRot="1" noMove="1" noResize="1"/>
            </p:cNvGrpSpPr>
            <p:nvPr userDrawn="1"/>
          </p:nvGrpSpPr>
          <p:grpSpPr>
            <a:xfrm>
              <a:off x="-282166" y="-249136"/>
              <a:ext cx="766850" cy="1806436"/>
              <a:chOff x="-282166" y="-249136"/>
              <a:chExt cx="766850" cy="1806436"/>
            </a:xfrm>
          </p:grpSpPr>
          <p:cxnSp>
            <p:nvCxnSpPr>
              <p:cNvPr id="40" name="Straight Connector 39">
                <a:extLst>
                  <a:ext uri="{FF2B5EF4-FFF2-40B4-BE49-F238E27FC236}">
                    <a16:creationId xmlns:a16="http://schemas.microsoft.com/office/drawing/2014/main" id="{8D6D0D5E-5313-2E8E-FAC4-9AE8AC71A06F}"/>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8468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2E47E72-9EED-156D-E1C9-0EF9F58EB76B}"/>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4860373-8117-E073-7E3E-240392FEC0F3}"/>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173599"/>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B8D9028B-4948-B67E-79B8-A1A4C3540ECC}"/>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4619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A97BD11A-2E6F-80FC-4AC5-0F4673578EF2}"/>
                </a:ext>
              </a:extLst>
            </p:cNvPr>
            <p:cNvGrpSpPr>
              <a:grpSpLocks noGrp="1" noUngrp="1" noRot="1" noMove="1" noResize="1"/>
            </p:cNvGrpSpPr>
            <p:nvPr userDrawn="1"/>
          </p:nvGrpSpPr>
          <p:grpSpPr>
            <a:xfrm flipV="1">
              <a:off x="-282166" y="6669000"/>
              <a:ext cx="766850" cy="438136"/>
              <a:chOff x="-282166" y="-249136"/>
              <a:chExt cx="766850" cy="438136"/>
            </a:xfrm>
          </p:grpSpPr>
          <p:cxnSp>
            <p:nvCxnSpPr>
              <p:cNvPr id="54" name="Straight Connector 53">
                <a:extLst>
                  <a:ext uri="{FF2B5EF4-FFF2-40B4-BE49-F238E27FC236}">
                    <a16:creationId xmlns:a16="http://schemas.microsoft.com/office/drawing/2014/main" id="{333A3C60-6DDF-0E86-7A5D-C9E2DC700AC6}"/>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8468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973A5B8-A847-F13D-C557-F6CAA8F1C3BC}"/>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6D787A70-EF66-4785-95AD-991F81706E7F}"/>
                </a:ext>
              </a:extLst>
            </p:cNvPr>
            <p:cNvGrpSpPr>
              <a:grpSpLocks noGrp="1" noUngrp="1" noRot="1" noMove="1" noResize="1"/>
            </p:cNvGrpSpPr>
            <p:nvPr userDrawn="1"/>
          </p:nvGrpSpPr>
          <p:grpSpPr>
            <a:xfrm flipH="1">
              <a:off x="11716147" y="-250200"/>
              <a:ext cx="758020" cy="1806436"/>
              <a:chOff x="-282166" y="-249136"/>
              <a:chExt cx="758020" cy="1806436"/>
            </a:xfrm>
          </p:grpSpPr>
          <p:cxnSp>
            <p:nvCxnSpPr>
              <p:cNvPr id="64" name="Straight Connector 63">
                <a:extLst>
                  <a:ext uri="{FF2B5EF4-FFF2-40B4-BE49-F238E27FC236}">
                    <a16:creationId xmlns:a16="http://schemas.microsoft.com/office/drawing/2014/main" id="{0C36DF73-1683-B9E0-DAE2-CC4FA9411740}"/>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7585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074D68E9-43F3-F793-E58E-42D96487CDA0}"/>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A51D9C8-457F-A702-330E-3E83FF49A907}"/>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173599"/>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8317C7D4-4BF5-ECE3-AB0F-69BAEB0392E2}"/>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4619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B1F3722B-662F-EE1F-F28F-2117DFF43FC7}"/>
                </a:ext>
              </a:extLst>
            </p:cNvPr>
            <p:cNvGrpSpPr>
              <a:grpSpLocks noGrp="1" noUngrp="1" noRot="1" noMove="1" noResize="1"/>
            </p:cNvGrpSpPr>
            <p:nvPr userDrawn="1"/>
          </p:nvGrpSpPr>
          <p:grpSpPr>
            <a:xfrm flipH="1" flipV="1">
              <a:off x="11716147" y="6669000"/>
              <a:ext cx="758020" cy="438136"/>
              <a:chOff x="-282166" y="-249136"/>
              <a:chExt cx="758020" cy="438136"/>
            </a:xfrm>
          </p:grpSpPr>
          <p:cxnSp>
            <p:nvCxnSpPr>
              <p:cNvPr id="60" name="Straight Connector 59">
                <a:extLst>
                  <a:ext uri="{FF2B5EF4-FFF2-40B4-BE49-F238E27FC236}">
                    <a16:creationId xmlns:a16="http://schemas.microsoft.com/office/drawing/2014/main" id="{31A63819-901C-AE9C-B688-44EE3E52D123}"/>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7585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E85C02E4-A713-5717-13B4-0D5BEFA009BA}"/>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pic>
        <p:nvPicPr>
          <p:cNvPr id="7" name="logo sm" descr="Transamerica Logo">
            <a:extLst>
              <a:ext uri="{FF2B5EF4-FFF2-40B4-BE49-F238E27FC236}">
                <a16:creationId xmlns:a16="http://schemas.microsoft.com/office/drawing/2014/main" id="{E8E14561-69C7-C85B-AE9E-F1AC72D424DC}"/>
              </a:ext>
            </a:extLst>
          </p:cNvPr>
          <p:cNvPicPr>
            <a:picLocks noChangeAspect="1"/>
          </p:cNvPicPr>
          <p:nvPr userDrawn="1"/>
        </p:nvPicPr>
        <p:blipFill>
          <a:blip r:embed="rId66">
            <a:extLst>
              <a:ext uri="{96DAC541-7B7A-43D3-8B79-37D633B846F1}">
                <asvg:svgBlip xmlns:asvg="http://schemas.microsoft.com/office/drawing/2016/SVG/main" r:embed="rId67"/>
              </a:ext>
            </a:extLst>
          </a:blip>
          <a:stretch>
            <a:fillRect/>
          </a:stretch>
        </p:blipFill>
        <p:spPr>
          <a:xfrm>
            <a:off x="9799200" y="6053050"/>
            <a:ext cx="2138400" cy="804950"/>
          </a:xfrm>
          <a:prstGeom prst="rect">
            <a:avLst/>
          </a:prstGeom>
        </p:spPr>
      </p:pic>
      <p:grpSp>
        <p:nvGrpSpPr>
          <p:cNvPr id="24" name="Group 23" hidden="1">
            <a:extLst>
              <a:ext uri="{FF2B5EF4-FFF2-40B4-BE49-F238E27FC236}">
                <a16:creationId xmlns:a16="http://schemas.microsoft.com/office/drawing/2014/main" id="{7689F110-0941-B07F-153C-140E14E05BE5}"/>
              </a:ext>
            </a:extLst>
          </p:cNvPr>
          <p:cNvGrpSpPr/>
          <p:nvPr userDrawn="1"/>
        </p:nvGrpSpPr>
        <p:grpSpPr>
          <a:xfrm>
            <a:off x="521207" y="0"/>
            <a:ext cx="11149581" cy="3860999"/>
            <a:chOff x="521207" y="0"/>
            <a:chExt cx="11149581" cy="3860999"/>
          </a:xfrm>
        </p:grpSpPr>
        <p:sp>
          <p:nvSpPr>
            <p:cNvPr id="5" name="Title 1">
              <a:extLst>
                <a:ext uri="{FF2B5EF4-FFF2-40B4-BE49-F238E27FC236}">
                  <a16:creationId xmlns:a16="http://schemas.microsoft.com/office/drawing/2014/main" id="{C1D413FE-03CE-E672-098E-941F051A2EA2}"/>
                </a:ext>
              </a:extLst>
            </p:cNvPr>
            <p:cNvSpPr txBox="1">
              <a:spLocks/>
            </p:cNvSpPr>
            <p:nvPr userDrawn="1"/>
          </p:nvSpPr>
          <p:spPr>
            <a:xfrm>
              <a:off x="521207" y="0"/>
              <a:ext cx="11149581" cy="262798"/>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a:t> </a:t>
              </a:r>
            </a:p>
          </p:txBody>
        </p:sp>
        <p:sp>
          <p:nvSpPr>
            <p:cNvPr id="20" name="Title 1">
              <a:extLst>
                <a:ext uri="{FF2B5EF4-FFF2-40B4-BE49-F238E27FC236}">
                  <a16:creationId xmlns:a16="http://schemas.microsoft.com/office/drawing/2014/main" id="{3AACF22A-E7D6-036A-A047-5FDFE0292D95}"/>
                </a:ext>
              </a:extLst>
            </p:cNvPr>
            <p:cNvSpPr txBox="1">
              <a:spLocks/>
            </p:cNvSpPr>
            <p:nvPr userDrawn="1"/>
          </p:nvSpPr>
          <p:spPr>
            <a:xfrm>
              <a:off x="521207" y="1744716"/>
              <a:ext cx="11149581" cy="2116283"/>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a:t>Click to edit title</a:t>
              </a:r>
            </a:p>
          </p:txBody>
        </p:sp>
        <p:sp>
          <p:nvSpPr>
            <p:cNvPr id="23" name="Title 1">
              <a:extLst>
                <a:ext uri="{FF2B5EF4-FFF2-40B4-BE49-F238E27FC236}">
                  <a16:creationId xmlns:a16="http://schemas.microsoft.com/office/drawing/2014/main" id="{99183974-AC97-E968-FAA3-1131280530FC}"/>
                </a:ext>
              </a:extLst>
            </p:cNvPr>
            <p:cNvSpPr txBox="1">
              <a:spLocks/>
            </p:cNvSpPr>
            <p:nvPr userDrawn="1"/>
          </p:nvSpPr>
          <p:spPr>
            <a:xfrm>
              <a:off x="521207" y="259563"/>
              <a:ext cx="11149581" cy="64800"/>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a:t> </a:t>
              </a:r>
            </a:p>
          </p:txBody>
        </p:sp>
      </p:grpSp>
      <p:sp>
        <p:nvSpPr>
          <p:cNvPr id="8" name="Title Placeholder 1">
            <a:extLst>
              <a:ext uri="{FF2B5EF4-FFF2-40B4-BE49-F238E27FC236}">
                <a16:creationId xmlns:a16="http://schemas.microsoft.com/office/drawing/2014/main" id="{C24D4D3A-796D-4B2B-349E-DC49EF399279}"/>
              </a:ext>
            </a:extLst>
          </p:cNvPr>
          <p:cNvSpPr>
            <a:spLocks noGrp="1"/>
          </p:cNvSpPr>
          <p:nvPr>
            <p:ph type="title"/>
          </p:nvPr>
        </p:nvSpPr>
        <p:spPr>
          <a:xfrm>
            <a:off x="521205" y="324213"/>
            <a:ext cx="11149576" cy="808050"/>
          </a:xfrm>
          <a:prstGeom prst="rect">
            <a:avLst/>
          </a:prstGeom>
        </p:spPr>
        <p:txBody>
          <a:bodyPr vert="horz" lIns="0" tIns="0" rIns="0" bIns="0" rtlCol="0" anchor="b" anchorCtr="0">
            <a:noAutofit/>
          </a:bodyPr>
          <a:lstStyle/>
          <a:p>
            <a:r>
              <a:rPr lang="en-US"/>
              <a:t>Click to edit Master title style</a:t>
            </a:r>
          </a:p>
        </p:txBody>
      </p:sp>
    </p:spTree>
    <p:extLst>
      <p:ext uri="{BB962C8B-B14F-4D97-AF65-F5344CB8AC3E}">
        <p14:creationId xmlns:p14="http://schemas.microsoft.com/office/powerpoint/2010/main" val="916246776"/>
      </p:ext>
    </p:extLst>
  </p:cSld>
  <p:clrMap bg1="lt1" tx1="dk1" bg2="lt2" tx2="dk2" accent1="accent1" accent2="accent2" accent3="accent3" accent4="accent4" accent5="accent5" accent6="accent6" hlink="hlink" folHlink="folHlink"/>
  <p:sldLayoutIdLst>
    <p:sldLayoutId id="2147484157" r:id="rId1"/>
    <p:sldLayoutId id="2147484158" r:id="rId2"/>
    <p:sldLayoutId id="2147484159" r:id="rId3"/>
    <p:sldLayoutId id="2147484160" r:id="rId4"/>
    <p:sldLayoutId id="2147484161" r:id="rId5"/>
    <p:sldLayoutId id="2147484162" r:id="rId6"/>
    <p:sldLayoutId id="2147484163" r:id="rId7"/>
    <p:sldLayoutId id="2147484164" r:id="rId8"/>
    <p:sldLayoutId id="2147484165" r:id="rId9"/>
    <p:sldLayoutId id="2147484166" r:id="rId10"/>
    <p:sldLayoutId id="2147484167" r:id="rId11"/>
    <p:sldLayoutId id="2147484168" r:id="rId12"/>
    <p:sldLayoutId id="2147484169" r:id="rId13"/>
    <p:sldLayoutId id="2147484170" r:id="rId14"/>
    <p:sldLayoutId id="2147484171" r:id="rId15"/>
    <p:sldLayoutId id="2147484172" r:id="rId16"/>
    <p:sldLayoutId id="2147484173" r:id="rId17"/>
    <p:sldLayoutId id="2147484174" r:id="rId18"/>
    <p:sldLayoutId id="2147484175" r:id="rId19"/>
    <p:sldLayoutId id="2147484176" r:id="rId20"/>
    <p:sldLayoutId id="2147484177" r:id="rId21"/>
    <p:sldLayoutId id="2147484178" r:id="rId22"/>
    <p:sldLayoutId id="2147484179" r:id="rId23"/>
    <p:sldLayoutId id="2147484180" r:id="rId24"/>
    <p:sldLayoutId id="2147484181" r:id="rId25"/>
    <p:sldLayoutId id="2147484182" r:id="rId26"/>
    <p:sldLayoutId id="2147484183" r:id="rId27"/>
    <p:sldLayoutId id="2147484184" r:id="rId28"/>
    <p:sldLayoutId id="2147484185" r:id="rId29"/>
    <p:sldLayoutId id="2147484186" r:id="rId30"/>
    <p:sldLayoutId id="2147484187" r:id="rId31"/>
    <p:sldLayoutId id="2147484188" r:id="rId32"/>
    <p:sldLayoutId id="2147484189" r:id="rId33"/>
    <p:sldLayoutId id="2147484190" r:id="rId34"/>
    <p:sldLayoutId id="2147484191" r:id="rId35"/>
    <p:sldLayoutId id="2147484192" r:id="rId36"/>
    <p:sldLayoutId id="2147484193" r:id="rId37"/>
    <p:sldLayoutId id="2147484194" r:id="rId38"/>
    <p:sldLayoutId id="2147484195" r:id="rId39"/>
    <p:sldLayoutId id="2147484196" r:id="rId40"/>
    <p:sldLayoutId id="2147484197" r:id="rId41"/>
    <p:sldLayoutId id="2147484198" r:id="rId42"/>
    <p:sldLayoutId id="2147484199" r:id="rId43"/>
    <p:sldLayoutId id="2147484200" r:id="rId44"/>
    <p:sldLayoutId id="2147484201" r:id="rId45"/>
    <p:sldLayoutId id="2147484202" r:id="rId46"/>
    <p:sldLayoutId id="2147484203" r:id="rId47"/>
    <p:sldLayoutId id="2147484204" r:id="rId48"/>
    <p:sldLayoutId id="2147484205" r:id="rId49"/>
    <p:sldLayoutId id="2147484206" r:id="rId50"/>
    <p:sldLayoutId id="2147484207" r:id="rId51"/>
    <p:sldLayoutId id="2147484208" r:id="rId52"/>
    <p:sldLayoutId id="2147484209" r:id="rId53"/>
    <p:sldLayoutId id="2147484210" r:id="rId54"/>
    <p:sldLayoutId id="2147484211" r:id="rId55"/>
    <p:sldLayoutId id="2147484212" r:id="rId56"/>
    <p:sldLayoutId id="2147484213" r:id="rId57"/>
    <p:sldLayoutId id="2147484214" r:id="rId58"/>
    <p:sldLayoutId id="2147484215" r:id="rId59"/>
    <p:sldLayoutId id="2147484216" r:id="rId60"/>
    <p:sldLayoutId id="2147484217" r:id="rId61"/>
  </p:sldLayoutIdLst>
  <p:hf hdr="0" ftr="0" dt="0"/>
  <p:txStyles>
    <p:titleStyle>
      <a:lvl1pPr algn="l" defTabSz="914400" rtl="0" eaLnBrk="1" latinLnBrk="0" hangingPunct="1">
        <a:lnSpc>
          <a:spcPct val="85000"/>
        </a:lnSpc>
        <a:spcBef>
          <a:spcPct val="0"/>
        </a:spcBef>
        <a:buNone/>
        <a:defRPr sz="3600" b="0" i="0" kern="100" spc="-30" baseline="0">
          <a:solidFill>
            <a:schemeClr val="tx1"/>
          </a:solidFill>
          <a:latin typeface="Forever Forma Heading" pitchFamily="2" charset="0"/>
          <a:ea typeface="+mj-ea"/>
          <a:cs typeface="+mj-cs"/>
        </a:defRPr>
      </a:lvl1pPr>
    </p:titleStyle>
    <p:body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600"/>
        </a:spcBef>
        <a:buClrTx/>
        <a:buFont typeface="Wingdings" pitchFamily="2" charset="2"/>
        <a:buChar char="§"/>
        <a:defRPr sz="1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p:bodyStyle>
    <p:otherStyle>
      <a:defPPr>
        <a:defRPr lang="en-US"/>
      </a:defPPr>
      <a:lvl1pPr marL="0" indent="0" algn="l" defTabSz="914400" rtl="0" eaLnBrk="1" latinLnBrk="0" hangingPunct="1">
        <a:lnSpc>
          <a:spcPct val="100000"/>
        </a:lnSpc>
        <a:spcBef>
          <a:spcPts val="0"/>
        </a:spcBef>
        <a:buClr>
          <a:srgbClr val="281805"/>
        </a:buClr>
        <a:buFont typeface="Arial" panose="020B0604020202020204" pitchFamily="34" charset="0"/>
        <a:buChar char="​"/>
        <a:defRPr sz="1800" b="0" kern="1200">
          <a:solidFill>
            <a:schemeClr val="tx1"/>
          </a:solidFill>
          <a:latin typeface="+mn-lt"/>
          <a:ea typeface="+mn-ea"/>
          <a:cs typeface="+mn-cs"/>
        </a:defRPr>
      </a:lvl1pPr>
      <a:lvl2pPr marL="180000" indent="-180000" algn="l" defTabSz="914400" rtl="0" eaLnBrk="1" latinLnBrk="0" hangingPunct="1">
        <a:lnSpc>
          <a:spcPct val="100000"/>
        </a:lnSpc>
        <a:spcBef>
          <a:spcPts val="0"/>
        </a:spcBef>
        <a:buClr>
          <a:srgbClr val="281805"/>
        </a:buClr>
        <a:buFont typeface="Arial" panose="020E0502030303020204" pitchFamily="34" charset="0"/>
        <a:buChar char="•"/>
        <a:defRPr sz="1800" b="0" kern="1200">
          <a:solidFill>
            <a:schemeClr val="tx1"/>
          </a:solidFill>
          <a:latin typeface="+mn-lt"/>
          <a:ea typeface="+mn-ea"/>
          <a:cs typeface="+mn-cs"/>
        </a:defRPr>
      </a:lvl2pPr>
      <a:lvl3pPr marL="360000" indent="-180000" algn="l" defTabSz="914400" rtl="0" eaLnBrk="1" latinLnBrk="0" hangingPunct="1">
        <a:lnSpc>
          <a:spcPct val="100000"/>
        </a:lnSpc>
        <a:spcBef>
          <a:spcPts val="0"/>
        </a:spcBef>
        <a:buClr>
          <a:srgbClr val="281805"/>
        </a:buClr>
        <a:buFont typeface="Arial" panose="020E0502030303020204" pitchFamily="34" charset="0"/>
        <a:buChar char="–"/>
        <a:defRPr sz="1800" b="0" kern="1200">
          <a:solidFill>
            <a:schemeClr val="tx1"/>
          </a:solidFill>
          <a:latin typeface="+mn-lt"/>
          <a:ea typeface="+mn-ea"/>
          <a:cs typeface="+mn-cs"/>
        </a:defRPr>
      </a:lvl3pPr>
      <a:lvl4pPr marL="540000" indent="-180000" algn="l" defTabSz="914400" rtl="0" eaLnBrk="1" latinLnBrk="0" hangingPunct="1">
        <a:lnSpc>
          <a:spcPct val="100000"/>
        </a:lnSpc>
        <a:spcBef>
          <a:spcPts val="0"/>
        </a:spcBef>
        <a:buClr>
          <a:srgbClr val="281805"/>
        </a:buClr>
        <a:buFont typeface="Arial" panose="020E0502030303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00000"/>
        </a:lnSpc>
        <a:spcBef>
          <a:spcPts val="0"/>
        </a:spcBef>
        <a:buClr>
          <a:srgbClr val="281805"/>
        </a:buClr>
        <a:buSzPct val="100000"/>
        <a:buFont typeface="Arial" panose="020E0502030303020204" pitchFamily="34" charset="0"/>
        <a:buChar char="–"/>
        <a:defRPr sz="1800" kern="1200">
          <a:solidFill>
            <a:schemeClr val="tx1"/>
          </a:solidFill>
          <a:latin typeface="+mn-lt"/>
          <a:ea typeface="+mn-ea"/>
          <a:cs typeface="+mn-cs"/>
        </a:defRPr>
      </a:lvl5pPr>
      <a:lvl6pPr marL="180000" indent="-180000" algn="l" defTabSz="914400" rtl="0" eaLnBrk="1" latinLnBrk="0" hangingPunct="1">
        <a:lnSpc>
          <a:spcPct val="100000"/>
        </a:lnSpc>
        <a:spcBef>
          <a:spcPts val="0"/>
        </a:spcBef>
        <a:buClr>
          <a:srgbClr val="281805"/>
        </a:buClr>
        <a:buSzPct val="90000"/>
        <a:buFont typeface="+mj-lt"/>
        <a:buAutoNum type="arabicPeriod"/>
        <a:defRPr sz="1800" kern="1200">
          <a:solidFill>
            <a:schemeClr val="tx1"/>
          </a:solidFill>
          <a:latin typeface="+mn-lt"/>
          <a:ea typeface="+mn-ea"/>
          <a:cs typeface="+mn-cs"/>
        </a:defRPr>
      </a:lvl6pPr>
      <a:lvl7pPr marL="360000" indent="-180000" algn="l" defTabSz="914400" rtl="0" eaLnBrk="1" latinLnBrk="0" hangingPunct="1">
        <a:lnSpc>
          <a:spcPct val="100000"/>
        </a:lnSpc>
        <a:spcBef>
          <a:spcPts val="0"/>
        </a:spcBef>
        <a:buClr>
          <a:srgbClr val="281805"/>
        </a:buClr>
        <a:buSzPct val="100000"/>
        <a:buFont typeface="Arial" panose="020E0502030303020204" pitchFamily="34" charset="0"/>
        <a:buChar char="–"/>
        <a:defRPr sz="1800" kern="1200">
          <a:solidFill>
            <a:schemeClr val="tx1"/>
          </a:solidFill>
          <a:latin typeface="+mn-lt"/>
          <a:ea typeface="+mn-ea"/>
          <a:cs typeface="+mn-cs"/>
        </a:defRPr>
      </a:lvl7pPr>
      <a:lvl8pPr marL="0" indent="0" algn="l" defTabSz="914400" rtl="0" eaLnBrk="1" latinLnBrk="0" hangingPunct="1">
        <a:lnSpc>
          <a:spcPct val="100000"/>
        </a:lnSpc>
        <a:spcBef>
          <a:spcPts val="0"/>
        </a:spcBef>
        <a:buClr>
          <a:srgbClr val="281805"/>
        </a:buClr>
        <a:buFont typeface="Arial" panose="020B0604020202020204" pitchFamily="34" charset="0"/>
        <a:buChar char="​"/>
        <a:defRPr sz="1800" b="1" kern="1200">
          <a:solidFill>
            <a:srgbClr val="281805"/>
          </a:solidFill>
          <a:latin typeface="+mn-lt"/>
          <a:ea typeface="+mn-ea"/>
          <a:cs typeface="+mn-cs"/>
        </a:defRPr>
      </a:lvl8pPr>
      <a:lvl9pPr marL="0" indent="0" algn="l" defTabSz="914400" rtl="0" eaLnBrk="1" latinLnBrk="0" hangingPunct="1">
        <a:lnSpc>
          <a:spcPct val="100000"/>
        </a:lnSpc>
        <a:spcBef>
          <a:spcPts val="0"/>
        </a:spcBef>
        <a:buClr>
          <a:srgbClr val="281805"/>
        </a:buClr>
        <a:buFont typeface="Arial" panose="020B0604020202020204" pitchFamily="34" charset="0"/>
        <a:buChar char="​"/>
        <a:defRPr sz="1800" b="1" kern="1200">
          <a:solidFill>
            <a:srgbClr val="281805"/>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8.emf"/><Relationship Id="rId5" Type="http://schemas.openxmlformats.org/officeDocument/2006/relationships/oleObject" Target="../embeddings/oleObject9.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15.xml"/><Relationship Id="rId1" Type="http://schemas.openxmlformats.org/officeDocument/2006/relationships/tags" Target="../tags/tag120.xml"/><Relationship Id="rId5" Type="http://schemas.openxmlformats.org/officeDocument/2006/relationships/image" Target="../media/image36.png"/><Relationship Id="rId4" Type="http://schemas.openxmlformats.org/officeDocument/2006/relationships/image" Target="../media/image41.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15.xml"/><Relationship Id="rId1" Type="http://schemas.openxmlformats.org/officeDocument/2006/relationships/tags" Target="../tags/tag121.xml"/><Relationship Id="rId5" Type="http://schemas.openxmlformats.org/officeDocument/2006/relationships/image" Target="../media/image36.png"/><Relationship Id="rId4" Type="http://schemas.openxmlformats.org/officeDocument/2006/relationships/image" Target="../media/image42.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15.xml"/><Relationship Id="rId1" Type="http://schemas.openxmlformats.org/officeDocument/2006/relationships/tags" Target="../tags/tag122.xml"/><Relationship Id="rId5" Type="http://schemas.openxmlformats.org/officeDocument/2006/relationships/image" Target="../media/image36.png"/><Relationship Id="rId4" Type="http://schemas.openxmlformats.org/officeDocument/2006/relationships/image" Target="../media/image43.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15.xml"/><Relationship Id="rId1" Type="http://schemas.openxmlformats.org/officeDocument/2006/relationships/tags" Target="../tags/tag123.xml"/><Relationship Id="rId5" Type="http://schemas.openxmlformats.org/officeDocument/2006/relationships/image" Target="../media/image36.png"/><Relationship Id="rId4" Type="http://schemas.openxmlformats.org/officeDocument/2006/relationships/image" Target="../media/image44.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15.xml"/><Relationship Id="rId1" Type="http://schemas.openxmlformats.org/officeDocument/2006/relationships/tags" Target="../tags/tag124.xml"/><Relationship Id="rId5" Type="http://schemas.openxmlformats.org/officeDocument/2006/relationships/image" Target="../media/image36.png"/><Relationship Id="rId4" Type="http://schemas.openxmlformats.org/officeDocument/2006/relationships/image" Target="../media/image45.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2.xml"/><Relationship Id="rId1" Type="http://schemas.openxmlformats.org/officeDocument/2006/relationships/tags" Target="../tags/tag125.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15.xml"/><Relationship Id="rId1" Type="http://schemas.openxmlformats.org/officeDocument/2006/relationships/tags" Target="../tags/tag126.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62.xml"/><Relationship Id="rId1" Type="http://schemas.openxmlformats.org/officeDocument/2006/relationships/tags" Target="../tags/tag127.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1.xml"/><Relationship Id="rId1" Type="http://schemas.openxmlformats.org/officeDocument/2006/relationships/tags" Target="../tags/tag128.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62.xml"/><Relationship Id="rId1" Type="http://schemas.openxmlformats.org/officeDocument/2006/relationships/tags" Target="../tags/tag12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2.xml"/><Relationship Id="rId1" Type="http://schemas.openxmlformats.org/officeDocument/2006/relationships/tags" Target="../tags/tag11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8.xml"/><Relationship Id="rId1" Type="http://schemas.openxmlformats.org/officeDocument/2006/relationships/tags" Target="../tags/tag130.xml"/><Relationship Id="rId5" Type="http://schemas.openxmlformats.org/officeDocument/2006/relationships/image" Target="../media/image47.png"/><Relationship Id="rId4" Type="http://schemas.openxmlformats.org/officeDocument/2006/relationships/image" Target="../media/image46.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8.xml"/><Relationship Id="rId1" Type="http://schemas.openxmlformats.org/officeDocument/2006/relationships/tags" Target="../tags/tag131.xml"/><Relationship Id="rId5" Type="http://schemas.openxmlformats.org/officeDocument/2006/relationships/image" Target="../media/image47.png"/><Relationship Id="rId4" Type="http://schemas.openxmlformats.org/officeDocument/2006/relationships/image" Target="../media/image48.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8.xml"/><Relationship Id="rId1" Type="http://schemas.openxmlformats.org/officeDocument/2006/relationships/tags" Target="../tags/tag132.xml"/><Relationship Id="rId5" Type="http://schemas.openxmlformats.org/officeDocument/2006/relationships/image" Target="../media/image50.png"/><Relationship Id="rId4" Type="http://schemas.openxmlformats.org/officeDocument/2006/relationships/image" Target="../media/image49.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8.xml"/><Relationship Id="rId1" Type="http://schemas.openxmlformats.org/officeDocument/2006/relationships/tags" Target="../tags/tag133.xml"/><Relationship Id="rId5" Type="http://schemas.openxmlformats.org/officeDocument/2006/relationships/image" Target="../media/image47.png"/><Relationship Id="rId4" Type="http://schemas.openxmlformats.org/officeDocument/2006/relationships/image" Target="../media/image51.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6.xml"/><Relationship Id="rId1" Type="http://schemas.openxmlformats.org/officeDocument/2006/relationships/tags" Target="../tags/tag134.xml"/><Relationship Id="rId4" Type="http://schemas.openxmlformats.org/officeDocument/2006/relationships/image" Target="../media/image52.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1.xml"/><Relationship Id="rId1" Type="http://schemas.openxmlformats.org/officeDocument/2006/relationships/tags" Target="../tags/tag135.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3.xml"/><Relationship Id="rId7" Type="http://schemas.openxmlformats.org/officeDocument/2006/relationships/image" Target="../media/image53.png"/><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8.emf"/><Relationship Id="rId5" Type="http://schemas.openxmlformats.org/officeDocument/2006/relationships/oleObject" Target="../embeddings/oleObject10.bin"/><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54.png"/><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image" Target="../media/image8.emf"/><Relationship Id="rId5" Type="http://schemas.openxmlformats.org/officeDocument/2006/relationships/oleObject" Target="../embeddings/oleObject11.bin"/><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slideLayout" Target="../slideLayouts/slideLayout6.xml"/><Relationship Id="rId7" Type="http://schemas.openxmlformats.org/officeDocument/2006/relationships/image" Target="../media/image55.png"/><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image" Target="../media/image8.emf"/><Relationship Id="rId5" Type="http://schemas.openxmlformats.org/officeDocument/2006/relationships/oleObject" Target="../embeddings/oleObject11.bin"/><Relationship Id="rId4" Type="http://schemas.openxmlformats.org/officeDocument/2006/relationships/notesSlide" Target="../notesSlides/notesSlide28.xml"/><Relationship Id="rId9" Type="http://schemas.openxmlformats.org/officeDocument/2006/relationships/image" Target="../media/image57.png"/></Relationships>
</file>

<file path=ppt/slides/_rels/slide29.xml.rels><?xml version="1.0" encoding="UTF-8" standalone="yes"?>
<Relationships xmlns="http://schemas.openxmlformats.org/package/2006/relationships"><Relationship Id="rId8" Type="http://schemas.openxmlformats.org/officeDocument/2006/relationships/hyperlink" Target="https://aegonna.sharepoint.com/:b:/s/TA-BestowwithFEEverest/EU5EUMMsds5FrYVoRylZSV4BTAEzNnvvWmDcBYHbBErsow?e=32pWof" TargetMode="External"/><Relationship Id="rId3" Type="http://schemas.openxmlformats.org/officeDocument/2006/relationships/slideLayout" Target="../slideLayouts/slideLayout7.xml"/><Relationship Id="rId7" Type="http://schemas.openxmlformats.org/officeDocument/2006/relationships/hyperlink" Target="https://aegonna.sharepoint.com/:b:/s/TA-BestowwithFEEverest/ETOT9NsHk9NEk47T0VIHOl8B5Iy628RFEwKa34NeUBtNHA?e=Hv5SqX" TargetMode="External"/><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image" Target="../media/image8.emf"/><Relationship Id="rId5" Type="http://schemas.openxmlformats.org/officeDocument/2006/relationships/oleObject" Target="../embeddings/oleObject9.bin"/><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4.xml"/><Relationship Id="rId1" Type="http://schemas.openxmlformats.org/officeDocument/2006/relationships/tags" Target="../tags/tag113.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hyperlink" Target="https://cdn.bfldr.com/86JM1UOD/as/m7q69ngk78kw39p7w5923h/Transamerica_FE_Expres%E2%80%A6" TargetMode="Externa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31.xml"/><Relationship Id="rId1" Type="http://schemas.openxmlformats.org/officeDocument/2006/relationships/tags" Target="../tags/tag144.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8.xml"/><Relationship Id="rId1" Type="http://schemas.openxmlformats.org/officeDocument/2006/relationships/tags" Target="../tags/tag145.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8.xml"/><Relationship Id="rId1" Type="http://schemas.openxmlformats.org/officeDocument/2006/relationships/tags" Target="../tags/tag146.xml"/><Relationship Id="rId4" Type="http://schemas.openxmlformats.org/officeDocument/2006/relationships/image" Target="../media/image58.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8.xml"/><Relationship Id="rId1" Type="http://schemas.openxmlformats.org/officeDocument/2006/relationships/tags" Target="../tags/tag147.xml"/><Relationship Id="rId4" Type="http://schemas.openxmlformats.org/officeDocument/2006/relationships/image" Target="../media/image59.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8.xml"/><Relationship Id="rId1" Type="http://schemas.openxmlformats.org/officeDocument/2006/relationships/tags" Target="../tags/tag148.xml"/><Relationship Id="rId4" Type="http://schemas.openxmlformats.org/officeDocument/2006/relationships/image" Target="../media/image60.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31.xml"/><Relationship Id="rId1" Type="http://schemas.openxmlformats.org/officeDocument/2006/relationships/tags" Target="../tags/tag149.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8.xml"/><Relationship Id="rId1" Type="http://schemas.openxmlformats.org/officeDocument/2006/relationships/tags" Target="../tags/tag150.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8.xml"/><Relationship Id="rId1" Type="http://schemas.openxmlformats.org/officeDocument/2006/relationships/tags" Target="../tags/tag151.xml"/><Relationship Id="rId4" Type="http://schemas.openxmlformats.org/officeDocument/2006/relationships/image" Target="../media/image61.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8.xml"/><Relationship Id="rId1" Type="http://schemas.openxmlformats.org/officeDocument/2006/relationships/tags" Target="../tags/tag152.xml"/><Relationship Id="rId5" Type="http://schemas.openxmlformats.org/officeDocument/2006/relationships/image" Target="../media/image63.png"/><Relationship Id="rId4" Type="http://schemas.openxmlformats.org/officeDocument/2006/relationships/image" Target="../media/image62.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31.xml"/><Relationship Id="rId1" Type="http://schemas.openxmlformats.org/officeDocument/2006/relationships/tags" Target="../tags/tag15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2.xml"/><Relationship Id="rId1" Type="http://schemas.openxmlformats.org/officeDocument/2006/relationships/tags" Target="../tags/tag114.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8.xml"/><Relationship Id="rId1" Type="http://schemas.openxmlformats.org/officeDocument/2006/relationships/tags" Target="../tags/tag154.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8.xml"/><Relationship Id="rId1" Type="http://schemas.openxmlformats.org/officeDocument/2006/relationships/tags" Target="../tags/tag155.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8.xml"/><Relationship Id="rId1" Type="http://schemas.openxmlformats.org/officeDocument/2006/relationships/tags" Target="../tags/tag156.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8.xml"/><Relationship Id="rId1" Type="http://schemas.openxmlformats.org/officeDocument/2006/relationships/tags" Target="../tags/tag157.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24.xml"/><Relationship Id="rId1" Type="http://schemas.openxmlformats.org/officeDocument/2006/relationships/tags" Target="../tags/tag158.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image" Target="../media/image47.png"/><Relationship Id="rId2" Type="http://schemas.openxmlformats.org/officeDocument/2006/relationships/slideLayout" Target="../slideLayouts/slideLayout32.xml"/><Relationship Id="rId1" Type="http://schemas.openxmlformats.org/officeDocument/2006/relationships/tags" Target="../tags/tag159.xml"/><Relationship Id="rId6" Type="http://schemas.openxmlformats.org/officeDocument/2006/relationships/hyperlink" Target="https://www.figma.com/proto/sQdrbF3qCANKAQzAcZWegY/TRAINING-DEMO--Agent-Assisted-Application--Transamerica?page-id=15317%3A19062&amp;node-id=17813-35522&amp;viewport=1157%2C897%2C0.02&amp;t=MbvRCvaqJtrdKKoe-1&amp;scaling=scale-down&amp;content-scaling=fixed&amp;starting-point-node-id=15317%3A19560" TargetMode="External"/><Relationship Id="rId5" Type="http://schemas.openxmlformats.org/officeDocument/2006/relationships/image" Target="../media/image64.png"/><Relationship Id="rId4" Type="http://schemas.openxmlformats.org/officeDocument/2006/relationships/hyperlink" Target="https://www.figma.com/proto/sQdrbF3qCANKAQzAcZWegY/TRAINING-DEMO--Agent-Assisted-Application--Transamerica?page-id=25730%3A45&amp;node-id=25730-3982&amp;p=f&amp;viewport=256%2C587%2C0.02&amp;t=IYCg3Nig4FBW8V39-1&amp;scaling=scale-down&amp;content-scaling=fixed&amp;starting-point-node-id=25730%3A3982" TargetMode="Externa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39.xml"/><Relationship Id="rId1" Type="http://schemas.openxmlformats.org/officeDocument/2006/relationships/tags" Target="../tags/tag160.xml"/><Relationship Id="rId4" Type="http://schemas.openxmlformats.org/officeDocument/2006/relationships/image" Target="../media/image65.jpe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4.xml"/><Relationship Id="rId1" Type="http://schemas.openxmlformats.org/officeDocument/2006/relationships/tags" Target="../tags/tag115.xml"/><Relationship Id="rId5" Type="http://schemas.openxmlformats.org/officeDocument/2006/relationships/image" Target="../media/image36.png"/><Relationship Id="rId4" Type="http://schemas.openxmlformats.org/officeDocument/2006/relationships/image" Target="../media/image37.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2.xml"/><Relationship Id="rId1" Type="http://schemas.openxmlformats.org/officeDocument/2006/relationships/tags" Target="../tags/tag116.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15.xml"/><Relationship Id="rId1" Type="http://schemas.openxmlformats.org/officeDocument/2006/relationships/tags" Target="../tags/tag117.xml"/><Relationship Id="rId5" Type="http://schemas.openxmlformats.org/officeDocument/2006/relationships/image" Target="../media/image36.png"/><Relationship Id="rId4" Type="http://schemas.openxmlformats.org/officeDocument/2006/relationships/image" Target="../media/image38.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15.xml"/><Relationship Id="rId1" Type="http://schemas.openxmlformats.org/officeDocument/2006/relationships/tags" Target="../tags/tag118.xml"/><Relationship Id="rId5" Type="http://schemas.openxmlformats.org/officeDocument/2006/relationships/image" Target="../media/image36.png"/><Relationship Id="rId4" Type="http://schemas.openxmlformats.org/officeDocument/2006/relationships/image" Target="../media/image39.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15.xml"/><Relationship Id="rId1" Type="http://schemas.openxmlformats.org/officeDocument/2006/relationships/tags" Target="../tags/tag119.xml"/><Relationship Id="rId5" Type="http://schemas.openxmlformats.org/officeDocument/2006/relationships/image" Target="../media/image36.png"/><Relationship Id="rId4" Type="http://schemas.openxmlformats.org/officeDocument/2006/relationships/image" Target="../media/image4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C13D878-AC90-CE46-E937-A469E8B1CBC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0" imgH="409" progId="TCLayout.ActiveDocument.1">
                  <p:embed/>
                </p:oleObj>
              </mc:Choice>
              <mc:Fallback>
                <p:oleObj name="think-cell Slide" r:id="rId5" imgW="410" imgH="409" progId="TCLayout.ActiveDocument.1">
                  <p:embed/>
                  <p:pic>
                    <p:nvPicPr>
                      <p:cNvPr id="3" name="think-cell data - do not delete" hidden="1">
                        <a:extLst>
                          <a:ext uri="{FF2B5EF4-FFF2-40B4-BE49-F238E27FC236}">
                            <a16:creationId xmlns:a16="http://schemas.microsoft.com/office/drawing/2014/main" id="{EC13D878-AC90-CE46-E937-A469E8B1CBC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B9F2087C-BDC3-B537-DACD-133C83A15489}"/>
              </a:ext>
            </a:extLst>
          </p:cNvPr>
          <p:cNvSpPr>
            <a:spLocks noGrp="1"/>
          </p:cNvSpPr>
          <p:nvPr>
            <p:ph type="ctrTitle"/>
          </p:nvPr>
        </p:nvSpPr>
        <p:spPr>
          <a:xfrm>
            <a:off x="521208" y="1559052"/>
            <a:ext cx="9318896" cy="1932948"/>
          </a:xfrm>
        </p:spPr>
        <p:txBody>
          <a:bodyPr vert="horz"/>
          <a:lstStyle/>
          <a:p>
            <a:r>
              <a:rPr lang="en-US">
                <a:solidFill>
                  <a:srgbClr val="1D2550"/>
                </a:solidFill>
              </a:rPr>
              <a:t>Transamerica FE Express Solution</a:t>
            </a:r>
            <a:r>
              <a:rPr lang="en-US">
                <a:solidFill>
                  <a:srgbClr val="1D2550"/>
                </a:solidFill>
                <a:latin typeface="Calibri" panose="020F0502020204030204" pitchFamily="34" charset="0"/>
                <a:cs typeface="Calibri" panose="020F0502020204030204" pitchFamily="34" charset="0"/>
              </a:rPr>
              <a:t>℠</a:t>
            </a:r>
            <a:endParaRPr lang="en-US">
              <a:solidFill>
                <a:srgbClr val="1D2550"/>
              </a:solidFill>
            </a:endParaRPr>
          </a:p>
        </p:txBody>
      </p:sp>
      <p:sp>
        <p:nvSpPr>
          <p:cNvPr id="12" name="Subtitle 11">
            <a:extLst>
              <a:ext uri="{FF2B5EF4-FFF2-40B4-BE49-F238E27FC236}">
                <a16:creationId xmlns:a16="http://schemas.microsoft.com/office/drawing/2014/main" id="{F3D65804-03BC-26E1-D9D7-0921BD9E1BE9}"/>
              </a:ext>
            </a:extLst>
          </p:cNvPr>
          <p:cNvSpPr>
            <a:spLocks noGrp="1"/>
          </p:cNvSpPr>
          <p:nvPr>
            <p:ph type="subTitle" idx="1"/>
          </p:nvPr>
        </p:nvSpPr>
        <p:spPr>
          <a:xfrm>
            <a:off x="521208" y="3708000"/>
            <a:ext cx="9318896" cy="432000"/>
          </a:xfrm>
        </p:spPr>
        <p:txBody>
          <a:bodyPr/>
          <a:lstStyle/>
          <a:p>
            <a:r>
              <a:rPr lang="en-US">
                <a:solidFill>
                  <a:srgbClr val="1D2550"/>
                </a:solidFill>
              </a:rPr>
              <a:t>Feature Releases and Enhancements</a:t>
            </a:r>
          </a:p>
        </p:txBody>
      </p:sp>
      <p:sp>
        <p:nvSpPr>
          <p:cNvPr id="4" name="Text Placeholder 3">
            <a:extLst>
              <a:ext uri="{FF2B5EF4-FFF2-40B4-BE49-F238E27FC236}">
                <a16:creationId xmlns:a16="http://schemas.microsoft.com/office/drawing/2014/main" id="{34FC4452-1830-E6CB-71BD-202B7A6199B6}"/>
              </a:ext>
            </a:extLst>
          </p:cNvPr>
          <p:cNvSpPr>
            <a:spLocks noGrp="1"/>
          </p:cNvSpPr>
          <p:nvPr>
            <p:ph type="body" sz="quarter" idx="13"/>
          </p:nvPr>
        </p:nvSpPr>
        <p:spPr/>
        <p:txBody>
          <a:bodyPr/>
          <a:lstStyle/>
          <a:p>
            <a:endParaRPr lang="en-US"/>
          </a:p>
        </p:txBody>
      </p:sp>
      <p:sp>
        <p:nvSpPr>
          <p:cNvPr id="5" name="Text Placeholder 3">
            <a:extLst>
              <a:ext uri="{FF2B5EF4-FFF2-40B4-BE49-F238E27FC236}">
                <a16:creationId xmlns:a16="http://schemas.microsoft.com/office/drawing/2014/main" id="{5CE0554F-1F73-BA95-1C57-2C7760594502}"/>
              </a:ext>
            </a:extLst>
          </p:cNvPr>
          <p:cNvSpPr txBox="1">
            <a:spLocks/>
          </p:cNvSpPr>
          <p:nvPr/>
        </p:nvSpPr>
        <p:spPr>
          <a:xfrm>
            <a:off x="228600" y="6049950"/>
            <a:ext cx="5289593" cy="808050"/>
          </a:xfrm>
          <a:prstGeom prst="rect">
            <a:avLst/>
          </a:prstGeom>
        </p:spPr>
        <p:txBody>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600"/>
              </a:spcBef>
              <a:buClrTx/>
              <a:buFont typeface="Wingdings" pitchFamily="2" charset="2"/>
              <a:buChar char="§"/>
              <a:defRPr sz="1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sz="1000">
                <a:latin typeface="Open Sans Condensed Condensed" panose="020B0604020202020204" charset="0"/>
                <a:ea typeface="Open Sans Condensed Condensed" panose="020B0604020202020204" charset="0"/>
                <a:cs typeface="Open Sans Condensed Condensed" panose="020B0604020202020204" charset="0"/>
              </a:rPr>
              <a:t>Agent Use Only. Not for public use.</a:t>
            </a:r>
          </a:p>
        </p:txBody>
      </p:sp>
    </p:spTree>
    <p:custDataLst>
      <p:tags r:id="rId1"/>
    </p:custDataLst>
    <p:extLst>
      <p:ext uri="{BB962C8B-B14F-4D97-AF65-F5344CB8AC3E}">
        <p14:creationId xmlns:p14="http://schemas.microsoft.com/office/powerpoint/2010/main" val="41870322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BBDA15-4213-1DAB-6712-A31B2F939CB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582864E-A41D-8044-8CFE-08C7B65B4C36}"/>
              </a:ext>
            </a:extLst>
          </p:cNvPr>
          <p:cNvSpPr>
            <a:spLocks noGrp="1"/>
          </p:cNvSpPr>
          <p:nvPr>
            <p:ph type="title"/>
          </p:nvPr>
        </p:nvSpPr>
        <p:spPr/>
        <p:txBody>
          <a:bodyPr/>
          <a:lstStyle/>
          <a:p>
            <a:endParaRPr lang="en-US"/>
          </a:p>
        </p:txBody>
      </p:sp>
      <p:sp>
        <p:nvSpPr>
          <p:cNvPr id="3" name="Slide Number Placeholder 2">
            <a:extLst>
              <a:ext uri="{FF2B5EF4-FFF2-40B4-BE49-F238E27FC236}">
                <a16:creationId xmlns:a16="http://schemas.microsoft.com/office/drawing/2014/main" id="{6A0BABF7-683D-E4D1-F8DF-0B08C76ADB4D}"/>
              </a:ext>
            </a:extLst>
          </p:cNvPr>
          <p:cNvSpPr>
            <a:spLocks noGrp="1"/>
          </p:cNvSpPr>
          <p:nvPr>
            <p:ph type="sldNum"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C1606C5-D483-4832-A0E9-CF578A9B5883}" type="slidenum">
              <a:rPr kumimoji="0" lang="en-US" sz="900" b="0" i="0" u="none" strike="noStrike" kern="1200" cap="none" spc="0" normalizeH="0" baseline="0" noProof="0" smtClean="0">
                <a:ln>
                  <a:noFill/>
                </a:ln>
                <a:solidFill>
                  <a:srgbClr val="000000"/>
                </a:solidFill>
                <a:effectLst/>
                <a:uLnTx/>
                <a:uFillTx/>
                <a:latin typeface="Forever Forma Body Text"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US" sz="900" b="0" i="0" u="none" strike="noStrike" kern="1200" cap="none" spc="0" normalizeH="0" baseline="0" noProof="0">
              <a:ln>
                <a:noFill/>
              </a:ln>
              <a:solidFill>
                <a:srgbClr val="000000"/>
              </a:solidFill>
              <a:effectLst/>
              <a:uLnTx/>
              <a:uFillTx/>
              <a:latin typeface="Forever Forma Body Text" pitchFamily="2" charset="0"/>
              <a:ea typeface="+mn-ea"/>
              <a:cs typeface="+mn-cs"/>
            </a:endParaRPr>
          </a:p>
        </p:txBody>
      </p:sp>
      <p:sp>
        <p:nvSpPr>
          <p:cNvPr id="4" name="Text Placeholder 3">
            <a:extLst>
              <a:ext uri="{FF2B5EF4-FFF2-40B4-BE49-F238E27FC236}">
                <a16:creationId xmlns:a16="http://schemas.microsoft.com/office/drawing/2014/main" id="{9F7D76D7-D050-FA47-16B4-B125929CFD45}"/>
              </a:ext>
            </a:extLst>
          </p:cNvPr>
          <p:cNvSpPr>
            <a:spLocks noGrp="1"/>
          </p:cNvSpPr>
          <p:nvPr>
            <p:ph type="body" sz="quarter" idx="14"/>
          </p:nvPr>
        </p:nvSpPr>
        <p:spPr/>
        <p:txBody>
          <a:bodyPr/>
          <a:lstStyle/>
          <a:p>
            <a:r>
              <a:rPr lang="en-US"/>
              <a:t>Agent Use Only. Not for public use.</a:t>
            </a:r>
          </a:p>
        </p:txBody>
      </p:sp>
      <p:pic>
        <p:nvPicPr>
          <p:cNvPr id="6" name="Picture 5">
            <a:extLst>
              <a:ext uri="{FF2B5EF4-FFF2-40B4-BE49-F238E27FC236}">
                <a16:creationId xmlns:a16="http://schemas.microsoft.com/office/drawing/2014/main" id="{2497BA0F-374C-EAEE-E419-15C605E42FFA}"/>
              </a:ext>
            </a:extLst>
          </p:cNvPr>
          <p:cNvPicPr>
            <a:picLocks noChangeAspect="1"/>
          </p:cNvPicPr>
          <p:nvPr/>
        </p:nvPicPr>
        <p:blipFill>
          <a:blip r:embed="rId4"/>
          <a:stretch>
            <a:fillRect/>
          </a:stretch>
        </p:blipFill>
        <p:spPr>
          <a:xfrm>
            <a:off x="5105400" y="1433090"/>
            <a:ext cx="4037326" cy="4339927"/>
          </a:xfrm>
          <a:prstGeom prst="rect">
            <a:avLst/>
          </a:prstGeom>
        </p:spPr>
      </p:pic>
      <p:pic>
        <p:nvPicPr>
          <p:cNvPr id="7" name="Picture 6" descr="A close-up of a computer&#10;&#10;AI-generated content may be incorrect.">
            <a:extLst>
              <a:ext uri="{FF2B5EF4-FFF2-40B4-BE49-F238E27FC236}">
                <a16:creationId xmlns:a16="http://schemas.microsoft.com/office/drawing/2014/main" id="{40B06D76-630B-F4DD-71EE-EDEE6287BD0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30113" y="1293739"/>
            <a:ext cx="8455485" cy="4756211"/>
          </a:xfrm>
          <a:prstGeom prst="rect">
            <a:avLst/>
          </a:prstGeom>
        </p:spPr>
      </p:pic>
      <p:sp>
        <p:nvSpPr>
          <p:cNvPr id="9" name="Rectangle: Rounded Corners 8">
            <a:extLst>
              <a:ext uri="{FF2B5EF4-FFF2-40B4-BE49-F238E27FC236}">
                <a16:creationId xmlns:a16="http://schemas.microsoft.com/office/drawing/2014/main" id="{630407E1-83F8-3BC0-4B8D-C9E89794BC68}"/>
              </a:ext>
            </a:extLst>
          </p:cNvPr>
          <p:cNvSpPr/>
          <p:nvPr/>
        </p:nvSpPr>
        <p:spPr>
          <a:xfrm>
            <a:off x="5638800" y="5105400"/>
            <a:ext cx="3276600" cy="355956"/>
          </a:xfrm>
          <a:prstGeom prst="roundRect">
            <a:avLst>
              <a:gd name="adj" fmla="val 10842"/>
            </a:avLst>
          </a:prstGeom>
          <a:noFill/>
          <a:ln w="57150">
            <a:solidFill>
              <a:srgbClr val="4CD300"/>
            </a:solid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orever Forma Body Text"/>
              <a:ea typeface="+mn-ea"/>
              <a:cs typeface="+mn-cs"/>
            </a:endParaRPr>
          </a:p>
        </p:txBody>
      </p:sp>
      <p:sp>
        <p:nvSpPr>
          <p:cNvPr id="5" name="Title 15">
            <a:extLst>
              <a:ext uri="{FF2B5EF4-FFF2-40B4-BE49-F238E27FC236}">
                <a16:creationId xmlns:a16="http://schemas.microsoft.com/office/drawing/2014/main" id="{EA0AF9B1-92F5-F02C-50F4-25C3AEBCCAAA}"/>
              </a:ext>
            </a:extLst>
          </p:cNvPr>
          <p:cNvSpPr txBox="1">
            <a:spLocks/>
          </p:cNvSpPr>
          <p:nvPr/>
        </p:nvSpPr>
        <p:spPr>
          <a:xfrm>
            <a:off x="17318" y="-40884"/>
            <a:ext cx="11149580" cy="94463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a:ln>
                  <a:noFill/>
                </a:ln>
                <a:solidFill>
                  <a:srgbClr val="1D2550"/>
                </a:solidFill>
                <a:effectLst/>
                <a:uLnTx/>
                <a:uFillTx/>
                <a:latin typeface="Aptos Display" panose="02110004020202020204"/>
                <a:ea typeface="+mj-ea"/>
                <a:cs typeface="+mj-cs"/>
              </a:rPr>
              <a:t>Transamerica FE Express Solution</a:t>
            </a:r>
            <a:r>
              <a:rPr kumimoji="0" lang="en-US" sz="4400" b="0" i="0" u="none" strike="noStrike" kern="1200" cap="none" spc="0" normalizeH="0" baseline="0" noProof="0">
                <a:ln>
                  <a:noFill/>
                </a:ln>
                <a:solidFill>
                  <a:srgbClr val="1D2550"/>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en-US" sz="4400" b="0" i="0" u="none" strike="noStrike" kern="1200" cap="none" spc="0" normalizeH="0" baseline="0" noProof="0">
                <a:ln>
                  <a:noFill/>
                </a:ln>
                <a:solidFill>
                  <a:srgbClr val="1D2550"/>
                </a:solidFill>
                <a:effectLst/>
                <a:uLnTx/>
                <a:uFillTx/>
                <a:latin typeface="Aptos Display" panose="02110004020202020204"/>
                <a:ea typeface="+mj-ea"/>
                <a:cs typeface="+mj-cs"/>
              </a:rPr>
              <a:t> </a:t>
            </a:r>
          </a:p>
        </p:txBody>
      </p:sp>
      <p:sp>
        <p:nvSpPr>
          <p:cNvPr id="8" name="Text Placeholder 4">
            <a:extLst>
              <a:ext uri="{FF2B5EF4-FFF2-40B4-BE49-F238E27FC236}">
                <a16:creationId xmlns:a16="http://schemas.microsoft.com/office/drawing/2014/main" id="{F1C39056-1946-1FD9-01CA-2854A45CF604}"/>
              </a:ext>
            </a:extLst>
          </p:cNvPr>
          <p:cNvSpPr txBox="1">
            <a:spLocks/>
          </p:cNvSpPr>
          <p:nvPr/>
        </p:nvSpPr>
        <p:spPr>
          <a:xfrm>
            <a:off x="135323" y="797676"/>
            <a:ext cx="11149580" cy="35848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200" b="0" i="0" kern="1200">
                <a:solidFill>
                  <a:schemeClr val="tx1"/>
                </a:solidFill>
                <a:latin typeface="Forever Forma Heading"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None/>
              <a:tabLst/>
              <a:defRPr/>
            </a:pPr>
            <a:r>
              <a:rPr lang="en-US" spc="0">
                <a:solidFill>
                  <a:sysClr val="windowText" lastClr="000000"/>
                </a:solidFill>
              </a:rPr>
              <a:t>Third-Party Payor</a:t>
            </a:r>
            <a:endParaRPr kumimoji="0" lang="en-US" sz="2200" b="0" i="0" u="none" strike="noStrike" kern="1200" cap="none" spc="0" normalizeH="0" baseline="0" noProof="0">
              <a:ln>
                <a:noFill/>
              </a:ln>
              <a:solidFill>
                <a:sysClr val="windowText" lastClr="000000"/>
              </a:solidFill>
              <a:effectLst/>
              <a:uLnTx/>
              <a:uFillTx/>
              <a:latin typeface="Forever Forma Heading" pitchFamily="2" charset="0"/>
              <a:ea typeface="+mn-ea"/>
              <a:cs typeface="+mn-cs"/>
            </a:endParaRPr>
          </a:p>
        </p:txBody>
      </p:sp>
      <p:sp>
        <p:nvSpPr>
          <p:cNvPr id="11" name="TextBox 10">
            <a:extLst>
              <a:ext uri="{FF2B5EF4-FFF2-40B4-BE49-F238E27FC236}">
                <a16:creationId xmlns:a16="http://schemas.microsoft.com/office/drawing/2014/main" id="{19DD7F82-B628-770A-E10C-9B8EE19DC27E}"/>
              </a:ext>
            </a:extLst>
          </p:cNvPr>
          <p:cNvSpPr txBox="1"/>
          <p:nvPr/>
        </p:nvSpPr>
        <p:spPr>
          <a:xfrm>
            <a:off x="304800" y="2286850"/>
            <a:ext cx="3124200" cy="923330"/>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a:t>After completing the questionnaire, select Save billing information. </a:t>
            </a:r>
          </a:p>
        </p:txBody>
      </p:sp>
    </p:spTree>
    <p:custDataLst>
      <p:tags r:id="rId1"/>
    </p:custDataLst>
    <p:extLst>
      <p:ext uri="{BB962C8B-B14F-4D97-AF65-F5344CB8AC3E}">
        <p14:creationId xmlns:p14="http://schemas.microsoft.com/office/powerpoint/2010/main" val="14161811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F92EC4-FCDA-B379-A41B-97874438FE7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4282D21-1A40-459B-714B-53E3AB374209}"/>
              </a:ext>
            </a:extLst>
          </p:cNvPr>
          <p:cNvSpPr>
            <a:spLocks noGrp="1"/>
          </p:cNvSpPr>
          <p:nvPr>
            <p:ph type="title"/>
          </p:nvPr>
        </p:nvSpPr>
        <p:spPr/>
        <p:txBody>
          <a:bodyPr/>
          <a:lstStyle/>
          <a:p>
            <a:endParaRPr lang="en-US"/>
          </a:p>
        </p:txBody>
      </p:sp>
      <p:sp>
        <p:nvSpPr>
          <p:cNvPr id="3" name="Slide Number Placeholder 2">
            <a:extLst>
              <a:ext uri="{FF2B5EF4-FFF2-40B4-BE49-F238E27FC236}">
                <a16:creationId xmlns:a16="http://schemas.microsoft.com/office/drawing/2014/main" id="{FE9E7D4B-8A92-B95B-1941-91CB8E5A6BA8}"/>
              </a:ext>
            </a:extLst>
          </p:cNvPr>
          <p:cNvSpPr>
            <a:spLocks noGrp="1"/>
          </p:cNvSpPr>
          <p:nvPr>
            <p:ph type="sldNum"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C1606C5-D483-4832-A0E9-CF578A9B5883}" type="slidenum">
              <a:rPr kumimoji="0" lang="en-US" sz="900" b="0" i="0" u="none" strike="noStrike" kern="1200" cap="none" spc="0" normalizeH="0" baseline="0" noProof="0" smtClean="0">
                <a:ln>
                  <a:noFill/>
                </a:ln>
                <a:solidFill>
                  <a:srgbClr val="000000"/>
                </a:solidFill>
                <a:effectLst/>
                <a:uLnTx/>
                <a:uFillTx/>
                <a:latin typeface="Forever Forma Body Text"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US" sz="900" b="0" i="0" u="none" strike="noStrike" kern="1200" cap="none" spc="0" normalizeH="0" baseline="0" noProof="0">
              <a:ln>
                <a:noFill/>
              </a:ln>
              <a:solidFill>
                <a:srgbClr val="000000"/>
              </a:solidFill>
              <a:effectLst/>
              <a:uLnTx/>
              <a:uFillTx/>
              <a:latin typeface="Forever Forma Body Text" pitchFamily="2" charset="0"/>
              <a:ea typeface="+mn-ea"/>
              <a:cs typeface="+mn-cs"/>
            </a:endParaRPr>
          </a:p>
        </p:txBody>
      </p:sp>
      <p:sp>
        <p:nvSpPr>
          <p:cNvPr id="4" name="Text Placeholder 3">
            <a:extLst>
              <a:ext uri="{FF2B5EF4-FFF2-40B4-BE49-F238E27FC236}">
                <a16:creationId xmlns:a16="http://schemas.microsoft.com/office/drawing/2014/main" id="{8420EE0A-D933-BF42-3747-A6A5A8D6BB67}"/>
              </a:ext>
            </a:extLst>
          </p:cNvPr>
          <p:cNvSpPr>
            <a:spLocks noGrp="1"/>
          </p:cNvSpPr>
          <p:nvPr>
            <p:ph type="body" sz="quarter" idx="14"/>
          </p:nvPr>
        </p:nvSpPr>
        <p:spPr/>
        <p:txBody>
          <a:bodyPr/>
          <a:lstStyle/>
          <a:p>
            <a:r>
              <a:rPr lang="en-US"/>
              <a:t>Agent Use Only. Not for public use.</a:t>
            </a:r>
          </a:p>
        </p:txBody>
      </p:sp>
      <p:pic>
        <p:nvPicPr>
          <p:cNvPr id="6" name="Picture 5">
            <a:extLst>
              <a:ext uri="{FF2B5EF4-FFF2-40B4-BE49-F238E27FC236}">
                <a16:creationId xmlns:a16="http://schemas.microsoft.com/office/drawing/2014/main" id="{77AA8D4D-0B02-F938-2CB2-4FA4C36D3230}"/>
              </a:ext>
            </a:extLst>
          </p:cNvPr>
          <p:cNvPicPr>
            <a:picLocks noChangeAspect="1"/>
          </p:cNvPicPr>
          <p:nvPr/>
        </p:nvPicPr>
        <p:blipFill>
          <a:blip r:embed="rId4"/>
          <a:stretch>
            <a:fillRect/>
          </a:stretch>
        </p:blipFill>
        <p:spPr>
          <a:xfrm>
            <a:off x="5696258" y="967117"/>
            <a:ext cx="3148424" cy="4539095"/>
          </a:xfrm>
          <a:prstGeom prst="rect">
            <a:avLst/>
          </a:prstGeom>
        </p:spPr>
      </p:pic>
      <p:pic>
        <p:nvPicPr>
          <p:cNvPr id="7" name="Picture 6" descr="A close-up of a computer&#10;&#10;AI-generated content may be incorrect.">
            <a:extLst>
              <a:ext uri="{FF2B5EF4-FFF2-40B4-BE49-F238E27FC236}">
                <a16:creationId xmlns:a16="http://schemas.microsoft.com/office/drawing/2014/main" id="{1FD0B3BA-54F4-B982-19C5-0F599E45F63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85095" y="850714"/>
            <a:ext cx="8998903" cy="5156571"/>
          </a:xfrm>
          <a:prstGeom prst="rect">
            <a:avLst/>
          </a:prstGeom>
        </p:spPr>
      </p:pic>
      <p:sp>
        <p:nvSpPr>
          <p:cNvPr id="9" name="Rectangle: Rounded Corners 8">
            <a:extLst>
              <a:ext uri="{FF2B5EF4-FFF2-40B4-BE49-F238E27FC236}">
                <a16:creationId xmlns:a16="http://schemas.microsoft.com/office/drawing/2014/main" id="{F6B466D8-D122-025C-2A42-60593F04C344}"/>
              </a:ext>
            </a:extLst>
          </p:cNvPr>
          <p:cNvSpPr/>
          <p:nvPr/>
        </p:nvSpPr>
        <p:spPr>
          <a:xfrm>
            <a:off x="5860770" y="3361668"/>
            <a:ext cx="2819400" cy="808050"/>
          </a:xfrm>
          <a:prstGeom prst="roundRect">
            <a:avLst>
              <a:gd name="adj" fmla="val 10842"/>
            </a:avLst>
          </a:prstGeom>
          <a:noFill/>
          <a:ln w="57150">
            <a:solidFill>
              <a:srgbClr val="4CD300"/>
            </a:solid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orever Forma Body Text"/>
              <a:ea typeface="+mn-ea"/>
              <a:cs typeface="+mn-cs"/>
            </a:endParaRPr>
          </a:p>
        </p:txBody>
      </p:sp>
      <p:sp>
        <p:nvSpPr>
          <p:cNvPr id="10" name="Rectangle: Rounded Corners 9">
            <a:extLst>
              <a:ext uri="{FF2B5EF4-FFF2-40B4-BE49-F238E27FC236}">
                <a16:creationId xmlns:a16="http://schemas.microsoft.com/office/drawing/2014/main" id="{F433F045-7760-D4CB-0A6C-E6C26F54E742}"/>
              </a:ext>
            </a:extLst>
          </p:cNvPr>
          <p:cNvSpPr/>
          <p:nvPr/>
        </p:nvSpPr>
        <p:spPr>
          <a:xfrm>
            <a:off x="8001000" y="5128673"/>
            <a:ext cx="679170" cy="268224"/>
          </a:xfrm>
          <a:prstGeom prst="roundRect">
            <a:avLst>
              <a:gd name="adj" fmla="val 10842"/>
            </a:avLst>
          </a:prstGeom>
          <a:noFill/>
          <a:ln w="57150">
            <a:solidFill>
              <a:srgbClr val="4CD300"/>
            </a:solid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orever Forma Body Text"/>
              <a:ea typeface="+mn-ea"/>
              <a:cs typeface="+mn-cs"/>
            </a:endParaRPr>
          </a:p>
        </p:txBody>
      </p:sp>
      <p:sp>
        <p:nvSpPr>
          <p:cNvPr id="5" name="Title 15">
            <a:extLst>
              <a:ext uri="{FF2B5EF4-FFF2-40B4-BE49-F238E27FC236}">
                <a16:creationId xmlns:a16="http://schemas.microsoft.com/office/drawing/2014/main" id="{7B8D764C-1FB7-2E04-5C1D-CAA177EF7817}"/>
              </a:ext>
            </a:extLst>
          </p:cNvPr>
          <p:cNvSpPr txBox="1">
            <a:spLocks/>
          </p:cNvSpPr>
          <p:nvPr/>
        </p:nvSpPr>
        <p:spPr>
          <a:xfrm>
            <a:off x="17318" y="-40884"/>
            <a:ext cx="11149580" cy="94463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a:ln>
                  <a:noFill/>
                </a:ln>
                <a:solidFill>
                  <a:srgbClr val="1D2550"/>
                </a:solidFill>
                <a:effectLst/>
                <a:uLnTx/>
                <a:uFillTx/>
                <a:latin typeface="Aptos Display" panose="02110004020202020204"/>
                <a:ea typeface="+mj-ea"/>
                <a:cs typeface="+mj-cs"/>
              </a:rPr>
              <a:t>Transamerica FE Express Solution</a:t>
            </a:r>
            <a:r>
              <a:rPr kumimoji="0" lang="en-US" sz="4400" b="0" i="0" u="none" strike="noStrike" kern="1200" cap="none" spc="0" normalizeH="0" baseline="0" noProof="0">
                <a:ln>
                  <a:noFill/>
                </a:ln>
                <a:solidFill>
                  <a:srgbClr val="1D2550"/>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en-US" sz="4400" b="0" i="0" u="none" strike="noStrike" kern="1200" cap="none" spc="0" normalizeH="0" baseline="0" noProof="0">
                <a:ln>
                  <a:noFill/>
                </a:ln>
                <a:solidFill>
                  <a:srgbClr val="1D2550"/>
                </a:solidFill>
                <a:effectLst/>
                <a:uLnTx/>
                <a:uFillTx/>
                <a:latin typeface="Aptos Display" panose="02110004020202020204"/>
                <a:ea typeface="+mj-ea"/>
                <a:cs typeface="+mj-cs"/>
              </a:rPr>
              <a:t> </a:t>
            </a:r>
          </a:p>
        </p:txBody>
      </p:sp>
      <p:sp>
        <p:nvSpPr>
          <p:cNvPr id="8" name="Text Placeholder 4">
            <a:extLst>
              <a:ext uri="{FF2B5EF4-FFF2-40B4-BE49-F238E27FC236}">
                <a16:creationId xmlns:a16="http://schemas.microsoft.com/office/drawing/2014/main" id="{B0A1B1BF-051E-1C59-2FAE-E9594AFD5278}"/>
              </a:ext>
            </a:extLst>
          </p:cNvPr>
          <p:cNvSpPr txBox="1">
            <a:spLocks/>
          </p:cNvSpPr>
          <p:nvPr/>
        </p:nvSpPr>
        <p:spPr>
          <a:xfrm>
            <a:off x="135323" y="797676"/>
            <a:ext cx="11149580" cy="35848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200" b="0" i="0" kern="1200">
                <a:solidFill>
                  <a:schemeClr val="tx1"/>
                </a:solidFill>
                <a:latin typeface="Forever Forma Heading"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None/>
              <a:tabLst/>
              <a:defRPr/>
            </a:pPr>
            <a:r>
              <a:rPr lang="en-US" spc="0">
                <a:solidFill>
                  <a:sysClr val="windowText" lastClr="000000"/>
                </a:solidFill>
              </a:rPr>
              <a:t>Third-Party Payor</a:t>
            </a:r>
            <a:endParaRPr kumimoji="0" lang="en-US" sz="2200" b="0" i="0" u="none" strike="noStrike" kern="1200" cap="none" spc="0" normalizeH="0" baseline="0" noProof="0">
              <a:ln>
                <a:noFill/>
              </a:ln>
              <a:solidFill>
                <a:sysClr val="windowText" lastClr="000000"/>
              </a:solidFill>
              <a:effectLst/>
              <a:uLnTx/>
              <a:uFillTx/>
              <a:latin typeface="Forever Forma Heading" pitchFamily="2" charset="0"/>
              <a:ea typeface="+mn-ea"/>
              <a:cs typeface="+mn-cs"/>
            </a:endParaRPr>
          </a:p>
        </p:txBody>
      </p:sp>
      <p:sp>
        <p:nvSpPr>
          <p:cNvPr id="12" name="TextBox 11">
            <a:extLst>
              <a:ext uri="{FF2B5EF4-FFF2-40B4-BE49-F238E27FC236}">
                <a16:creationId xmlns:a16="http://schemas.microsoft.com/office/drawing/2014/main" id="{EA9737AD-E0A6-6C54-FEBA-17AFBD1E9728}"/>
              </a:ext>
            </a:extLst>
          </p:cNvPr>
          <p:cNvSpPr txBox="1"/>
          <p:nvPr/>
        </p:nvSpPr>
        <p:spPr>
          <a:xfrm>
            <a:off x="425398" y="1709553"/>
            <a:ext cx="3025800" cy="3139321"/>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a:t>If the third-party payor is using bank account information for payment, they’ll need to agree to the bank verification terms outlined her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a:t>Otherwise, you’ll be prompted to use a debit or credit card for payment. </a:t>
            </a:r>
          </a:p>
        </p:txBody>
      </p:sp>
    </p:spTree>
    <p:custDataLst>
      <p:tags r:id="rId1"/>
    </p:custDataLst>
    <p:extLst>
      <p:ext uri="{BB962C8B-B14F-4D97-AF65-F5344CB8AC3E}">
        <p14:creationId xmlns:p14="http://schemas.microsoft.com/office/powerpoint/2010/main" val="30166069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AF98FB-DD55-D8C6-7F64-CB86B49F96A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37BA981-18DF-28BE-C5E8-CB6A6EC3A736}"/>
              </a:ext>
            </a:extLst>
          </p:cNvPr>
          <p:cNvSpPr>
            <a:spLocks noGrp="1"/>
          </p:cNvSpPr>
          <p:nvPr>
            <p:ph type="title"/>
          </p:nvPr>
        </p:nvSpPr>
        <p:spPr/>
        <p:txBody>
          <a:bodyPr/>
          <a:lstStyle/>
          <a:p>
            <a:endParaRPr lang="en-US"/>
          </a:p>
        </p:txBody>
      </p:sp>
      <p:sp>
        <p:nvSpPr>
          <p:cNvPr id="3" name="Slide Number Placeholder 2">
            <a:extLst>
              <a:ext uri="{FF2B5EF4-FFF2-40B4-BE49-F238E27FC236}">
                <a16:creationId xmlns:a16="http://schemas.microsoft.com/office/drawing/2014/main" id="{0FEFBCB9-8FCA-46FA-D7A7-314BA9BDA22D}"/>
              </a:ext>
            </a:extLst>
          </p:cNvPr>
          <p:cNvSpPr>
            <a:spLocks noGrp="1"/>
          </p:cNvSpPr>
          <p:nvPr>
            <p:ph type="sldNum"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C1606C5-D483-4832-A0E9-CF578A9B5883}" type="slidenum">
              <a:rPr kumimoji="0" lang="en-US" sz="900" b="0" i="0" u="none" strike="noStrike" kern="1200" cap="none" spc="0" normalizeH="0" baseline="0" noProof="0" smtClean="0">
                <a:ln>
                  <a:noFill/>
                </a:ln>
                <a:solidFill>
                  <a:srgbClr val="000000"/>
                </a:solidFill>
                <a:effectLst/>
                <a:uLnTx/>
                <a:uFillTx/>
                <a:latin typeface="Forever Forma Body Text"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US" sz="900" b="0" i="0" u="none" strike="noStrike" kern="1200" cap="none" spc="0" normalizeH="0" baseline="0" noProof="0">
              <a:ln>
                <a:noFill/>
              </a:ln>
              <a:solidFill>
                <a:srgbClr val="000000"/>
              </a:solidFill>
              <a:effectLst/>
              <a:uLnTx/>
              <a:uFillTx/>
              <a:latin typeface="Forever Forma Body Text" pitchFamily="2" charset="0"/>
              <a:ea typeface="+mn-ea"/>
              <a:cs typeface="+mn-cs"/>
            </a:endParaRPr>
          </a:p>
        </p:txBody>
      </p:sp>
      <p:sp>
        <p:nvSpPr>
          <p:cNvPr id="4" name="Text Placeholder 3">
            <a:extLst>
              <a:ext uri="{FF2B5EF4-FFF2-40B4-BE49-F238E27FC236}">
                <a16:creationId xmlns:a16="http://schemas.microsoft.com/office/drawing/2014/main" id="{826C713E-92E5-F8B3-9771-97F02A7A9C1D}"/>
              </a:ext>
            </a:extLst>
          </p:cNvPr>
          <p:cNvSpPr>
            <a:spLocks noGrp="1"/>
          </p:cNvSpPr>
          <p:nvPr>
            <p:ph type="body" sz="quarter" idx="14"/>
          </p:nvPr>
        </p:nvSpPr>
        <p:spPr/>
        <p:txBody>
          <a:bodyPr/>
          <a:lstStyle/>
          <a:p>
            <a:r>
              <a:rPr lang="en-US"/>
              <a:t>Agent Use Only. Not for public use.</a:t>
            </a:r>
          </a:p>
        </p:txBody>
      </p:sp>
      <p:pic>
        <p:nvPicPr>
          <p:cNvPr id="6" name="Picture 5">
            <a:extLst>
              <a:ext uri="{FF2B5EF4-FFF2-40B4-BE49-F238E27FC236}">
                <a16:creationId xmlns:a16="http://schemas.microsoft.com/office/drawing/2014/main" id="{CDE70B88-3D62-D63D-F5B6-ED160BFF9D8D}"/>
              </a:ext>
            </a:extLst>
          </p:cNvPr>
          <p:cNvPicPr>
            <a:picLocks noChangeAspect="1"/>
          </p:cNvPicPr>
          <p:nvPr/>
        </p:nvPicPr>
        <p:blipFill>
          <a:blip r:embed="rId4"/>
          <a:stretch>
            <a:fillRect/>
          </a:stretch>
        </p:blipFill>
        <p:spPr>
          <a:xfrm>
            <a:off x="6341324" y="1334166"/>
            <a:ext cx="3051126" cy="4570888"/>
          </a:xfrm>
          <a:prstGeom prst="rect">
            <a:avLst/>
          </a:prstGeom>
        </p:spPr>
      </p:pic>
      <p:pic>
        <p:nvPicPr>
          <p:cNvPr id="7" name="Picture 6" descr="A close-up of a computer&#10;&#10;AI-generated content may be incorrect.">
            <a:extLst>
              <a:ext uri="{FF2B5EF4-FFF2-40B4-BE49-F238E27FC236}">
                <a16:creationId xmlns:a16="http://schemas.microsoft.com/office/drawing/2014/main" id="{196D378F-42FF-01B7-82C4-25A208861DA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11426" y="894815"/>
            <a:ext cx="9180574" cy="5164073"/>
          </a:xfrm>
          <a:prstGeom prst="rect">
            <a:avLst/>
          </a:prstGeom>
        </p:spPr>
      </p:pic>
      <p:sp>
        <p:nvSpPr>
          <p:cNvPr id="9" name="Rectangle: Rounded Corners 8">
            <a:extLst>
              <a:ext uri="{FF2B5EF4-FFF2-40B4-BE49-F238E27FC236}">
                <a16:creationId xmlns:a16="http://schemas.microsoft.com/office/drawing/2014/main" id="{BF06EC53-98FD-84E6-DD8F-8C7E7D37BB99}"/>
              </a:ext>
            </a:extLst>
          </p:cNvPr>
          <p:cNvSpPr/>
          <p:nvPr/>
        </p:nvSpPr>
        <p:spPr>
          <a:xfrm>
            <a:off x="6341324" y="1253297"/>
            <a:ext cx="2839250" cy="4156904"/>
          </a:xfrm>
          <a:prstGeom prst="roundRect">
            <a:avLst>
              <a:gd name="adj" fmla="val 10842"/>
            </a:avLst>
          </a:prstGeom>
          <a:noFill/>
          <a:ln w="57150">
            <a:solidFill>
              <a:srgbClr val="4CD300"/>
            </a:solid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orever Forma Body Text"/>
              <a:ea typeface="+mn-ea"/>
              <a:cs typeface="+mn-cs"/>
            </a:endParaRPr>
          </a:p>
        </p:txBody>
      </p:sp>
      <p:sp>
        <p:nvSpPr>
          <p:cNvPr id="5" name="Title 15">
            <a:extLst>
              <a:ext uri="{FF2B5EF4-FFF2-40B4-BE49-F238E27FC236}">
                <a16:creationId xmlns:a16="http://schemas.microsoft.com/office/drawing/2014/main" id="{6A8F6F30-18E4-8481-A20E-257A17115EE6}"/>
              </a:ext>
            </a:extLst>
          </p:cNvPr>
          <p:cNvSpPr txBox="1">
            <a:spLocks/>
          </p:cNvSpPr>
          <p:nvPr/>
        </p:nvSpPr>
        <p:spPr>
          <a:xfrm>
            <a:off x="17318" y="-40884"/>
            <a:ext cx="11149580" cy="94463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a:ln>
                  <a:noFill/>
                </a:ln>
                <a:solidFill>
                  <a:srgbClr val="1D2550"/>
                </a:solidFill>
                <a:effectLst/>
                <a:uLnTx/>
                <a:uFillTx/>
                <a:latin typeface="Aptos Display" panose="02110004020202020204"/>
                <a:ea typeface="+mj-ea"/>
                <a:cs typeface="+mj-cs"/>
              </a:rPr>
              <a:t>Transamerica FE Express Solution</a:t>
            </a:r>
            <a:r>
              <a:rPr kumimoji="0" lang="en-US" sz="4400" b="0" i="0" u="none" strike="noStrike" kern="1200" cap="none" spc="0" normalizeH="0" baseline="0" noProof="0">
                <a:ln>
                  <a:noFill/>
                </a:ln>
                <a:solidFill>
                  <a:srgbClr val="1D2550"/>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en-US" sz="4400" b="0" i="0" u="none" strike="noStrike" kern="1200" cap="none" spc="0" normalizeH="0" baseline="0" noProof="0">
                <a:ln>
                  <a:noFill/>
                </a:ln>
                <a:solidFill>
                  <a:srgbClr val="1D2550"/>
                </a:solidFill>
                <a:effectLst/>
                <a:uLnTx/>
                <a:uFillTx/>
                <a:latin typeface="Aptos Display" panose="02110004020202020204"/>
                <a:ea typeface="+mj-ea"/>
                <a:cs typeface="+mj-cs"/>
              </a:rPr>
              <a:t> </a:t>
            </a:r>
          </a:p>
        </p:txBody>
      </p:sp>
      <p:sp>
        <p:nvSpPr>
          <p:cNvPr id="8" name="Text Placeholder 4">
            <a:extLst>
              <a:ext uri="{FF2B5EF4-FFF2-40B4-BE49-F238E27FC236}">
                <a16:creationId xmlns:a16="http://schemas.microsoft.com/office/drawing/2014/main" id="{3B8D619D-CB78-7AB2-1611-2D4A84BEF496}"/>
              </a:ext>
            </a:extLst>
          </p:cNvPr>
          <p:cNvSpPr txBox="1">
            <a:spLocks/>
          </p:cNvSpPr>
          <p:nvPr/>
        </p:nvSpPr>
        <p:spPr>
          <a:xfrm>
            <a:off x="135323" y="797676"/>
            <a:ext cx="11149580" cy="35848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200" b="0" i="0" kern="1200">
                <a:solidFill>
                  <a:schemeClr val="tx1"/>
                </a:solidFill>
                <a:latin typeface="Forever Forma Heading"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None/>
              <a:tabLst/>
              <a:defRPr/>
            </a:pPr>
            <a:r>
              <a:rPr lang="en-US" spc="0">
                <a:solidFill>
                  <a:sysClr val="windowText" lastClr="000000"/>
                </a:solidFill>
              </a:rPr>
              <a:t>Third-Party Payor</a:t>
            </a:r>
            <a:endParaRPr kumimoji="0" lang="en-US" sz="2200" b="0" i="0" u="none" strike="noStrike" kern="1200" cap="none" spc="0" normalizeH="0" baseline="0" noProof="0">
              <a:ln>
                <a:noFill/>
              </a:ln>
              <a:solidFill>
                <a:sysClr val="windowText" lastClr="000000"/>
              </a:solidFill>
              <a:effectLst/>
              <a:uLnTx/>
              <a:uFillTx/>
              <a:latin typeface="Forever Forma Heading" pitchFamily="2" charset="0"/>
              <a:ea typeface="+mn-ea"/>
              <a:cs typeface="+mn-cs"/>
            </a:endParaRPr>
          </a:p>
        </p:txBody>
      </p:sp>
      <p:sp>
        <p:nvSpPr>
          <p:cNvPr id="11" name="TextBox 10">
            <a:extLst>
              <a:ext uri="{FF2B5EF4-FFF2-40B4-BE49-F238E27FC236}">
                <a16:creationId xmlns:a16="http://schemas.microsoft.com/office/drawing/2014/main" id="{52F32CF6-58E9-E236-D735-6F3BD287589E}"/>
              </a:ext>
            </a:extLst>
          </p:cNvPr>
          <p:cNvSpPr txBox="1"/>
          <p:nvPr/>
        </p:nvSpPr>
        <p:spPr>
          <a:xfrm>
            <a:off x="159568" y="1728355"/>
            <a:ext cx="3827077" cy="3416320"/>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a:t>First, select the delivery method the payor prefers (email or text message), confirm the phone number, and accept the terms and conditions. </a:t>
            </a:r>
          </a:p>
          <a:p>
            <a:pPr marR="0" lvl="0" algn="l" defTabSz="914400" rtl="0" eaLnBrk="1" fontAlgn="auto" latinLnBrk="0" hangingPunct="1">
              <a:lnSpc>
                <a:spcPct val="100000"/>
              </a:lnSpc>
              <a:spcBef>
                <a:spcPts val="0"/>
              </a:spcBef>
              <a:spcAft>
                <a:spcPts val="0"/>
              </a:spcAft>
              <a:buClrTx/>
              <a:buSzTx/>
              <a:buNone/>
              <a:tabLst/>
              <a:defRPr/>
            </a:pPr>
            <a:endParaRPr lang="en-US" b="0" i="0" u="none" strike="noStrike">
              <a:solidFill>
                <a:srgbClr val="000000"/>
              </a:solidFill>
              <a:effectLst/>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b="0" i="0" u="none" strike="noStrike">
                <a:solidFill>
                  <a:srgbClr val="000000"/>
                </a:solidFill>
                <a:effectLst/>
              </a:rPr>
              <a:t>The payor can review the electronic business consent, premium payor supplement, and privacy notice before providing the PIN by clicking on the link provided in the text messages. </a:t>
            </a:r>
            <a:endParaRPr lang="en-US"/>
          </a:p>
        </p:txBody>
      </p:sp>
    </p:spTree>
    <p:custDataLst>
      <p:tags r:id="rId1"/>
    </p:custDataLst>
    <p:extLst>
      <p:ext uri="{BB962C8B-B14F-4D97-AF65-F5344CB8AC3E}">
        <p14:creationId xmlns:p14="http://schemas.microsoft.com/office/powerpoint/2010/main" val="2684539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922521-D0B4-DA06-F3C2-B71AE0BF2E8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B2038D7-8465-BCDD-D11A-305997C92C06}"/>
              </a:ext>
            </a:extLst>
          </p:cNvPr>
          <p:cNvSpPr>
            <a:spLocks noGrp="1"/>
          </p:cNvSpPr>
          <p:nvPr>
            <p:ph type="title"/>
          </p:nvPr>
        </p:nvSpPr>
        <p:spPr/>
        <p:txBody>
          <a:bodyPr/>
          <a:lstStyle/>
          <a:p>
            <a:endParaRPr lang="en-US"/>
          </a:p>
        </p:txBody>
      </p:sp>
      <p:sp>
        <p:nvSpPr>
          <p:cNvPr id="3" name="Slide Number Placeholder 2">
            <a:extLst>
              <a:ext uri="{FF2B5EF4-FFF2-40B4-BE49-F238E27FC236}">
                <a16:creationId xmlns:a16="http://schemas.microsoft.com/office/drawing/2014/main" id="{BAC028BB-BEE1-6A9B-B59E-2ADB93E32A9C}"/>
              </a:ext>
            </a:extLst>
          </p:cNvPr>
          <p:cNvSpPr>
            <a:spLocks noGrp="1"/>
          </p:cNvSpPr>
          <p:nvPr>
            <p:ph type="sldNum"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C1606C5-D483-4832-A0E9-CF578A9B5883}" type="slidenum">
              <a:rPr kumimoji="0" lang="en-US" sz="900" b="0" i="0" u="none" strike="noStrike" kern="1200" cap="none" spc="0" normalizeH="0" baseline="0" noProof="0" smtClean="0">
                <a:ln>
                  <a:noFill/>
                </a:ln>
                <a:solidFill>
                  <a:srgbClr val="000000"/>
                </a:solidFill>
                <a:effectLst/>
                <a:uLnTx/>
                <a:uFillTx/>
                <a:latin typeface="Forever Forma Body Text"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US" sz="900" b="0" i="0" u="none" strike="noStrike" kern="1200" cap="none" spc="0" normalizeH="0" baseline="0" noProof="0">
              <a:ln>
                <a:noFill/>
              </a:ln>
              <a:solidFill>
                <a:srgbClr val="000000"/>
              </a:solidFill>
              <a:effectLst/>
              <a:uLnTx/>
              <a:uFillTx/>
              <a:latin typeface="Forever Forma Body Text" pitchFamily="2" charset="0"/>
              <a:ea typeface="+mn-ea"/>
              <a:cs typeface="+mn-cs"/>
            </a:endParaRPr>
          </a:p>
        </p:txBody>
      </p:sp>
      <p:sp>
        <p:nvSpPr>
          <p:cNvPr id="4" name="Text Placeholder 3">
            <a:extLst>
              <a:ext uri="{FF2B5EF4-FFF2-40B4-BE49-F238E27FC236}">
                <a16:creationId xmlns:a16="http://schemas.microsoft.com/office/drawing/2014/main" id="{27A0F2AC-B4AA-EE5B-CB57-397EA947CB9E}"/>
              </a:ext>
            </a:extLst>
          </p:cNvPr>
          <p:cNvSpPr>
            <a:spLocks noGrp="1"/>
          </p:cNvSpPr>
          <p:nvPr>
            <p:ph type="body" sz="quarter" idx="14"/>
          </p:nvPr>
        </p:nvSpPr>
        <p:spPr/>
        <p:txBody>
          <a:bodyPr/>
          <a:lstStyle/>
          <a:p>
            <a:r>
              <a:rPr lang="en-US"/>
              <a:t>Agent Use Only. Not for public use.</a:t>
            </a:r>
          </a:p>
        </p:txBody>
      </p:sp>
      <p:pic>
        <p:nvPicPr>
          <p:cNvPr id="6" name="Picture 5">
            <a:extLst>
              <a:ext uri="{FF2B5EF4-FFF2-40B4-BE49-F238E27FC236}">
                <a16:creationId xmlns:a16="http://schemas.microsoft.com/office/drawing/2014/main" id="{76522F5D-DE93-E9BE-A401-DDB93CDBE9E1}"/>
              </a:ext>
            </a:extLst>
          </p:cNvPr>
          <p:cNvPicPr>
            <a:picLocks noChangeAspect="1"/>
          </p:cNvPicPr>
          <p:nvPr/>
        </p:nvPicPr>
        <p:blipFill>
          <a:blip r:embed="rId4"/>
          <a:stretch>
            <a:fillRect/>
          </a:stretch>
        </p:blipFill>
        <p:spPr>
          <a:xfrm>
            <a:off x="6424640" y="1426262"/>
            <a:ext cx="2606706" cy="4261493"/>
          </a:xfrm>
          <a:prstGeom prst="rect">
            <a:avLst/>
          </a:prstGeom>
        </p:spPr>
      </p:pic>
      <p:pic>
        <p:nvPicPr>
          <p:cNvPr id="7" name="Picture 6" descr="A close-up of a computer&#10;&#10;AI-generated content may be incorrect.">
            <a:extLst>
              <a:ext uri="{FF2B5EF4-FFF2-40B4-BE49-F238E27FC236}">
                <a16:creationId xmlns:a16="http://schemas.microsoft.com/office/drawing/2014/main" id="{82AC90EC-FEDD-F295-3182-F3A6404D809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168861" y="936579"/>
            <a:ext cx="8887816" cy="4999397"/>
          </a:xfrm>
          <a:prstGeom prst="rect">
            <a:avLst/>
          </a:prstGeom>
        </p:spPr>
      </p:pic>
      <p:sp>
        <p:nvSpPr>
          <p:cNvPr id="9" name="Rectangle: Rounded Corners 8">
            <a:extLst>
              <a:ext uri="{FF2B5EF4-FFF2-40B4-BE49-F238E27FC236}">
                <a16:creationId xmlns:a16="http://schemas.microsoft.com/office/drawing/2014/main" id="{7D09CA3F-1F33-BE20-B91A-D3F8C9CE238D}"/>
              </a:ext>
            </a:extLst>
          </p:cNvPr>
          <p:cNvSpPr/>
          <p:nvPr/>
        </p:nvSpPr>
        <p:spPr>
          <a:xfrm>
            <a:off x="6424640" y="1295061"/>
            <a:ext cx="2606706" cy="4038939"/>
          </a:xfrm>
          <a:prstGeom prst="roundRect">
            <a:avLst>
              <a:gd name="adj" fmla="val 10842"/>
            </a:avLst>
          </a:prstGeom>
          <a:noFill/>
          <a:ln w="57150">
            <a:solidFill>
              <a:srgbClr val="4CD300"/>
            </a:solid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orever Forma Body Text"/>
              <a:ea typeface="+mn-ea"/>
              <a:cs typeface="+mn-cs"/>
            </a:endParaRPr>
          </a:p>
        </p:txBody>
      </p:sp>
      <p:sp>
        <p:nvSpPr>
          <p:cNvPr id="5" name="Title 15">
            <a:extLst>
              <a:ext uri="{FF2B5EF4-FFF2-40B4-BE49-F238E27FC236}">
                <a16:creationId xmlns:a16="http://schemas.microsoft.com/office/drawing/2014/main" id="{2013B063-B10A-7B85-2A57-E87C851A945A}"/>
              </a:ext>
            </a:extLst>
          </p:cNvPr>
          <p:cNvSpPr txBox="1">
            <a:spLocks/>
          </p:cNvSpPr>
          <p:nvPr/>
        </p:nvSpPr>
        <p:spPr>
          <a:xfrm>
            <a:off x="17318" y="-40884"/>
            <a:ext cx="11149580" cy="94463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a:ln>
                  <a:noFill/>
                </a:ln>
                <a:solidFill>
                  <a:srgbClr val="1D2550"/>
                </a:solidFill>
                <a:effectLst/>
                <a:uLnTx/>
                <a:uFillTx/>
                <a:latin typeface="Aptos Display" panose="02110004020202020204"/>
                <a:ea typeface="+mj-ea"/>
                <a:cs typeface="+mj-cs"/>
              </a:rPr>
              <a:t>Transamerica FE Express Solution</a:t>
            </a:r>
            <a:r>
              <a:rPr kumimoji="0" lang="en-US" sz="4400" b="0" i="0" u="none" strike="noStrike" kern="1200" cap="none" spc="0" normalizeH="0" baseline="0" noProof="0">
                <a:ln>
                  <a:noFill/>
                </a:ln>
                <a:solidFill>
                  <a:srgbClr val="1D2550"/>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en-US" sz="4400" b="0" i="0" u="none" strike="noStrike" kern="1200" cap="none" spc="0" normalizeH="0" baseline="0" noProof="0">
                <a:ln>
                  <a:noFill/>
                </a:ln>
                <a:solidFill>
                  <a:srgbClr val="1D2550"/>
                </a:solidFill>
                <a:effectLst/>
                <a:uLnTx/>
                <a:uFillTx/>
                <a:latin typeface="Aptos Display" panose="02110004020202020204"/>
                <a:ea typeface="+mj-ea"/>
                <a:cs typeface="+mj-cs"/>
              </a:rPr>
              <a:t> </a:t>
            </a:r>
          </a:p>
        </p:txBody>
      </p:sp>
      <p:sp>
        <p:nvSpPr>
          <p:cNvPr id="8" name="Text Placeholder 4">
            <a:extLst>
              <a:ext uri="{FF2B5EF4-FFF2-40B4-BE49-F238E27FC236}">
                <a16:creationId xmlns:a16="http://schemas.microsoft.com/office/drawing/2014/main" id="{7A558D64-E78F-5E23-9266-EAA00BAC2CF5}"/>
              </a:ext>
            </a:extLst>
          </p:cNvPr>
          <p:cNvSpPr txBox="1">
            <a:spLocks/>
          </p:cNvSpPr>
          <p:nvPr/>
        </p:nvSpPr>
        <p:spPr>
          <a:xfrm>
            <a:off x="135323" y="797676"/>
            <a:ext cx="11149580" cy="35848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200" b="0" i="0" kern="1200">
                <a:solidFill>
                  <a:schemeClr val="tx1"/>
                </a:solidFill>
                <a:latin typeface="Forever Forma Heading"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None/>
              <a:tabLst/>
              <a:defRPr/>
            </a:pPr>
            <a:r>
              <a:rPr lang="en-US" spc="0">
                <a:solidFill>
                  <a:sysClr val="windowText" lastClr="000000"/>
                </a:solidFill>
              </a:rPr>
              <a:t>Third-Party Payor</a:t>
            </a:r>
            <a:endParaRPr kumimoji="0" lang="en-US" sz="2200" b="0" i="0" u="none" strike="noStrike" kern="1200" cap="none" spc="0" normalizeH="0" baseline="0" noProof="0">
              <a:ln>
                <a:noFill/>
              </a:ln>
              <a:solidFill>
                <a:sysClr val="windowText" lastClr="000000"/>
              </a:solidFill>
              <a:effectLst/>
              <a:uLnTx/>
              <a:uFillTx/>
              <a:latin typeface="Forever Forma Heading" pitchFamily="2" charset="0"/>
              <a:ea typeface="+mn-ea"/>
              <a:cs typeface="+mn-cs"/>
            </a:endParaRPr>
          </a:p>
        </p:txBody>
      </p:sp>
      <p:sp>
        <p:nvSpPr>
          <p:cNvPr id="11" name="TextBox 10">
            <a:extLst>
              <a:ext uri="{FF2B5EF4-FFF2-40B4-BE49-F238E27FC236}">
                <a16:creationId xmlns:a16="http://schemas.microsoft.com/office/drawing/2014/main" id="{7B0453FA-A71A-7495-70C1-4F3F650EDCCA}"/>
              </a:ext>
            </a:extLst>
          </p:cNvPr>
          <p:cNvSpPr txBox="1"/>
          <p:nvPr/>
        </p:nvSpPr>
        <p:spPr>
          <a:xfrm>
            <a:off x="135323" y="1852110"/>
            <a:ext cx="3674677" cy="3217804"/>
          </a:xfrm>
          <a:prstGeom prst="rect">
            <a:avLst/>
          </a:prstGeom>
          <a:noFill/>
        </p:spPr>
        <p:txBody>
          <a:bodyPr wrap="square">
            <a:spAutoFit/>
          </a:bodyPr>
          <a:lstStyle/>
          <a:p>
            <a:pPr marL="285750" indent="-285750" algn="l" rtl="0" fontAlgn="base">
              <a:buFont typeface="Wingdings" panose="05000000000000000000" pitchFamily="2" charset="2"/>
              <a:buChar char="§"/>
            </a:pPr>
            <a:r>
              <a:rPr lang="en-US" b="0" i="0" u="none" strike="noStrike">
                <a:solidFill>
                  <a:srgbClr val="000000"/>
                </a:solidFill>
                <a:effectLst/>
              </a:rPr>
              <a:t>Before requesting the PIN code, you’ll need to verbally read an authorization script on the screen and click the box to confirm this action was completed. </a:t>
            </a:r>
            <a:r>
              <a:rPr lang="en-US" b="0" i="0">
                <a:solidFill>
                  <a:srgbClr val="444444"/>
                </a:solidFill>
                <a:effectLst/>
              </a:rPr>
              <a:t>​</a:t>
            </a:r>
          </a:p>
          <a:p>
            <a:pPr marL="285750" indent="-285750" algn="l" rtl="0" fontAlgn="base">
              <a:buFont typeface="Wingdings" panose="05000000000000000000" pitchFamily="2" charset="2"/>
              <a:buChar char="§"/>
            </a:pPr>
            <a:r>
              <a:rPr lang="en-US">
                <a:solidFill>
                  <a:srgbClr val="444444"/>
                </a:solidFill>
              </a:rPr>
              <a:t>Once the script has been read, the payor can provide the PIN code.</a:t>
            </a:r>
            <a:endParaRPr lang="en-US" b="0" i="0">
              <a:solidFill>
                <a:srgbClr val="444444"/>
              </a:solidFill>
              <a:effectLst/>
            </a:endParaRPr>
          </a:p>
          <a:p>
            <a:pPr algn="l" rtl="0" fontAlgn="base">
              <a:buNone/>
            </a:pPr>
            <a:r>
              <a:rPr lang="en-US" b="0" i="0">
                <a:solidFill>
                  <a:srgbClr val="444444"/>
                </a:solidFill>
                <a:effectLst/>
              </a:rPr>
              <a:t>​</a:t>
            </a:r>
          </a:p>
          <a:p>
            <a:pPr algn="l" rtl="0" fontAlgn="base"/>
            <a:r>
              <a:rPr lang="en-US" b="0" i="0" u="none" strike="noStrike">
                <a:solidFill>
                  <a:srgbClr val="000000"/>
                </a:solidFill>
                <a:effectLst/>
              </a:rPr>
              <a:t>.</a:t>
            </a:r>
          </a:p>
        </p:txBody>
      </p:sp>
    </p:spTree>
    <p:custDataLst>
      <p:tags r:id="rId1"/>
    </p:custDataLst>
    <p:extLst>
      <p:ext uri="{BB962C8B-B14F-4D97-AF65-F5344CB8AC3E}">
        <p14:creationId xmlns:p14="http://schemas.microsoft.com/office/powerpoint/2010/main" val="12801255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902394-4ADF-7393-8A8E-967F003399A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9ADCC23-A8C9-53E6-2464-DA01E08BE9EC}"/>
              </a:ext>
            </a:extLst>
          </p:cNvPr>
          <p:cNvSpPr>
            <a:spLocks noGrp="1"/>
          </p:cNvSpPr>
          <p:nvPr>
            <p:ph type="title"/>
          </p:nvPr>
        </p:nvSpPr>
        <p:spPr/>
        <p:txBody>
          <a:bodyPr/>
          <a:lstStyle/>
          <a:p>
            <a:endParaRPr lang="en-US"/>
          </a:p>
        </p:txBody>
      </p:sp>
      <p:sp>
        <p:nvSpPr>
          <p:cNvPr id="3" name="Slide Number Placeholder 2">
            <a:extLst>
              <a:ext uri="{FF2B5EF4-FFF2-40B4-BE49-F238E27FC236}">
                <a16:creationId xmlns:a16="http://schemas.microsoft.com/office/drawing/2014/main" id="{BA6648CC-B0B3-529A-CCEF-18F2C0CDA194}"/>
              </a:ext>
            </a:extLst>
          </p:cNvPr>
          <p:cNvSpPr>
            <a:spLocks noGrp="1"/>
          </p:cNvSpPr>
          <p:nvPr>
            <p:ph type="sldNum"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C1606C5-D483-4832-A0E9-CF578A9B5883}" type="slidenum">
              <a:rPr kumimoji="0" lang="en-US" sz="900" b="0" i="0" u="none" strike="noStrike" kern="1200" cap="none" spc="0" normalizeH="0" baseline="0" noProof="0" smtClean="0">
                <a:ln>
                  <a:noFill/>
                </a:ln>
                <a:solidFill>
                  <a:srgbClr val="000000"/>
                </a:solidFill>
                <a:effectLst/>
                <a:uLnTx/>
                <a:uFillTx/>
                <a:latin typeface="Forever Forma Body Text"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US" sz="900" b="0" i="0" u="none" strike="noStrike" kern="1200" cap="none" spc="0" normalizeH="0" baseline="0" noProof="0">
              <a:ln>
                <a:noFill/>
              </a:ln>
              <a:solidFill>
                <a:srgbClr val="000000"/>
              </a:solidFill>
              <a:effectLst/>
              <a:uLnTx/>
              <a:uFillTx/>
              <a:latin typeface="Forever Forma Body Text" pitchFamily="2" charset="0"/>
              <a:ea typeface="+mn-ea"/>
              <a:cs typeface="+mn-cs"/>
            </a:endParaRPr>
          </a:p>
        </p:txBody>
      </p:sp>
      <p:sp>
        <p:nvSpPr>
          <p:cNvPr id="4" name="Text Placeholder 3">
            <a:extLst>
              <a:ext uri="{FF2B5EF4-FFF2-40B4-BE49-F238E27FC236}">
                <a16:creationId xmlns:a16="http://schemas.microsoft.com/office/drawing/2014/main" id="{C015CD7B-1ADE-C548-0147-6C69E0919389}"/>
              </a:ext>
            </a:extLst>
          </p:cNvPr>
          <p:cNvSpPr>
            <a:spLocks noGrp="1"/>
          </p:cNvSpPr>
          <p:nvPr>
            <p:ph type="body" sz="quarter" idx="14"/>
          </p:nvPr>
        </p:nvSpPr>
        <p:spPr/>
        <p:txBody>
          <a:bodyPr/>
          <a:lstStyle/>
          <a:p>
            <a:r>
              <a:rPr lang="en-US"/>
              <a:t>Agent Use Only. Not for public use.</a:t>
            </a:r>
          </a:p>
        </p:txBody>
      </p:sp>
      <p:pic>
        <p:nvPicPr>
          <p:cNvPr id="6" name="Picture 5">
            <a:extLst>
              <a:ext uri="{FF2B5EF4-FFF2-40B4-BE49-F238E27FC236}">
                <a16:creationId xmlns:a16="http://schemas.microsoft.com/office/drawing/2014/main" id="{4F12382E-1538-1110-48BF-4389176B57C5}"/>
              </a:ext>
            </a:extLst>
          </p:cNvPr>
          <p:cNvPicPr>
            <a:picLocks noChangeAspect="1"/>
          </p:cNvPicPr>
          <p:nvPr/>
        </p:nvPicPr>
        <p:blipFill>
          <a:blip r:embed="rId4"/>
          <a:stretch>
            <a:fillRect/>
          </a:stretch>
        </p:blipFill>
        <p:spPr>
          <a:xfrm>
            <a:off x="5618643" y="1586997"/>
            <a:ext cx="4483652" cy="4141206"/>
          </a:xfrm>
          <a:prstGeom prst="rect">
            <a:avLst/>
          </a:prstGeom>
        </p:spPr>
      </p:pic>
      <p:pic>
        <p:nvPicPr>
          <p:cNvPr id="7" name="Picture 6" descr="A close-up of a computer&#10;&#10;AI-generated content may be incorrect.">
            <a:extLst>
              <a:ext uri="{FF2B5EF4-FFF2-40B4-BE49-F238E27FC236}">
                <a16:creationId xmlns:a16="http://schemas.microsoft.com/office/drawing/2014/main" id="{4F588CA6-4299-96D3-CC7C-043DA06D696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82253" y="1078483"/>
            <a:ext cx="8652547" cy="4867058"/>
          </a:xfrm>
          <a:prstGeom prst="rect">
            <a:avLst/>
          </a:prstGeom>
        </p:spPr>
      </p:pic>
      <p:sp>
        <p:nvSpPr>
          <p:cNvPr id="9" name="Rectangle: Rounded Corners 8">
            <a:extLst>
              <a:ext uri="{FF2B5EF4-FFF2-40B4-BE49-F238E27FC236}">
                <a16:creationId xmlns:a16="http://schemas.microsoft.com/office/drawing/2014/main" id="{E038869A-3019-84F3-BAD8-6228137E57BD}"/>
              </a:ext>
            </a:extLst>
          </p:cNvPr>
          <p:cNvSpPr/>
          <p:nvPr/>
        </p:nvSpPr>
        <p:spPr>
          <a:xfrm>
            <a:off x="5943600" y="3502011"/>
            <a:ext cx="3733800" cy="1603389"/>
          </a:xfrm>
          <a:prstGeom prst="roundRect">
            <a:avLst>
              <a:gd name="adj" fmla="val 10842"/>
            </a:avLst>
          </a:prstGeom>
          <a:noFill/>
          <a:ln w="57150">
            <a:solidFill>
              <a:srgbClr val="4CD300"/>
            </a:solid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orever Forma Body Text"/>
              <a:ea typeface="+mn-ea"/>
              <a:cs typeface="+mn-cs"/>
            </a:endParaRPr>
          </a:p>
        </p:txBody>
      </p:sp>
      <p:sp>
        <p:nvSpPr>
          <p:cNvPr id="5" name="Title 15">
            <a:extLst>
              <a:ext uri="{FF2B5EF4-FFF2-40B4-BE49-F238E27FC236}">
                <a16:creationId xmlns:a16="http://schemas.microsoft.com/office/drawing/2014/main" id="{663D60E4-5B18-38CA-CC42-9617C4F9CD74}"/>
              </a:ext>
            </a:extLst>
          </p:cNvPr>
          <p:cNvSpPr txBox="1">
            <a:spLocks/>
          </p:cNvSpPr>
          <p:nvPr/>
        </p:nvSpPr>
        <p:spPr>
          <a:xfrm>
            <a:off x="17318" y="-40884"/>
            <a:ext cx="11149580" cy="94463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a:ln>
                  <a:noFill/>
                </a:ln>
                <a:solidFill>
                  <a:srgbClr val="1D2550"/>
                </a:solidFill>
                <a:effectLst/>
                <a:uLnTx/>
                <a:uFillTx/>
                <a:latin typeface="Aptos Display" panose="02110004020202020204"/>
                <a:ea typeface="+mj-ea"/>
                <a:cs typeface="+mj-cs"/>
              </a:rPr>
              <a:t>Transamerica FE Express Solution</a:t>
            </a:r>
            <a:r>
              <a:rPr kumimoji="0" lang="en-US" sz="4400" b="0" i="0" u="none" strike="noStrike" kern="1200" cap="none" spc="0" normalizeH="0" baseline="0" noProof="0">
                <a:ln>
                  <a:noFill/>
                </a:ln>
                <a:solidFill>
                  <a:srgbClr val="1D2550"/>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en-US" sz="4400" b="0" i="0" u="none" strike="noStrike" kern="1200" cap="none" spc="0" normalizeH="0" baseline="0" noProof="0">
                <a:ln>
                  <a:noFill/>
                </a:ln>
                <a:solidFill>
                  <a:srgbClr val="1D2550"/>
                </a:solidFill>
                <a:effectLst/>
                <a:uLnTx/>
                <a:uFillTx/>
                <a:latin typeface="Aptos Display" panose="02110004020202020204"/>
                <a:ea typeface="+mj-ea"/>
                <a:cs typeface="+mj-cs"/>
              </a:rPr>
              <a:t> </a:t>
            </a:r>
          </a:p>
        </p:txBody>
      </p:sp>
      <p:sp>
        <p:nvSpPr>
          <p:cNvPr id="8" name="Text Placeholder 4">
            <a:extLst>
              <a:ext uri="{FF2B5EF4-FFF2-40B4-BE49-F238E27FC236}">
                <a16:creationId xmlns:a16="http://schemas.microsoft.com/office/drawing/2014/main" id="{648E1C06-A842-DD1A-3124-732671D973FE}"/>
              </a:ext>
            </a:extLst>
          </p:cNvPr>
          <p:cNvSpPr txBox="1">
            <a:spLocks/>
          </p:cNvSpPr>
          <p:nvPr/>
        </p:nvSpPr>
        <p:spPr>
          <a:xfrm>
            <a:off x="135323" y="797676"/>
            <a:ext cx="11149580" cy="35848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200" b="0" i="0" kern="1200">
                <a:solidFill>
                  <a:schemeClr val="tx1"/>
                </a:solidFill>
                <a:latin typeface="Forever Forma Heading"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None/>
              <a:tabLst/>
              <a:defRPr/>
            </a:pPr>
            <a:r>
              <a:rPr lang="en-US" spc="0">
                <a:solidFill>
                  <a:sysClr val="windowText" lastClr="000000"/>
                </a:solidFill>
              </a:rPr>
              <a:t>Third-Party Payor</a:t>
            </a:r>
            <a:endParaRPr kumimoji="0" lang="en-US" sz="2200" b="0" i="0" u="none" strike="noStrike" kern="1200" cap="none" spc="0" normalizeH="0" baseline="0" noProof="0">
              <a:ln>
                <a:noFill/>
              </a:ln>
              <a:solidFill>
                <a:sysClr val="windowText" lastClr="000000"/>
              </a:solidFill>
              <a:effectLst/>
              <a:uLnTx/>
              <a:uFillTx/>
              <a:latin typeface="Forever Forma Heading" pitchFamily="2" charset="0"/>
              <a:ea typeface="+mn-ea"/>
              <a:cs typeface="+mn-cs"/>
            </a:endParaRPr>
          </a:p>
        </p:txBody>
      </p:sp>
      <p:sp>
        <p:nvSpPr>
          <p:cNvPr id="11" name="TextBox 10">
            <a:extLst>
              <a:ext uri="{FF2B5EF4-FFF2-40B4-BE49-F238E27FC236}">
                <a16:creationId xmlns:a16="http://schemas.microsoft.com/office/drawing/2014/main" id="{95687B77-8AED-FAC0-73DB-CAEC235E69D4}"/>
              </a:ext>
            </a:extLst>
          </p:cNvPr>
          <p:cNvSpPr txBox="1"/>
          <p:nvPr/>
        </p:nvSpPr>
        <p:spPr>
          <a:xfrm>
            <a:off x="142250" y="2251363"/>
            <a:ext cx="3362950" cy="1200329"/>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a:t>After collecting the third-party payor’s signature, you can proceed and finalize the process with the insured. </a:t>
            </a:r>
          </a:p>
        </p:txBody>
      </p:sp>
    </p:spTree>
    <p:custDataLst>
      <p:tags r:id="rId1"/>
    </p:custDataLst>
    <p:extLst>
      <p:ext uri="{BB962C8B-B14F-4D97-AF65-F5344CB8AC3E}">
        <p14:creationId xmlns:p14="http://schemas.microsoft.com/office/powerpoint/2010/main" val="12668091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C9D9B0-1EFB-5FA6-C0C1-98996C5C0523}"/>
              </a:ext>
            </a:extLst>
          </p:cNvPr>
          <p:cNvSpPr>
            <a:spLocks noGrp="1"/>
          </p:cNvSpPr>
          <p:nvPr>
            <p:ph type="title"/>
          </p:nvPr>
        </p:nvSpPr>
        <p:spPr/>
        <p:txBody>
          <a:bodyPr/>
          <a:lstStyle/>
          <a:p>
            <a:r>
              <a:rPr lang="en-US" sz="2400">
                <a:latin typeface="+mn-lt"/>
              </a:rPr>
              <a:t>Transamerica FE Express Solution</a:t>
            </a:r>
            <a:r>
              <a:rPr lang="en-US" sz="2400">
                <a:latin typeface="Calibri" panose="020F0502020204030204" pitchFamily="34" charset="0"/>
                <a:ea typeface="Calibri" panose="020F0502020204030204" pitchFamily="34" charset="0"/>
                <a:cs typeface="Calibri" panose="020F0502020204030204" pitchFamily="34" charset="0"/>
              </a:rPr>
              <a:t>℠</a:t>
            </a:r>
            <a:br>
              <a:rPr lang="en-US"/>
            </a:br>
            <a:r>
              <a:rPr lang="en-US"/>
              <a:t>Multi-Policies</a:t>
            </a:r>
          </a:p>
        </p:txBody>
      </p:sp>
      <p:sp>
        <p:nvSpPr>
          <p:cNvPr id="4" name="Slide Number Placeholder 3">
            <a:extLst>
              <a:ext uri="{FF2B5EF4-FFF2-40B4-BE49-F238E27FC236}">
                <a16:creationId xmlns:a16="http://schemas.microsoft.com/office/drawing/2014/main" id="{ED3B225E-65BF-696D-4177-AD811A81D19A}"/>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1606C5-D483-4832-A0E9-CF578A9B588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Text Placeholder 8">
            <a:extLst>
              <a:ext uri="{FF2B5EF4-FFF2-40B4-BE49-F238E27FC236}">
                <a16:creationId xmlns:a16="http://schemas.microsoft.com/office/drawing/2014/main" id="{9F0B745B-5159-8446-77DB-19165123FDDF}"/>
              </a:ext>
            </a:extLst>
          </p:cNvPr>
          <p:cNvSpPr txBox="1">
            <a:spLocks/>
          </p:cNvSpPr>
          <p:nvPr/>
        </p:nvSpPr>
        <p:spPr>
          <a:xfrm>
            <a:off x="7404946" y="6352974"/>
            <a:ext cx="2504282" cy="291176"/>
          </a:xfrm>
          <a:prstGeom prst="rect">
            <a:avLst/>
          </a:prstGeom>
          <a:solidFill>
            <a:srgbClr val="1D2550"/>
          </a:solidFill>
        </p:spPr>
        <p:txBody>
          <a:bodyPr vert="horz" wrap="none" lIns="75600" tIns="75600" rIns="75600" bIns="75600" rtlCol="0" anchor="b" anchorCtr="0">
            <a:spAutoFit/>
          </a:bodyPr>
          <a:lstStyle>
            <a:lvl1pPr marL="228600" indent="-228600" algn="l" defTabSz="914400" rtl="0" eaLnBrk="1" latinLnBrk="0" hangingPunct="1">
              <a:lnSpc>
                <a:spcPct val="90000"/>
              </a:lnSpc>
              <a:spcBef>
                <a:spcPts val="0"/>
              </a:spcBef>
              <a:buFont typeface="Arial" panose="020B0604020202020204" pitchFamily="34" charset="0"/>
              <a:buChar char="•"/>
              <a:defRPr sz="1000" kern="1200">
                <a:solidFill>
                  <a:schemeClr val="bg1"/>
                </a:solidFill>
                <a:latin typeface="Open Sans Condensed Condensed" pitchFamily="2" charset="0"/>
                <a:ea typeface="Open Sans Condensed Condensed" pitchFamily="2" charset="0"/>
                <a:cs typeface="Open Sans Condensed Condensed"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Open Sans Condensed Condensed" pitchFamily="2" charset="0"/>
                <a:ea typeface="Open Sans Condensed Condensed" pitchFamily="2" charset="0"/>
                <a:cs typeface="Open Sans Condensed Condensed" pitchFamily="2" charset="0"/>
              </a:rPr>
              <a:t>Internal Use Only. Not for Public Use.</a:t>
            </a:r>
          </a:p>
        </p:txBody>
      </p:sp>
      <p:sp>
        <p:nvSpPr>
          <p:cNvPr id="6" name="Text Placeholder 22">
            <a:extLst>
              <a:ext uri="{FF2B5EF4-FFF2-40B4-BE49-F238E27FC236}">
                <a16:creationId xmlns:a16="http://schemas.microsoft.com/office/drawing/2014/main" id="{0845E60B-5C0E-63C4-30C6-230BD1FC48FC}"/>
              </a:ext>
            </a:extLst>
          </p:cNvPr>
          <p:cNvSpPr>
            <a:spLocks noGrp="1"/>
          </p:cNvSpPr>
          <p:nvPr>
            <p:ph type="body" sz="quarter" idx="13"/>
          </p:nvPr>
        </p:nvSpPr>
        <p:spPr>
          <a:xfrm>
            <a:off x="521208" y="4145475"/>
            <a:ext cx="7878792" cy="252000"/>
          </a:xfrm>
        </p:spPr>
        <p:txBody>
          <a:bodyPr vert="horz" lIns="91440" tIns="45720" rIns="91440" bIns="45720" rtlCol="0" anchor="t">
            <a:noAutofit/>
          </a:bodyPr>
          <a:lstStyle/>
          <a:p>
            <a:r>
              <a:rPr lang="en-US" sz="1800">
                <a:solidFill>
                  <a:schemeClr val="tx1"/>
                </a:solidFill>
              </a:rPr>
              <a:t>Effective October 16, 2025</a:t>
            </a:r>
          </a:p>
        </p:txBody>
      </p:sp>
    </p:spTree>
    <p:custDataLst>
      <p:tags r:id="rId1"/>
    </p:custDataLst>
    <p:extLst>
      <p:ext uri="{BB962C8B-B14F-4D97-AF65-F5344CB8AC3E}">
        <p14:creationId xmlns:p14="http://schemas.microsoft.com/office/powerpoint/2010/main" val="23289462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650164-6762-1210-081F-09E0171F15CD}"/>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528F918E-04FC-5825-EBBF-F31507F086E5}"/>
              </a:ext>
            </a:extLst>
          </p:cNvPr>
          <p:cNvSpPr>
            <a:spLocks noGrp="1"/>
          </p:cNvSpPr>
          <p:nvPr>
            <p:ph type="body" sz="quarter" idx="14"/>
          </p:nvPr>
        </p:nvSpPr>
        <p:spPr>
          <a:xfrm>
            <a:off x="958800" y="6173385"/>
            <a:ext cx="5289593" cy="808050"/>
          </a:xfrm>
        </p:spPr>
        <p:txBody>
          <a:bodyPr/>
          <a:lstStyle/>
          <a:p>
            <a:r>
              <a:rPr lang="en-US"/>
              <a:t>Agent Use Only. Not for public use.</a:t>
            </a:r>
          </a:p>
        </p:txBody>
      </p:sp>
      <p:sp>
        <p:nvSpPr>
          <p:cNvPr id="13" name="Title 15">
            <a:extLst>
              <a:ext uri="{FF2B5EF4-FFF2-40B4-BE49-F238E27FC236}">
                <a16:creationId xmlns:a16="http://schemas.microsoft.com/office/drawing/2014/main" id="{BFC34F81-A8B1-7249-8F69-81232994AA9D}"/>
              </a:ext>
            </a:extLst>
          </p:cNvPr>
          <p:cNvSpPr txBox="1">
            <a:spLocks/>
          </p:cNvSpPr>
          <p:nvPr/>
        </p:nvSpPr>
        <p:spPr>
          <a:xfrm>
            <a:off x="555600" y="280590"/>
            <a:ext cx="11149580" cy="94463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a:ln>
                  <a:noFill/>
                </a:ln>
                <a:solidFill>
                  <a:srgbClr val="1D2550"/>
                </a:solidFill>
                <a:effectLst/>
                <a:uLnTx/>
                <a:uFillTx/>
                <a:latin typeface="Aptos Display" panose="02110004020202020204"/>
                <a:ea typeface="+mj-ea"/>
                <a:cs typeface="+mj-cs"/>
              </a:rPr>
              <a:t>Transamerica FE Express Solution</a:t>
            </a:r>
            <a:r>
              <a:rPr kumimoji="0" lang="en-US" sz="4400" b="0" i="0" u="none" strike="noStrike" kern="1200" cap="none" spc="0" normalizeH="0" baseline="0" noProof="0">
                <a:ln>
                  <a:noFill/>
                </a:ln>
                <a:solidFill>
                  <a:srgbClr val="1D2550"/>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en-US" sz="4400" b="0" i="0" u="none" strike="noStrike" kern="1200" cap="none" spc="0" normalizeH="0" baseline="0" noProof="0">
                <a:ln>
                  <a:noFill/>
                </a:ln>
                <a:solidFill>
                  <a:srgbClr val="1D2550"/>
                </a:solidFill>
                <a:effectLst/>
                <a:uLnTx/>
                <a:uFillTx/>
                <a:latin typeface="Aptos Display" panose="02110004020202020204"/>
                <a:ea typeface="+mj-ea"/>
                <a:cs typeface="+mj-cs"/>
              </a:rPr>
              <a:t> </a:t>
            </a:r>
          </a:p>
        </p:txBody>
      </p:sp>
      <p:sp>
        <p:nvSpPr>
          <p:cNvPr id="14" name="Text Placeholder 4">
            <a:extLst>
              <a:ext uri="{FF2B5EF4-FFF2-40B4-BE49-F238E27FC236}">
                <a16:creationId xmlns:a16="http://schemas.microsoft.com/office/drawing/2014/main" id="{C7BAE96E-5814-6EB6-8175-024B19821F9F}"/>
              </a:ext>
            </a:extLst>
          </p:cNvPr>
          <p:cNvSpPr txBox="1">
            <a:spLocks/>
          </p:cNvSpPr>
          <p:nvPr/>
        </p:nvSpPr>
        <p:spPr>
          <a:xfrm>
            <a:off x="673605" y="1119150"/>
            <a:ext cx="11149580" cy="35848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200" b="0" i="0" kern="1200">
                <a:solidFill>
                  <a:schemeClr val="tx1"/>
                </a:solidFill>
                <a:latin typeface="Forever Forma Heading"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None/>
              <a:tabLst/>
              <a:defRPr/>
            </a:pPr>
            <a:r>
              <a:rPr kumimoji="0" lang="en-US" sz="2200" b="0" i="0" u="none" strike="noStrike" kern="1200" cap="none" spc="0" normalizeH="0" baseline="0" noProof="0">
                <a:ln>
                  <a:noFill/>
                </a:ln>
                <a:solidFill>
                  <a:sysClr val="windowText" lastClr="000000"/>
                </a:solidFill>
                <a:effectLst/>
                <a:uLnTx/>
                <a:uFillTx/>
                <a:latin typeface="Forever Forma Heading" pitchFamily="2" charset="0"/>
                <a:ea typeface="+mn-ea"/>
                <a:cs typeface="+mn-cs"/>
              </a:rPr>
              <a:t>Multi-Policy Functionality</a:t>
            </a:r>
          </a:p>
        </p:txBody>
      </p:sp>
      <p:sp>
        <p:nvSpPr>
          <p:cNvPr id="15" name="Content Placeholder 16">
            <a:extLst>
              <a:ext uri="{FF2B5EF4-FFF2-40B4-BE49-F238E27FC236}">
                <a16:creationId xmlns:a16="http://schemas.microsoft.com/office/drawing/2014/main" id="{D70184B2-F766-423E-C2A5-9867F54BA2FC}"/>
              </a:ext>
            </a:extLst>
          </p:cNvPr>
          <p:cNvSpPr txBox="1">
            <a:spLocks/>
          </p:cNvSpPr>
          <p:nvPr/>
        </p:nvSpPr>
        <p:spPr>
          <a:xfrm>
            <a:off x="605023" y="1891608"/>
            <a:ext cx="3558792" cy="3870915"/>
          </a:xfrm>
          <a:prstGeom prst="rect">
            <a:avLst/>
          </a:prstGeom>
          <a:noFill/>
          <a:ln w="38100">
            <a:solidFill>
              <a:srgbClr val="4CD300"/>
            </a:solidFill>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Forever Forma Body Text"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1" i="0" u="none" strike="noStrike" kern="1200" cap="none" spc="0" normalizeH="0" baseline="0" noProof="0">
                <a:ln>
                  <a:noFill/>
                </a:ln>
                <a:solidFill>
                  <a:srgbClr val="1D2550"/>
                </a:solidFill>
                <a:effectLst/>
                <a:uLnTx/>
                <a:uFillTx/>
                <a:latin typeface="Aptos" panose="02110004020202020204"/>
                <a:ea typeface="+mn-ea"/>
                <a:cs typeface="+mn-cs"/>
              </a:rPr>
              <a:t> </a:t>
            </a:r>
            <a:r>
              <a:rPr kumimoji="0" lang="en-US" sz="2000" b="1" i="0" u="none" strike="noStrike" kern="1200" cap="none" spc="0" normalizeH="0" baseline="0" noProof="0">
                <a:ln>
                  <a:noFill/>
                </a:ln>
                <a:solidFill>
                  <a:srgbClr val="1D2550"/>
                </a:solidFill>
                <a:effectLst/>
                <a:uLnTx/>
                <a:uFillTx/>
                <a:latin typeface="Aptos" panose="02110004020202020204"/>
                <a:ea typeface="+mn-ea"/>
                <a:cs typeface="+mn-cs"/>
              </a:rPr>
              <a:t>	</a:t>
            </a:r>
          </a:p>
          <a:p>
            <a:pPr marL="180000" marR="0" lvl="2"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2000" b="1" i="0" u="none" strike="noStrike" kern="1200" cap="none" spc="0" normalizeH="0" baseline="0" noProof="0">
                <a:ln>
                  <a:noFill/>
                </a:ln>
                <a:solidFill>
                  <a:srgbClr val="1D2550"/>
                </a:solidFill>
                <a:effectLst/>
                <a:uLnTx/>
                <a:uFillTx/>
                <a:latin typeface="Aptos" panose="02110004020202020204"/>
                <a:ea typeface="+mn-ea"/>
                <a:cs typeface="+mn-cs"/>
              </a:rPr>
              <a:t>Effective October 16, 2025</a:t>
            </a:r>
          </a:p>
          <a:p>
            <a:pPr marL="180000" marR="0" lvl="2"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US" sz="2000" b="0" i="0" u="none" strike="noStrike" kern="1200" cap="none" spc="0" normalizeH="0" baseline="0" noProof="0">
              <a:ln>
                <a:noFill/>
              </a:ln>
              <a:solidFill>
                <a:sysClr val="windowText" lastClr="000000"/>
              </a:solidFill>
              <a:effectLst/>
              <a:uLnTx/>
              <a:uFillTx/>
              <a:latin typeface="Aptos" panose="02110004020202020204"/>
              <a:ea typeface="+mn-ea"/>
              <a:cs typeface="+mn-cs"/>
            </a:endParaRPr>
          </a:p>
          <a:p>
            <a:pPr marL="180000" marR="0" lvl="2"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solidFill>
                  <a:sysClr val="windowText" lastClr="000000"/>
                </a:solidFill>
                <a:effectLst/>
                <a:uLnTx/>
                <a:uFillTx/>
                <a:latin typeface="Aptos" panose="02110004020202020204"/>
                <a:ea typeface="+mn-ea"/>
                <a:cs typeface="+mn-cs"/>
              </a:rPr>
              <a:t>Clients will be able to purchase multiple “express” policies.</a:t>
            </a:r>
          </a:p>
        </p:txBody>
      </p:sp>
      <p:sp>
        <p:nvSpPr>
          <p:cNvPr id="16" name="Content Placeholder 1">
            <a:extLst>
              <a:ext uri="{FF2B5EF4-FFF2-40B4-BE49-F238E27FC236}">
                <a16:creationId xmlns:a16="http://schemas.microsoft.com/office/drawing/2014/main" id="{D76C3EB3-1EC0-6F80-D2DE-FB768D0C0A9F}"/>
              </a:ext>
            </a:extLst>
          </p:cNvPr>
          <p:cNvSpPr txBox="1">
            <a:spLocks/>
          </p:cNvSpPr>
          <p:nvPr/>
        </p:nvSpPr>
        <p:spPr>
          <a:xfrm>
            <a:off x="4468999" y="1910760"/>
            <a:ext cx="3558792" cy="3870915"/>
          </a:xfrm>
          <a:prstGeom prst="rect">
            <a:avLst/>
          </a:prstGeom>
          <a:ln w="38100">
            <a:solidFill>
              <a:srgbClr val="63B6FF"/>
            </a:solidFill>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Forever Forma Body Text"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marR="0" lvl="2"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1D2550"/>
              </a:solidFill>
              <a:effectLst/>
              <a:uLnTx/>
              <a:uFillTx/>
              <a:latin typeface="Aptos" panose="02110004020202020204"/>
              <a:ea typeface="+mn-ea"/>
              <a:cs typeface="+mn-cs"/>
            </a:endParaRPr>
          </a:p>
          <a:p>
            <a:pPr marL="180000" marR="0" lvl="2"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1D2550"/>
                </a:solidFill>
                <a:effectLst/>
                <a:uLnTx/>
                <a:uFillTx/>
                <a:latin typeface="Aptos" panose="02110004020202020204"/>
                <a:ea typeface="+mn-ea"/>
                <a:cs typeface="+mn-cs"/>
              </a:rPr>
              <a:t>Face Amount Limitations</a:t>
            </a:r>
          </a:p>
          <a:p>
            <a:pPr marL="180000" marR="0" lvl="2"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US" sz="1800" b="1" i="0" u="none" strike="noStrike" kern="1200" cap="none" spc="0" normalizeH="0" baseline="0" noProof="0" dirty="0">
              <a:ln>
                <a:noFill/>
              </a:ln>
              <a:solidFill>
                <a:srgbClr val="1D2550"/>
              </a:solidFill>
              <a:effectLst/>
              <a:uLnTx/>
              <a:uFillTx/>
              <a:latin typeface="Aptos" panose="02110004020202020204"/>
              <a:ea typeface="+mn-ea"/>
              <a:cs typeface="+mn-cs"/>
            </a:endParaRPr>
          </a:p>
          <a:p>
            <a:pPr marL="180000" marR="0" lvl="2"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ysClr val="windowText" lastClr="000000"/>
                </a:solidFill>
                <a:effectLst/>
                <a:uLnTx/>
                <a:uFillTx/>
                <a:latin typeface="Aptos" panose="02110004020202020204"/>
                <a:ea typeface="+mn-ea"/>
                <a:cs typeface="+mn-cs"/>
              </a:rPr>
              <a:t>Multi-policies are subject to a combined max of the face amount per product.</a:t>
            </a:r>
          </a:p>
          <a:p>
            <a:pPr marL="922950" marR="0" lvl="3" indent="-28575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ysClr val="windowText" lastClr="000000"/>
                </a:solidFill>
                <a:effectLst/>
                <a:uLnTx/>
                <a:uFillTx/>
                <a:latin typeface="Aptos" panose="02110004020202020204"/>
                <a:ea typeface="+mn-ea"/>
                <a:cs typeface="+mn-cs"/>
              </a:rPr>
              <a:t>FE Express = $</a:t>
            </a:r>
            <a:r>
              <a:rPr lang="en-US" sz="1600" spc="0" dirty="0">
                <a:solidFill>
                  <a:sysClr val="windowText" lastClr="000000"/>
                </a:solidFill>
                <a:latin typeface="Aptos" panose="02110004020202020204"/>
              </a:rPr>
              <a:t>100</a:t>
            </a:r>
            <a:r>
              <a:rPr kumimoji="0" lang="en-US" sz="1600" b="0" i="0" u="none" strike="noStrike" kern="1200" cap="none" spc="0" normalizeH="0" baseline="0" noProof="0" dirty="0">
                <a:ln>
                  <a:noFill/>
                </a:ln>
                <a:solidFill>
                  <a:sysClr val="windowText" lastClr="000000"/>
                </a:solidFill>
                <a:effectLst/>
                <a:uLnTx/>
                <a:uFillTx/>
                <a:latin typeface="Aptos" panose="02110004020202020204"/>
                <a:ea typeface="+mn-ea"/>
                <a:cs typeface="+mn-cs"/>
              </a:rPr>
              <a:t>,000 max.</a:t>
            </a:r>
          </a:p>
          <a:p>
            <a:pPr marL="922950" marR="0" lvl="3" indent="-28575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ysClr val="windowText" lastClr="000000"/>
                </a:solidFill>
                <a:effectLst/>
                <a:uLnTx/>
                <a:uFillTx/>
                <a:latin typeface="Aptos" panose="02110004020202020204"/>
                <a:ea typeface="+mn-ea"/>
                <a:cs typeface="+mn-cs"/>
              </a:rPr>
              <a:t>FFIUL II Express = $500,000 max.</a:t>
            </a:r>
          </a:p>
          <a:p>
            <a:pPr marL="180000" marR="0" lvl="2"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ysClr val="windowText" lastClr="000000"/>
                </a:solidFill>
                <a:effectLst/>
                <a:uLnTx/>
                <a:uFillTx/>
                <a:latin typeface="Aptos" panose="02110004020202020204"/>
                <a:ea typeface="+mn-ea"/>
                <a:cs typeface="+mn-cs"/>
              </a:rPr>
              <a:t>Max face amounts are subject to issue ages as outlined in the product guide(s).</a:t>
            </a:r>
          </a:p>
          <a:p>
            <a:pPr marL="922950" marR="0" lvl="3" indent="-28575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ysClr val="windowText" lastClr="000000"/>
              </a:solidFill>
              <a:effectLst/>
              <a:uLnTx/>
              <a:uFillTx/>
              <a:latin typeface="Aptos" panose="02110004020202020204"/>
              <a:ea typeface="+mn-ea"/>
              <a:cs typeface="+mn-cs"/>
            </a:endParaRPr>
          </a:p>
          <a:p>
            <a:pPr marL="922950" marR="0" lvl="3" indent="-28575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ysClr val="windowText" lastClr="000000"/>
              </a:solidFill>
              <a:effectLst/>
              <a:uLnTx/>
              <a:uFillTx/>
              <a:latin typeface="Aptos" panose="02110004020202020204"/>
              <a:ea typeface="+mn-ea"/>
              <a:cs typeface="+mn-cs"/>
            </a:endParaRPr>
          </a:p>
          <a:p>
            <a:pPr marL="1600200" marR="0" lvl="3"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ysClr val="windowText" lastClr="000000"/>
              </a:solidFill>
              <a:effectLst/>
              <a:uLnTx/>
              <a:uFillTx/>
              <a:latin typeface="Aptos" panose="02110004020202020204"/>
              <a:ea typeface="+mn-ea"/>
              <a:cs typeface="+mn-cs"/>
            </a:endParaRPr>
          </a:p>
          <a:p>
            <a:pPr marL="1600200" marR="0" lvl="3"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ysClr val="windowText" lastClr="000000"/>
              </a:solidFill>
              <a:effectLst/>
              <a:uLnTx/>
              <a:uFillTx/>
              <a:latin typeface="Aptos" panose="02110004020202020204"/>
              <a:ea typeface="+mn-ea"/>
              <a:cs typeface="+mn-cs"/>
            </a:endParaRPr>
          </a:p>
          <a:p>
            <a:pPr marL="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sysClr val="windowText" lastClr="000000"/>
              </a:solidFill>
              <a:effectLst/>
              <a:uLnTx/>
              <a:uFillTx/>
              <a:latin typeface="Aptos" panose="02110004020202020204"/>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ysClr val="windowText" lastClr="000000"/>
              </a:solidFill>
              <a:effectLst/>
              <a:uLnTx/>
              <a:uFillTx/>
              <a:latin typeface="Aptos" panose="02110004020202020204"/>
              <a:ea typeface="+mn-ea"/>
              <a:cs typeface="+mn-cs"/>
            </a:endParaRPr>
          </a:p>
        </p:txBody>
      </p:sp>
      <p:sp>
        <p:nvSpPr>
          <p:cNvPr id="17" name="Content Placeholder 2">
            <a:extLst>
              <a:ext uri="{FF2B5EF4-FFF2-40B4-BE49-F238E27FC236}">
                <a16:creationId xmlns:a16="http://schemas.microsoft.com/office/drawing/2014/main" id="{AEDBFA73-0379-8493-1C6E-60BC7789E610}"/>
              </a:ext>
            </a:extLst>
          </p:cNvPr>
          <p:cNvSpPr txBox="1">
            <a:spLocks/>
          </p:cNvSpPr>
          <p:nvPr/>
        </p:nvSpPr>
        <p:spPr>
          <a:xfrm>
            <a:off x="8332989" y="1891608"/>
            <a:ext cx="3558788" cy="3870915"/>
          </a:xfrm>
          <a:prstGeom prst="rect">
            <a:avLst/>
          </a:prstGeom>
          <a:ln w="38100">
            <a:solidFill>
              <a:srgbClr val="641EE0"/>
            </a:solidFill>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Forever Forma Body Text"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srgbClr val="1D2550"/>
                </a:solidFill>
                <a:effectLst/>
                <a:uLnTx/>
                <a:uFillTx/>
                <a:latin typeface="Aptos" panose="02110004020202020204"/>
                <a:ea typeface="+mn-ea"/>
                <a:cs typeface="+mn-cs"/>
              </a:rPr>
              <a:t>	</a:t>
            </a:r>
          </a:p>
          <a:p>
            <a:pPr marL="180000" marR="0" lvl="2"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1D2550"/>
                </a:solidFill>
                <a:effectLst/>
                <a:uLnTx/>
                <a:uFillTx/>
                <a:latin typeface="Aptos" panose="02110004020202020204"/>
                <a:ea typeface="+mn-ea"/>
                <a:cs typeface="+mn-cs"/>
              </a:rPr>
              <a:t>Example:</a:t>
            </a:r>
          </a:p>
          <a:p>
            <a:pPr marL="360000" marR="0" lvl="2"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sysClr val="windowText" lastClr="000000"/>
              </a:solidFill>
              <a:effectLst/>
              <a:uLnTx/>
              <a:uFillTx/>
              <a:latin typeface="Aptos" panose="02110004020202020204"/>
              <a:ea typeface="+mn-ea"/>
              <a:cs typeface="+mn-cs"/>
            </a:endParaRPr>
          </a:p>
          <a:p>
            <a:pPr marL="360000" marR="0" lvl="2"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1800" b="0" i="0" u="none" strike="noStrike" kern="100" cap="none" spc="0" normalizeH="0" baseline="0" noProof="0" dirty="0">
                <a:ln>
                  <a:noFill/>
                </a:ln>
                <a:solidFill>
                  <a:sysClr val="windowText" lastClr="000000"/>
                </a:solidFill>
                <a:effectLst/>
                <a:uLnTx/>
                <a:uFillTx/>
                <a:latin typeface="Aptos" panose="02110004020202020204"/>
                <a:ea typeface="Aptos" panose="020B0004020202020204" pitchFamily="34" charset="0"/>
                <a:cs typeface="Times New Roman" panose="02020603050405020304" pitchFamily="18" charset="0"/>
              </a:rPr>
              <a:t>A client can have two FE Express policies; however, the </a:t>
            </a:r>
            <a:r>
              <a:rPr kumimoji="0" lang="en-US" sz="1800" b="1" i="0" u="sng" strike="noStrike" kern="100" cap="none" spc="0" normalizeH="0" baseline="0" noProof="0" dirty="0">
                <a:ln>
                  <a:noFill/>
                </a:ln>
                <a:solidFill>
                  <a:sysClr val="windowText" lastClr="000000"/>
                </a:solidFill>
                <a:effectLst/>
                <a:uLnTx/>
                <a:uFillTx/>
                <a:latin typeface="Aptos" panose="02110004020202020204"/>
                <a:ea typeface="Aptos" panose="020B0004020202020204" pitchFamily="34" charset="0"/>
                <a:cs typeface="Times New Roman" panose="02020603050405020304" pitchFamily="18" charset="0"/>
              </a:rPr>
              <a:t>combined</a:t>
            </a:r>
            <a:r>
              <a:rPr kumimoji="0" lang="en-US" sz="1800" b="0" i="0" u="none" strike="noStrike" kern="100" cap="none" spc="0" normalizeH="0" baseline="0" noProof="0" dirty="0">
                <a:ln>
                  <a:noFill/>
                </a:ln>
                <a:solidFill>
                  <a:sysClr val="windowText" lastClr="000000"/>
                </a:solidFill>
                <a:effectLst/>
                <a:uLnTx/>
                <a:uFillTx/>
                <a:latin typeface="Aptos" panose="02110004020202020204"/>
                <a:ea typeface="Aptos" panose="020B0004020202020204" pitchFamily="34" charset="0"/>
                <a:cs typeface="Times New Roman" panose="02020603050405020304" pitchFamily="18" charset="0"/>
              </a:rPr>
              <a:t> total face amount of the two policies cannot exceed the maximum face amount of $</a:t>
            </a:r>
            <a:r>
              <a:rPr lang="en-US" sz="1800" kern="100" spc="0" dirty="0">
                <a:solidFill>
                  <a:sysClr val="windowText" lastClr="000000"/>
                </a:solidFill>
                <a:latin typeface="Aptos" panose="02110004020202020204"/>
                <a:ea typeface="Aptos" panose="020B0004020202020204" pitchFamily="34" charset="0"/>
                <a:cs typeface="Times New Roman" panose="02020603050405020304" pitchFamily="18" charset="0"/>
              </a:rPr>
              <a:t>100</a:t>
            </a:r>
            <a:r>
              <a:rPr kumimoji="0" lang="en-US" sz="1800" b="0" i="0" u="none" strike="noStrike" kern="100" cap="none" spc="0" normalizeH="0" baseline="0" noProof="0" dirty="0">
                <a:ln>
                  <a:noFill/>
                </a:ln>
                <a:solidFill>
                  <a:sysClr val="windowText" lastClr="000000"/>
                </a:solidFill>
                <a:effectLst/>
                <a:uLnTx/>
                <a:uFillTx/>
                <a:latin typeface="Aptos" panose="02110004020202020204"/>
                <a:ea typeface="Aptos" panose="020B0004020202020204" pitchFamily="34" charset="0"/>
                <a:cs typeface="Times New Roman" panose="02020603050405020304" pitchFamily="18" charset="0"/>
              </a:rPr>
              <a:t>,000, as specified in the product guide(s). </a:t>
            </a:r>
          </a:p>
          <a:p>
            <a:pPr marL="360000" marR="0" lvl="2"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ysClr val="windowText" lastClr="000000"/>
              </a:solidFill>
              <a:effectLst/>
              <a:uLnTx/>
              <a:uFillTx/>
              <a:latin typeface="Aptos" panose="02110004020202020204"/>
              <a:ea typeface="+mn-ea"/>
              <a:cs typeface="+mn-cs"/>
            </a:endParaRPr>
          </a:p>
        </p:txBody>
      </p:sp>
      <p:sp>
        <p:nvSpPr>
          <p:cNvPr id="18" name="Slide Number Placeholder 5">
            <a:extLst>
              <a:ext uri="{FF2B5EF4-FFF2-40B4-BE49-F238E27FC236}">
                <a16:creationId xmlns:a16="http://schemas.microsoft.com/office/drawing/2014/main" id="{B645F4F3-1ED0-F3F5-E749-9D64B7EE4AFD}"/>
              </a:ext>
            </a:extLst>
          </p:cNvPr>
          <p:cNvSpPr txBox="1">
            <a:spLocks/>
          </p:cNvSpPr>
          <p:nvPr/>
        </p:nvSpPr>
        <p:spPr>
          <a:xfrm>
            <a:off x="152400" y="6202350"/>
            <a:ext cx="806400" cy="808050"/>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fld id="{1C1606C5-D483-4832-A0E9-CF578A9B5883}" type="slidenum">
              <a:rPr kumimoji="0" lang="en-US" sz="900" b="0" i="0" u="none" strike="noStrike" kern="100" cap="none" spc="-30" normalizeH="0" baseline="0" noProof="0" smtClean="0">
                <a:ln>
                  <a:noFill/>
                </a:ln>
                <a:solidFill>
                  <a:srgbClr val="000000"/>
                </a:solidFill>
                <a:effectLst/>
                <a:uLnTx/>
                <a:uFillTx/>
                <a:latin typeface="Aptos" panose="02110004020202020204"/>
                <a:ea typeface="+mn-ea"/>
                <a:cs typeface="+mn-cs"/>
              </a:rPr>
              <a:pPr marL="0" marR="0" lvl="0" indent="0" algn="l"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t>16</a:t>
            </a:fld>
            <a:endParaRPr kumimoji="0" lang="en-US" sz="900" b="0" i="0" u="none" strike="noStrike" kern="100" cap="none" spc="-30" normalizeH="0" baseline="0" noProof="0">
              <a:ln>
                <a:noFill/>
              </a:ln>
              <a:solidFill>
                <a:srgbClr val="000000"/>
              </a:solidFill>
              <a:effectLst/>
              <a:uLnTx/>
              <a:uFillTx/>
              <a:latin typeface="Aptos" panose="02110004020202020204"/>
              <a:ea typeface="+mn-ea"/>
              <a:cs typeface="+mn-cs"/>
            </a:endParaRPr>
          </a:p>
        </p:txBody>
      </p:sp>
    </p:spTree>
    <p:custDataLst>
      <p:tags r:id="rId1"/>
    </p:custDataLst>
    <p:extLst>
      <p:ext uri="{BB962C8B-B14F-4D97-AF65-F5344CB8AC3E}">
        <p14:creationId xmlns:p14="http://schemas.microsoft.com/office/powerpoint/2010/main" val="41420850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8CE09B-8216-F6F2-1985-8C1AACB8CCE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01DA771-259F-F161-1EEC-F2123955FC35}"/>
              </a:ext>
            </a:extLst>
          </p:cNvPr>
          <p:cNvSpPr>
            <a:spLocks noGrp="1"/>
          </p:cNvSpPr>
          <p:nvPr>
            <p:ph type="title"/>
          </p:nvPr>
        </p:nvSpPr>
        <p:spPr>
          <a:xfrm>
            <a:off x="263796" y="1269000"/>
            <a:ext cx="6306312" cy="4320000"/>
          </a:xfrm>
        </p:spPr>
        <p:txBody>
          <a:bodyPr/>
          <a:lstStyle/>
          <a:p>
            <a:r>
              <a:rPr lang="en-US" sz="2400">
                <a:latin typeface="+mn-lt"/>
              </a:rPr>
              <a:t>Transamerica FE Express Solution</a:t>
            </a:r>
            <a:r>
              <a:rPr lang="en-US" sz="2400">
                <a:latin typeface="Calibri" panose="020F0502020204030204" pitchFamily="34" charset="0"/>
                <a:ea typeface="Calibri" panose="020F0502020204030204" pitchFamily="34" charset="0"/>
                <a:cs typeface="Calibri" panose="020F0502020204030204" pitchFamily="34" charset="0"/>
              </a:rPr>
              <a:t>℠</a:t>
            </a:r>
            <a:br>
              <a:rPr lang="en-US"/>
            </a:br>
            <a:r>
              <a:rPr lang="en-US"/>
              <a:t>Initial Draft Date Changes ACH Retry </a:t>
            </a:r>
            <a:br>
              <a:rPr lang="en-US"/>
            </a:br>
            <a:r>
              <a:rPr lang="en-US"/>
              <a:t>Email Enhancements</a:t>
            </a:r>
          </a:p>
        </p:txBody>
      </p:sp>
      <p:sp>
        <p:nvSpPr>
          <p:cNvPr id="4" name="Slide Number Placeholder 3">
            <a:extLst>
              <a:ext uri="{FF2B5EF4-FFF2-40B4-BE49-F238E27FC236}">
                <a16:creationId xmlns:a16="http://schemas.microsoft.com/office/drawing/2014/main" id="{0BBA75D1-7826-C1F5-07E3-9BF6E79EC4E0}"/>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1606C5-D483-4832-A0E9-CF578A9B588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Text Placeholder 8">
            <a:extLst>
              <a:ext uri="{FF2B5EF4-FFF2-40B4-BE49-F238E27FC236}">
                <a16:creationId xmlns:a16="http://schemas.microsoft.com/office/drawing/2014/main" id="{CA54711E-A3C9-D95A-0CC0-2BC69514BA31}"/>
              </a:ext>
            </a:extLst>
          </p:cNvPr>
          <p:cNvSpPr txBox="1">
            <a:spLocks/>
          </p:cNvSpPr>
          <p:nvPr/>
        </p:nvSpPr>
        <p:spPr>
          <a:xfrm>
            <a:off x="7404946" y="6352974"/>
            <a:ext cx="2411308" cy="291176"/>
          </a:xfrm>
          <a:prstGeom prst="rect">
            <a:avLst/>
          </a:prstGeom>
          <a:solidFill>
            <a:srgbClr val="1D2550"/>
          </a:solidFill>
        </p:spPr>
        <p:txBody>
          <a:bodyPr vert="horz" wrap="none" lIns="75600" tIns="75600" rIns="75600" bIns="75600" rtlCol="0" anchor="b" anchorCtr="0">
            <a:spAutoFit/>
          </a:bodyPr>
          <a:lstStyle>
            <a:lvl1pPr marL="228600" indent="-228600" algn="l" defTabSz="914400" rtl="0" eaLnBrk="1" latinLnBrk="0" hangingPunct="1">
              <a:lnSpc>
                <a:spcPct val="90000"/>
              </a:lnSpc>
              <a:spcBef>
                <a:spcPts val="0"/>
              </a:spcBef>
              <a:buFont typeface="Arial" panose="020B0604020202020204" pitchFamily="34" charset="0"/>
              <a:buChar char="•"/>
              <a:defRPr sz="1000" kern="1200">
                <a:solidFill>
                  <a:schemeClr val="bg1"/>
                </a:solidFill>
                <a:latin typeface="Open Sans Condensed Condensed" pitchFamily="2" charset="0"/>
                <a:ea typeface="Open Sans Condensed Condensed" pitchFamily="2" charset="0"/>
                <a:cs typeface="Open Sans Condensed Condensed"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Open Sans Condensed Condensed" pitchFamily="2" charset="0"/>
                <a:ea typeface="Open Sans Condensed Condensed" pitchFamily="2" charset="0"/>
                <a:cs typeface="Open Sans Condensed Condensed" pitchFamily="2" charset="0"/>
              </a:rPr>
              <a:t>Agent Use Only. Not for Public Use.</a:t>
            </a:r>
          </a:p>
        </p:txBody>
      </p:sp>
      <p:sp>
        <p:nvSpPr>
          <p:cNvPr id="6" name="Text Placeholder 22">
            <a:extLst>
              <a:ext uri="{FF2B5EF4-FFF2-40B4-BE49-F238E27FC236}">
                <a16:creationId xmlns:a16="http://schemas.microsoft.com/office/drawing/2014/main" id="{6867463B-F255-6F98-FC76-485F48AFE379}"/>
              </a:ext>
            </a:extLst>
          </p:cNvPr>
          <p:cNvSpPr txBox="1">
            <a:spLocks/>
          </p:cNvSpPr>
          <p:nvPr/>
        </p:nvSpPr>
        <p:spPr>
          <a:xfrm>
            <a:off x="263796" y="5011107"/>
            <a:ext cx="7878792" cy="252000"/>
          </a:xfrm>
          <a:prstGeom prst="rect">
            <a:avLst/>
          </a:prstGeom>
        </p:spPr>
        <p:txBody>
          <a:bodyPr vert="horz" lIns="91440" tIns="45720" rIns="91440" bIns="4572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None/>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Forever Forma Body Text"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Effective December 2025</a:t>
            </a:r>
          </a:p>
        </p:txBody>
      </p:sp>
      <p:sp>
        <p:nvSpPr>
          <p:cNvPr id="8" name="Text Placeholder 7">
            <a:extLst>
              <a:ext uri="{FF2B5EF4-FFF2-40B4-BE49-F238E27FC236}">
                <a16:creationId xmlns:a16="http://schemas.microsoft.com/office/drawing/2014/main" id="{5C7CA7F7-AD1D-7B0A-82C9-A80CF9BD8F5F}"/>
              </a:ext>
            </a:extLst>
          </p:cNvPr>
          <p:cNvSpPr>
            <a:spLocks noGrp="1"/>
          </p:cNvSpPr>
          <p:nvPr>
            <p:ph type="body" sz="quarter" idx="13"/>
          </p:nvPr>
        </p:nvSpPr>
        <p:spPr/>
        <p:txBody>
          <a:bodyPr/>
          <a:lstStyle/>
          <a:p>
            <a:endParaRPr lang="en-US"/>
          </a:p>
        </p:txBody>
      </p:sp>
    </p:spTree>
    <p:custDataLst>
      <p:tags r:id="rId1"/>
    </p:custDataLst>
    <p:extLst>
      <p:ext uri="{BB962C8B-B14F-4D97-AF65-F5344CB8AC3E}">
        <p14:creationId xmlns:p14="http://schemas.microsoft.com/office/powerpoint/2010/main" val="33703331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571548-4CB2-43B2-5ECF-CF8896F8887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40AB957-CEA0-EB87-645C-1CD486E6A884}"/>
              </a:ext>
            </a:extLst>
          </p:cNvPr>
          <p:cNvSpPr>
            <a:spLocks noGrp="1"/>
          </p:cNvSpPr>
          <p:nvPr>
            <p:ph type="title"/>
          </p:nvPr>
        </p:nvSpPr>
        <p:spPr>
          <a:xfrm>
            <a:off x="521205" y="62511"/>
            <a:ext cx="11149580" cy="944637"/>
          </a:xfrm>
        </p:spPr>
        <p:txBody>
          <a:bodyPr/>
          <a:lstStyle/>
          <a:p>
            <a:r>
              <a:rPr lang="en-US"/>
              <a:t>Transamerica FE Express Solution</a:t>
            </a:r>
            <a:r>
              <a:rPr lang="en-US">
                <a:latin typeface="Calibri" panose="020F0502020204030204" pitchFamily="34" charset="0"/>
                <a:ea typeface="Calibri" panose="020F0502020204030204" pitchFamily="34" charset="0"/>
                <a:cs typeface="Calibri" panose="020F0502020204030204" pitchFamily="34" charset="0"/>
              </a:rPr>
              <a:t>℠</a:t>
            </a:r>
            <a:endParaRPr lang="en-US"/>
          </a:p>
        </p:txBody>
      </p:sp>
      <p:sp>
        <p:nvSpPr>
          <p:cNvPr id="3" name="Text Placeholder 2">
            <a:extLst>
              <a:ext uri="{FF2B5EF4-FFF2-40B4-BE49-F238E27FC236}">
                <a16:creationId xmlns:a16="http://schemas.microsoft.com/office/drawing/2014/main" id="{F8A6C603-917E-E9D1-9E88-CE7A61679601}"/>
              </a:ext>
            </a:extLst>
          </p:cNvPr>
          <p:cNvSpPr>
            <a:spLocks noGrp="1"/>
          </p:cNvSpPr>
          <p:nvPr>
            <p:ph type="body" sz="quarter" idx="16"/>
          </p:nvPr>
        </p:nvSpPr>
        <p:spPr>
          <a:xfrm>
            <a:off x="521205" y="1032492"/>
            <a:ext cx="11149580" cy="358482"/>
          </a:xfrm>
        </p:spPr>
        <p:txBody>
          <a:bodyPr/>
          <a:lstStyle/>
          <a:p>
            <a:r>
              <a:rPr lang="en-US"/>
              <a:t>Initial Draft Date Changes, ACH Retry, Email Enhancements</a:t>
            </a:r>
          </a:p>
        </p:txBody>
      </p:sp>
      <p:sp>
        <p:nvSpPr>
          <p:cNvPr id="4" name="Content Placeholder 3">
            <a:extLst>
              <a:ext uri="{FF2B5EF4-FFF2-40B4-BE49-F238E27FC236}">
                <a16:creationId xmlns:a16="http://schemas.microsoft.com/office/drawing/2014/main" id="{26124114-175C-7AB6-A275-41025ADBC02E}"/>
              </a:ext>
            </a:extLst>
          </p:cNvPr>
          <p:cNvSpPr>
            <a:spLocks noGrp="1"/>
          </p:cNvSpPr>
          <p:nvPr>
            <p:ph sz="half" idx="1"/>
          </p:nvPr>
        </p:nvSpPr>
        <p:spPr>
          <a:xfrm>
            <a:off x="521205" y="1774800"/>
            <a:ext cx="3558795" cy="4275150"/>
          </a:xfrm>
          <a:ln w="38100">
            <a:solidFill>
              <a:srgbClr val="4CD300"/>
            </a:solidFill>
          </a:ln>
        </p:spPr>
        <p:txBody>
          <a:bodyPr vert="horz" lIns="0" tIns="0" rIns="0" bIns="0" rtlCol="0" anchor="t">
            <a:noAutofit/>
          </a:bodyPr>
          <a:lstStyle/>
          <a:p>
            <a:r>
              <a:rPr lang="en-US" b="1">
                <a:solidFill>
                  <a:srgbClr val="1D2550"/>
                </a:solidFill>
                <a:latin typeface="Forever Forma Body Text"/>
              </a:rPr>
              <a:t> </a:t>
            </a:r>
          </a:p>
          <a:p>
            <a:endParaRPr lang="en-US"/>
          </a:p>
        </p:txBody>
      </p:sp>
      <p:sp>
        <p:nvSpPr>
          <p:cNvPr id="5" name="Content Placeholder 4">
            <a:extLst>
              <a:ext uri="{FF2B5EF4-FFF2-40B4-BE49-F238E27FC236}">
                <a16:creationId xmlns:a16="http://schemas.microsoft.com/office/drawing/2014/main" id="{6FAB1634-D045-BAF6-C0C1-2A47519C6CA7}"/>
              </a:ext>
            </a:extLst>
          </p:cNvPr>
          <p:cNvSpPr>
            <a:spLocks noGrp="1"/>
          </p:cNvSpPr>
          <p:nvPr>
            <p:ph sz="half" idx="18"/>
          </p:nvPr>
        </p:nvSpPr>
        <p:spPr>
          <a:ln w="38100">
            <a:solidFill>
              <a:srgbClr val="63B6FF"/>
            </a:solidFill>
          </a:ln>
        </p:spPr>
        <p:txBody>
          <a:bodyPr/>
          <a:lstStyle/>
          <a:p>
            <a:r>
              <a:rPr lang="en-US" b="1">
                <a:solidFill>
                  <a:srgbClr val="1D2550"/>
                </a:solidFill>
              </a:rPr>
              <a:t> </a:t>
            </a:r>
          </a:p>
          <a:p>
            <a:pPr marL="0" marR="0">
              <a:lnSpc>
                <a:spcPct val="115000"/>
              </a:lnSpc>
              <a:spcAft>
                <a:spcPts val="80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p:txBody>
      </p:sp>
      <p:sp>
        <p:nvSpPr>
          <p:cNvPr id="6" name="Content Placeholder 5">
            <a:extLst>
              <a:ext uri="{FF2B5EF4-FFF2-40B4-BE49-F238E27FC236}">
                <a16:creationId xmlns:a16="http://schemas.microsoft.com/office/drawing/2014/main" id="{537DC0CA-9470-1262-0D32-501225341072}"/>
              </a:ext>
            </a:extLst>
          </p:cNvPr>
          <p:cNvSpPr>
            <a:spLocks noGrp="1"/>
          </p:cNvSpPr>
          <p:nvPr>
            <p:ph sz="half" idx="13"/>
          </p:nvPr>
        </p:nvSpPr>
        <p:spPr>
          <a:xfrm>
            <a:off x="8112000" y="1774800"/>
            <a:ext cx="3558788" cy="4275150"/>
          </a:xfrm>
          <a:ln w="38100">
            <a:solidFill>
              <a:srgbClr val="641EE0"/>
            </a:solidFill>
          </a:ln>
        </p:spPr>
        <p:txBody>
          <a:bodyPr/>
          <a:lstStyle/>
          <a:p>
            <a:endParaRPr lang="en-US" b="1">
              <a:solidFill>
                <a:srgbClr val="1D2550"/>
              </a:solidFill>
            </a:endParaRPr>
          </a:p>
          <a:p>
            <a:pPr lvl="2" indent="0">
              <a:buNone/>
            </a:pPr>
            <a:endParaRPr lang="en-US"/>
          </a:p>
        </p:txBody>
      </p:sp>
      <p:sp>
        <p:nvSpPr>
          <p:cNvPr id="7" name="Slide Number Placeholder 6">
            <a:extLst>
              <a:ext uri="{FF2B5EF4-FFF2-40B4-BE49-F238E27FC236}">
                <a16:creationId xmlns:a16="http://schemas.microsoft.com/office/drawing/2014/main" id="{FF8FA9D4-EA6D-F72E-9A9C-A2A8DABAEA83}"/>
              </a:ext>
            </a:extLst>
          </p:cNvPr>
          <p:cNvSpPr>
            <a:spLocks noGrp="1"/>
          </p:cNvSpPr>
          <p:nvPr>
            <p:ph type="sldNum" sz="quarter"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C1606C5-D483-4832-A0E9-CF578A9B5883}" type="slidenum">
              <a:rPr kumimoji="0" lang="en-US" sz="900" b="0" i="0" u="none" strike="noStrike" kern="1200" cap="none" spc="0" normalizeH="0" baseline="0" noProof="0" smtClean="0">
                <a:ln>
                  <a:noFill/>
                </a:ln>
                <a:solidFill>
                  <a:srgbClr val="000000"/>
                </a:solidFill>
                <a:effectLst/>
                <a:uLnTx/>
                <a:uFillTx/>
                <a:latin typeface="Forever Forma Body Text"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US" sz="900" b="0" i="0" u="none" strike="noStrike" kern="1200" cap="none" spc="0" normalizeH="0" baseline="0" noProof="0">
              <a:ln>
                <a:noFill/>
              </a:ln>
              <a:solidFill>
                <a:srgbClr val="000000"/>
              </a:solidFill>
              <a:effectLst/>
              <a:uLnTx/>
              <a:uFillTx/>
              <a:latin typeface="Forever Forma Body Text" pitchFamily="2" charset="0"/>
              <a:ea typeface="+mn-ea"/>
              <a:cs typeface="+mn-cs"/>
            </a:endParaRPr>
          </a:p>
        </p:txBody>
      </p:sp>
      <p:sp>
        <p:nvSpPr>
          <p:cNvPr id="8" name="Text Placeholder 7">
            <a:extLst>
              <a:ext uri="{FF2B5EF4-FFF2-40B4-BE49-F238E27FC236}">
                <a16:creationId xmlns:a16="http://schemas.microsoft.com/office/drawing/2014/main" id="{BC1DEC21-B941-B29A-1C15-B86090035C12}"/>
              </a:ext>
            </a:extLst>
          </p:cNvPr>
          <p:cNvSpPr>
            <a:spLocks noGrp="1"/>
          </p:cNvSpPr>
          <p:nvPr>
            <p:ph type="body" sz="quarter" idx="14"/>
          </p:nvPr>
        </p:nvSpPr>
        <p:spPr/>
        <p:txBody>
          <a:bodyPr/>
          <a:lstStyle/>
          <a:p>
            <a:r>
              <a:rPr lang="en-US"/>
              <a:t>Agent Use Only. Not for public use.</a:t>
            </a:r>
          </a:p>
        </p:txBody>
      </p:sp>
      <p:sp>
        <p:nvSpPr>
          <p:cNvPr id="10" name="TextBox 9">
            <a:extLst>
              <a:ext uri="{FF2B5EF4-FFF2-40B4-BE49-F238E27FC236}">
                <a16:creationId xmlns:a16="http://schemas.microsoft.com/office/drawing/2014/main" id="{E41E9648-1388-6CF5-F255-68404EBCC6F1}"/>
              </a:ext>
            </a:extLst>
          </p:cNvPr>
          <p:cNvSpPr txBox="1"/>
          <p:nvPr/>
        </p:nvSpPr>
        <p:spPr>
          <a:xfrm>
            <a:off x="686111" y="1958119"/>
            <a:ext cx="3228975" cy="2877711"/>
          </a:xfrm>
          <a:prstGeom prst="rect">
            <a:avLst/>
          </a:prstGeom>
          <a:noFill/>
        </p:spPr>
        <p:txBody>
          <a:bodyPr wrap="square">
            <a:spAutoFit/>
          </a:bodyPr>
          <a:lstStyle/>
          <a:p>
            <a:pPr marL="179705" lvl="1" indent="-179705">
              <a:buClr>
                <a:srgbClr val="281805"/>
              </a:buClr>
              <a:buNone/>
            </a:pPr>
            <a:r>
              <a:rPr lang="en-US" b="1">
                <a:solidFill>
                  <a:srgbClr val="1D2550"/>
                </a:solidFill>
                <a:latin typeface="Forever Forma Body Text"/>
              </a:rPr>
              <a:t>Initial Draft Date Changes</a:t>
            </a:r>
            <a:endParaRPr lang="en-US"/>
          </a:p>
          <a:p>
            <a:pPr marL="465455" lvl="1" indent="-285750">
              <a:buFont typeface="Wingdings" panose="05000000000000000000" pitchFamily="2" charset="2"/>
              <a:buChar char="§"/>
            </a:pPr>
            <a:r>
              <a:rPr lang="en-US" sz="1800" kern="100">
                <a:effectLst/>
                <a:latin typeface="+mn-lt"/>
                <a:ea typeface="Aptos" panose="020B0004020202020204" pitchFamily="34" charset="0"/>
                <a:cs typeface="Times New Roman"/>
              </a:rPr>
              <a:t>In some cases, your client might need to change the date of the initial draft. </a:t>
            </a:r>
          </a:p>
          <a:p>
            <a:pPr marL="465455" lvl="1" indent="-285750">
              <a:buFont typeface="Wingdings" panose="05000000000000000000" pitchFamily="2" charset="2"/>
              <a:buChar char="§"/>
            </a:pPr>
            <a:r>
              <a:rPr lang="en-US" sz="1800" kern="100">
                <a:effectLst/>
                <a:latin typeface="+mn-lt"/>
                <a:ea typeface="Aptos" panose="020B0004020202020204" pitchFamily="34" charset="0"/>
                <a:cs typeface="Times New Roman"/>
              </a:rPr>
              <a:t>To reschedule the </a:t>
            </a:r>
            <a:r>
              <a:rPr lang="en-US" sz="1800" u="sng" kern="100">
                <a:effectLst/>
                <a:latin typeface="+mn-lt"/>
                <a:ea typeface="Aptos" panose="020B0004020202020204" pitchFamily="34" charset="0"/>
                <a:cs typeface="Times New Roman"/>
              </a:rPr>
              <a:t>initial</a:t>
            </a:r>
            <a:r>
              <a:rPr lang="en-US" sz="1800" kern="100">
                <a:effectLst/>
                <a:latin typeface="+mn-lt"/>
                <a:ea typeface="Aptos" panose="020B0004020202020204" pitchFamily="34" charset="0"/>
                <a:cs typeface="Times New Roman"/>
              </a:rPr>
              <a:t> draft date after buying the policy, the agent or client can contact Customer Service at (800) 453-1448.</a:t>
            </a:r>
          </a:p>
        </p:txBody>
      </p:sp>
      <p:sp>
        <p:nvSpPr>
          <p:cNvPr id="11" name="TextBox 10">
            <a:extLst>
              <a:ext uri="{FF2B5EF4-FFF2-40B4-BE49-F238E27FC236}">
                <a16:creationId xmlns:a16="http://schemas.microsoft.com/office/drawing/2014/main" id="{0C173E27-B635-C2ED-DDDF-B6BAE95F5627}"/>
              </a:ext>
            </a:extLst>
          </p:cNvPr>
          <p:cNvSpPr txBox="1"/>
          <p:nvPr/>
        </p:nvSpPr>
        <p:spPr>
          <a:xfrm>
            <a:off x="4481507" y="1958119"/>
            <a:ext cx="3228975" cy="3704604"/>
          </a:xfrm>
          <a:prstGeom prst="rect">
            <a:avLst/>
          </a:prstGeom>
          <a:noFill/>
        </p:spPr>
        <p:txBody>
          <a:bodyPr wrap="square">
            <a:spAutoFit/>
          </a:bodyPr>
          <a:lstStyle/>
          <a:p>
            <a:r>
              <a:rPr lang="en-US" b="1">
                <a:solidFill>
                  <a:srgbClr val="1D2550"/>
                </a:solidFill>
              </a:rPr>
              <a:t>ACH Retry</a:t>
            </a:r>
          </a:p>
          <a:p>
            <a:pPr marL="285750" indent="-285750">
              <a:lnSpc>
                <a:spcPct val="115000"/>
              </a:lnSpc>
              <a:spcAft>
                <a:spcPts val="800"/>
              </a:spcAft>
              <a:buFont typeface="Wingdings" panose="05000000000000000000" pitchFamily="2" charset="2"/>
              <a:buChar char="§"/>
            </a:pPr>
            <a:r>
              <a:rPr lang="en-US" sz="1600">
                <a:ea typeface="Aptos" panose="020B0004020202020204" pitchFamily="34" charset="0"/>
                <a:cs typeface="Times New Roman" panose="02020603050405020304" pitchFamily="18" charset="0"/>
              </a:rPr>
              <a:t>ACH payment failures will now be retried automatically once, five days after the failure occurs. </a:t>
            </a:r>
          </a:p>
          <a:p>
            <a:pPr marL="285750" indent="-285750">
              <a:lnSpc>
                <a:spcPct val="115000"/>
              </a:lnSpc>
              <a:spcAft>
                <a:spcPts val="800"/>
              </a:spcAft>
              <a:buFont typeface="Wingdings" panose="05000000000000000000" pitchFamily="2" charset="2"/>
              <a:buChar char="§"/>
            </a:pPr>
            <a:r>
              <a:rPr lang="en-US" sz="1600">
                <a:ea typeface="Aptos" panose="020B0004020202020204" pitchFamily="34" charset="0"/>
                <a:cs typeface="Times New Roman" panose="02020603050405020304" pitchFamily="18" charset="0"/>
              </a:rPr>
              <a:t>Payment failure emails will be sent to the client and agent every 7 days until:</a:t>
            </a:r>
          </a:p>
          <a:p>
            <a:pPr marL="645750" lvl="2" indent="-285750">
              <a:lnSpc>
                <a:spcPct val="100000"/>
              </a:lnSpc>
            </a:pPr>
            <a:r>
              <a:rPr lang="en-US" sz="1400">
                <a:ea typeface="Aptos" panose="020B0004020202020204" pitchFamily="34" charset="0"/>
                <a:cs typeface="Times New Roman" panose="02020603050405020304" pitchFamily="18" charset="0"/>
              </a:rPr>
              <a:t>Policy Binds</a:t>
            </a:r>
          </a:p>
          <a:p>
            <a:pPr marL="645750" lvl="2" indent="-285750">
              <a:lnSpc>
                <a:spcPct val="100000"/>
              </a:lnSpc>
            </a:pPr>
            <a:r>
              <a:rPr lang="en-US" sz="1400">
                <a:ea typeface="Aptos" panose="020B0004020202020204" pitchFamily="34" charset="0"/>
                <a:cs typeface="Times New Roman" panose="02020603050405020304" pitchFamily="18" charset="0"/>
              </a:rPr>
              <a:t>Manual Retry (Client goes online to make the payment)</a:t>
            </a:r>
          </a:p>
          <a:p>
            <a:pPr marL="645750" lvl="2" indent="-285750">
              <a:lnSpc>
                <a:spcPct val="100000"/>
              </a:lnSpc>
            </a:pPr>
            <a:r>
              <a:rPr lang="en-US" sz="1400">
                <a:ea typeface="Aptos" panose="020B0004020202020204" pitchFamily="34" charset="0"/>
                <a:cs typeface="Times New Roman" panose="02020603050405020304" pitchFamily="18" charset="0"/>
              </a:rPr>
              <a:t>Policy Stales (60 days)</a:t>
            </a:r>
          </a:p>
        </p:txBody>
      </p:sp>
      <p:sp>
        <p:nvSpPr>
          <p:cNvPr id="12" name="TextBox 11">
            <a:extLst>
              <a:ext uri="{FF2B5EF4-FFF2-40B4-BE49-F238E27FC236}">
                <a16:creationId xmlns:a16="http://schemas.microsoft.com/office/drawing/2014/main" id="{2B9A48D3-CD4A-A818-2FEA-AFB3BE9C1102}"/>
              </a:ext>
            </a:extLst>
          </p:cNvPr>
          <p:cNvSpPr txBox="1"/>
          <p:nvPr/>
        </p:nvSpPr>
        <p:spPr>
          <a:xfrm>
            <a:off x="8276903" y="1958119"/>
            <a:ext cx="3228975" cy="3653308"/>
          </a:xfrm>
          <a:prstGeom prst="rect">
            <a:avLst/>
          </a:prstGeom>
          <a:noFill/>
        </p:spPr>
        <p:txBody>
          <a:bodyPr wrap="square">
            <a:spAutoFit/>
          </a:bodyPr>
          <a:lstStyle/>
          <a:p>
            <a:r>
              <a:rPr lang="en-US" b="1">
                <a:solidFill>
                  <a:srgbClr val="1D2550"/>
                </a:solidFill>
              </a:rPr>
              <a:t>Email Enhancements</a:t>
            </a:r>
          </a:p>
          <a:p>
            <a:pPr marL="285750" indent="-285750">
              <a:buFont typeface="Wingdings" panose="05000000000000000000" pitchFamily="2" charset="2"/>
              <a:buChar char="§"/>
            </a:pPr>
            <a:r>
              <a:rPr lang="en-US" sz="1600"/>
              <a:t>Initial payment failure emails will now include:</a:t>
            </a:r>
          </a:p>
          <a:p>
            <a:pPr marL="825750" lvl="3" indent="-285750">
              <a:buFont typeface="Arial" panose="020B0604020202020204" pitchFamily="34" charset="0"/>
              <a:buChar char="•"/>
            </a:pPr>
            <a:r>
              <a:rPr lang="en-US" sz="1400"/>
              <a:t>Client’s last name</a:t>
            </a:r>
          </a:p>
          <a:p>
            <a:pPr marL="825750" lvl="3" indent="-285750">
              <a:buFont typeface="Arial" panose="020B0604020202020204" pitchFamily="34" charset="0"/>
              <a:buChar char="•"/>
            </a:pPr>
            <a:r>
              <a:rPr lang="en-US" sz="1400"/>
              <a:t>Last four digits of the policy number</a:t>
            </a:r>
          </a:p>
          <a:p>
            <a:pPr marL="825750" lvl="3" indent="-285750">
              <a:buFont typeface="Arial" panose="020B0604020202020204" pitchFamily="34" charset="0"/>
              <a:buChar char="•"/>
            </a:pPr>
            <a:r>
              <a:rPr lang="en-US" sz="1400"/>
              <a:t>Decline/Failure reason</a:t>
            </a:r>
          </a:p>
          <a:p>
            <a:pPr marL="825750" lvl="3" indent="-285750">
              <a:buFont typeface="Arial" panose="020B0604020202020204" pitchFamily="34" charset="0"/>
              <a:buChar char="•"/>
            </a:pPr>
            <a:r>
              <a:rPr lang="en-US" sz="1400"/>
              <a:t>Retry process (if applicable)</a:t>
            </a:r>
          </a:p>
          <a:p>
            <a:pPr marL="285750" indent="-285750">
              <a:buFont typeface="Arial" panose="020B0604020202020204" pitchFamily="34" charset="0"/>
              <a:buChar char="•"/>
            </a:pPr>
            <a:endParaRPr lang="en-US" sz="1600"/>
          </a:p>
          <a:p>
            <a:pPr marL="285750" indent="-285750">
              <a:buFont typeface="Wingdings" panose="05000000000000000000" pitchFamily="2" charset="2"/>
              <a:buChar char="§"/>
            </a:pPr>
            <a:r>
              <a:rPr lang="en-US" sz="1600"/>
              <a:t>Incomplete purchase emails will be sent to the agent every 7 days until:</a:t>
            </a:r>
          </a:p>
          <a:p>
            <a:pPr marL="825750" lvl="3" indent="-285750">
              <a:buFont typeface="Arial" panose="020B0604020202020204" pitchFamily="34" charset="0"/>
              <a:buChar char="•"/>
            </a:pPr>
            <a:r>
              <a:rPr lang="en-US" sz="1400"/>
              <a:t>A payment method is applied</a:t>
            </a:r>
          </a:p>
          <a:p>
            <a:pPr marL="825750" lvl="3" indent="-285750">
              <a:buFont typeface="Arial" panose="020B0604020202020204" pitchFamily="34" charset="0"/>
              <a:buChar char="•"/>
            </a:pPr>
            <a:r>
              <a:rPr lang="en-US" sz="1400"/>
              <a:t>Policy Stales (60 days)</a:t>
            </a:r>
          </a:p>
        </p:txBody>
      </p:sp>
    </p:spTree>
    <p:custDataLst>
      <p:tags r:id="rId1"/>
    </p:custDataLst>
    <p:extLst>
      <p:ext uri="{BB962C8B-B14F-4D97-AF65-F5344CB8AC3E}">
        <p14:creationId xmlns:p14="http://schemas.microsoft.com/office/powerpoint/2010/main" val="4083559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89B037-DEBA-EF84-7314-3C17B22B397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7343C92-DAF8-0513-DCCA-608C2C1E2D8A}"/>
              </a:ext>
            </a:extLst>
          </p:cNvPr>
          <p:cNvSpPr>
            <a:spLocks noGrp="1"/>
          </p:cNvSpPr>
          <p:nvPr>
            <p:ph type="title"/>
          </p:nvPr>
        </p:nvSpPr>
        <p:spPr/>
        <p:txBody>
          <a:bodyPr/>
          <a:lstStyle/>
          <a:p>
            <a:r>
              <a:rPr lang="en-US" sz="2400">
                <a:latin typeface="+mn-lt"/>
              </a:rPr>
              <a:t>Transamerica FE Express Solution</a:t>
            </a:r>
            <a:r>
              <a:rPr lang="en-US" sz="2400">
                <a:latin typeface="Calibri" panose="020F0502020204030204" pitchFamily="34" charset="0"/>
                <a:ea typeface="Calibri" panose="020F0502020204030204" pitchFamily="34" charset="0"/>
                <a:cs typeface="Calibri" panose="020F0502020204030204" pitchFamily="34" charset="0"/>
              </a:rPr>
              <a:t>℠</a:t>
            </a:r>
            <a:br>
              <a:rPr lang="en-US"/>
            </a:br>
            <a:r>
              <a:rPr lang="en-US"/>
              <a:t>PIN-to-Sign</a:t>
            </a:r>
          </a:p>
        </p:txBody>
      </p:sp>
      <p:sp>
        <p:nvSpPr>
          <p:cNvPr id="4" name="Slide Number Placeholder 3">
            <a:extLst>
              <a:ext uri="{FF2B5EF4-FFF2-40B4-BE49-F238E27FC236}">
                <a16:creationId xmlns:a16="http://schemas.microsoft.com/office/drawing/2014/main" id="{539A79AA-2B00-EC3A-72B5-DEF1CC3FC356}"/>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1606C5-D483-4832-A0E9-CF578A9B588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Text Placeholder 8">
            <a:extLst>
              <a:ext uri="{FF2B5EF4-FFF2-40B4-BE49-F238E27FC236}">
                <a16:creationId xmlns:a16="http://schemas.microsoft.com/office/drawing/2014/main" id="{584337DE-906B-B9DA-4B72-FD30ABD313E1}"/>
              </a:ext>
            </a:extLst>
          </p:cNvPr>
          <p:cNvSpPr txBox="1">
            <a:spLocks/>
          </p:cNvSpPr>
          <p:nvPr/>
        </p:nvSpPr>
        <p:spPr>
          <a:xfrm>
            <a:off x="7404946" y="6352974"/>
            <a:ext cx="2504282" cy="291176"/>
          </a:xfrm>
          <a:prstGeom prst="rect">
            <a:avLst/>
          </a:prstGeom>
          <a:solidFill>
            <a:srgbClr val="1D2550"/>
          </a:solidFill>
        </p:spPr>
        <p:txBody>
          <a:bodyPr vert="horz" wrap="none" lIns="75600" tIns="75600" rIns="75600" bIns="75600" rtlCol="0" anchor="b" anchorCtr="0">
            <a:spAutoFit/>
          </a:bodyPr>
          <a:lstStyle>
            <a:lvl1pPr marL="228600" indent="-228600" algn="l" defTabSz="914400" rtl="0" eaLnBrk="1" latinLnBrk="0" hangingPunct="1">
              <a:lnSpc>
                <a:spcPct val="90000"/>
              </a:lnSpc>
              <a:spcBef>
                <a:spcPts val="0"/>
              </a:spcBef>
              <a:buFont typeface="Arial" panose="020B0604020202020204" pitchFamily="34" charset="0"/>
              <a:buChar char="•"/>
              <a:defRPr sz="1000" kern="1200">
                <a:solidFill>
                  <a:schemeClr val="bg1"/>
                </a:solidFill>
                <a:latin typeface="Open Sans Condensed Condensed" pitchFamily="2" charset="0"/>
                <a:ea typeface="Open Sans Condensed Condensed" pitchFamily="2" charset="0"/>
                <a:cs typeface="Open Sans Condensed Condensed"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Open Sans Condensed Condensed" pitchFamily="2" charset="0"/>
                <a:ea typeface="Open Sans Condensed Condensed" pitchFamily="2" charset="0"/>
                <a:cs typeface="Open Sans Condensed Condensed" pitchFamily="2" charset="0"/>
              </a:rPr>
              <a:t>Internal Use Only. Not for Public Use.</a:t>
            </a:r>
          </a:p>
        </p:txBody>
      </p:sp>
      <p:sp>
        <p:nvSpPr>
          <p:cNvPr id="7" name="Text Placeholder 6">
            <a:extLst>
              <a:ext uri="{FF2B5EF4-FFF2-40B4-BE49-F238E27FC236}">
                <a16:creationId xmlns:a16="http://schemas.microsoft.com/office/drawing/2014/main" id="{D7087BB2-1C8A-D716-43CD-D0DAB875B282}"/>
              </a:ext>
            </a:extLst>
          </p:cNvPr>
          <p:cNvSpPr>
            <a:spLocks noGrp="1"/>
          </p:cNvSpPr>
          <p:nvPr>
            <p:ph type="body" sz="quarter" idx="13"/>
          </p:nvPr>
        </p:nvSpPr>
        <p:spPr/>
        <p:txBody>
          <a:bodyPr/>
          <a:lstStyle/>
          <a:p>
            <a:endParaRPr lang="en-US"/>
          </a:p>
        </p:txBody>
      </p:sp>
    </p:spTree>
    <p:custDataLst>
      <p:tags r:id="rId1"/>
    </p:custDataLst>
    <p:extLst>
      <p:ext uri="{BB962C8B-B14F-4D97-AF65-F5344CB8AC3E}">
        <p14:creationId xmlns:p14="http://schemas.microsoft.com/office/powerpoint/2010/main" val="2821084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E69E3A-8D20-41F5-4993-EC524A48E89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56964F3-7D7E-A6FD-0FD0-017423674037}"/>
              </a:ext>
            </a:extLst>
          </p:cNvPr>
          <p:cNvSpPr>
            <a:spLocks noGrp="1"/>
          </p:cNvSpPr>
          <p:nvPr>
            <p:ph type="title"/>
          </p:nvPr>
        </p:nvSpPr>
        <p:spPr>
          <a:xfrm>
            <a:off x="521208" y="1269000"/>
            <a:ext cx="5574792" cy="4320000"/>
          </a:xfrm>
        </p:spPr>
        <p:txBody>
          <a:bodyPr/>
          <a:lstStyle/>
          <a:p>
            <a:r>
              <a:rPr lang="en-US" sz="2400" dirty="0">
                <a:latin typeface="+mn-lt"/>
              </a:rPr>
              <a:t>Transamerica FE Express Solution</a:t>
            </a:r>
            <a:r>
              <a:rPr lang="en-US" sz="2400" dirty="0">
                <a:latin typeface="Calibri" panose="020F0502020204030204" pitchFamily="34" charset="0"/>
                <a:ea typeface="Calibri" panose="020F0502020204030204" pitchFamily="34" charset="0"/>
                <a:cs typeface="Calibri" panose="020F0502020204030204" pitchFamily="34" charset="0"/>
              </a:rPr>
              <a:t>℠</a:t>
            </a:r>
            <a:br>
              <a:rPr lang="en-US" dirty="0"/>
            </a:br>
            <a:r>
              <a:rPr lang="en-US" dirty="0"/>
              <a:t>Face amount increase</a:t>
            </a:r>
          </a:p>
        </p:txBody>
      </p:sp>
      <p:sp>
        <p:nvSpPr>
          <p:cNvPr id="4" name="Slide Number Placeholder 3">
            <a:extLst>
              <a:ext uri="{FF2B5EF4-FFF2-40B4-BE49-F238E27FC236}">
                <a16:creationId xmlns:a16="http://schemas.microsoft.com/office/drawing/2014/main" id="{7E77BC5F-37E5-F7E2-3EE1-C2212E72377E}"/>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1606C5-D483-4832-A0E9-CF578A9B588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Text Placeholder 8">
            <a:extLst>
              <a:ext uri="{FF2B5EF4-FFF2-40B4-BE49-F238E27FC236}">
                <a16:creationId xmlns:a16="http://schemas.microsoft.com/office/drawing/2014/main" id="{32DC6D1D-0502-C97C-CECE-083EB7B78361}"/>
              </a:ext>
            </a:extLst>
          </p:cNvPr>
          <p:cNvSpPr txBox="1">
            <a:spLocks/>
          </p:cNvSpPr>
          <p:nvPr/>
        </p:nvSpPr>
        <p:spPr>
          <a:xfrm>
            <a:off x="7404946" y="6352974"/>
            <a:ext cx="2411308" cy="291176"/>
          </a:xfrm>
          <a:prstGeom prst="rect">
            <a:avLst/>
          </a:prstGeom>
          <a:solidFill>
            <a:srgbClr val="1D2550"/>
          </a:solidFill>
        </p:spPr>
        <p:txBody>
          <a:bodyPr vert="horz" wrap="none" lIns="75600" tIns="75600" rIns="75600" bIns="75600" rtlCol="0" anchor="b" anchorCtr="0">
            <a:spAutoFit/>
          </a:bodyPr>
          <a:lstStyle>
            <a:lvl1pPr marL="228600" indent="-228600" algn="l" defTabSz="914400" rtl="0" eaLnBrk="1" latinLnBrk="0" hangingPunct="1">
              <a:lnSpc>
                <a:spcPct val="90000"/>
              </a:lnSpc>
              <a:spcBef>
                <a:spcPts val="0"/>
              </a:spcBef>
              <a:buFont typeface="Arial" panose="020B0604020202020204" pitchFamily="34" charset="0"/>
              <a:buChar char="•"/>
              <a:defRPr sz="1000" kern="1200">
                <a:solidFill>
                  <a:schemeClr val="bg1"/>
                </a:solidFill>
                <a:latin typeface="Open Sans Condensed Condensed" pitchFamily="2" charset="0"/>
                <a:ea typeface="Open Sans Condensed Condensed" pitchFamily="2" charset="0"/>
                <a:cs typeface="Open Sans Condensed Condensed"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Open Sans Condensed Condensed" pitchFamily="2" charset="0"/>
                <a:ea typeface="Open Sans Condensed Condensed" pitchFamily="2" charset="0"/>
                <a:cs typeface="Open Sans Condensed Condensed" pitchFamily="2" charset="0"/>
              </a:rPr>
              <a:t>Agent Use Only. Not for Public Use.</a:t>
            </a:r>
          </a:p>
        </p:txBody>
      </p:sp>
      <p:sp>
        <p:nvSpPr>
          <p:cNvPr id="3" name="Text Placeholder 22">
            <a:extLst>
              <a:ext uri="{FF2B5EF4-FFF2-40B4-BE49-F238E27FC236}">
                <a16:creationId xmlns:a16="http://schemas.microsoft.com/office/drawing/2014/main" id="{8783C272-B0D9-889C-B89E-9F1E4AC0E1EA}"/>
              </a:ext>
            </a:extLst>
          </p:cNvPr>
          <p:cNvSpPr>
            <a:spLocks noGrp="1"/>
          </p:cNvSpPr>
          <p:nvPr>
            <p:ph type="body" sz="quarter" idx="13"/>
          </p:nvPr>
        </p:nvSpPr>
        <p:spPr>
          <a:xfrm>
            <a:off x="521208" y="4145475"/>
            <a:ext cx="7878792" cy="252000"/>
          </a:xfrm>
        </p:spPr>
        <p:txBody>
          <a:bodyPr vert="horz" lIns="91440" tIns="45720" rIns="91440" bIns="45720" rtlCol="0" anchor="t">
            <a:noAutofit/>
          </a:bodyPr>
          <a:lstStyle/>
          <a:p>
            <a:r>
              <a:rPr lang="en-US" sz="1800" dirty="0">
                <a:solidFill>
                  <a:schemeClr val="tx1"/>
                </a:solidFill>
              </a:rPr>
              <a:t>Effective January 21, 2026</a:t>
            </a:r>
          </a:p>
        </p:txBody>
      </p:sp>
    </p:spTree>
    <p:custDataLst>
      <p:tags r:id="rId1"/>
    </p:custDataLst>
    <p:extLst>
      <p:ext uri="{BB962C8B-B14F-4D97-AF65-F5344CB8AC3E}">
        <p14:creationId xmlns:p14="http://schemas.microsoft.com/office/powerpoint/2010/main" val="6748204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B5F99F-A238-B63C-2586-3A2F92FD75B6}"/>
              </a:ext>
            </a:extLst>
          </p:cNvPr>
          <p:cNvSpPr>
            <a:spLocks noGrp="1"/>
          </p:cNvSpPr>
          <p:nvPr>
            <p:ph type="title"/>
          </p:nvPr>
        </p:nvSpPr>
        <p:spPr/>
        <p:txBody>
          <a:bodyPr/>
          <a:lstStyle/>
          <a:p>
            <a:endParaRPr lang="en-US"/>
          </a:p>
        </p:txBody>
      </p:sp>
      <p:sp>
        <p:nvSpPr>
          <p:cNvPr id="3" name="Slide Number Placeholder 2">
            <a:extLst>
              <a:ext uri="{FF2B5EF4-FFF2-40B4-BE49-F238E27FC236}">
                <a16:creationId xmlns:a16="http://schemas.microsoft.com/office/drawing/2014/main" id="{4AD79C30-1BAC-1306-A275-766A635579C4}"/>
              </a:ext>
            </a:extLst>
          </p:cNvPr>
          <p:cNvSpPr>
            <a:spLocks noGrp="1"/>
          </p:cNvSpPr>
          <p:nvPr>
            <p:ph type="sldNum" sz="quarter" idx="15"/>
          </p:nvPr>
        </p:nvSpPr>
        <p:spPr/>
        <p:txBody>
          <a:bodyPr/>
          <a:lstStyle/>
          <a:p>
            <a:fld id="{1C1606C5-D483-4832-A0E9-CF578A9B5883}" type="slidenum">
              <a:rPr lang="en-US" smtClean="0"/>
              <a:pPr/>
              <a:t>20</a:t>
            </a:fld>
            <a:endParaRPr lang="en-US"/>
          </a:p>
        </p:txBody>
      </p:sp>
      <p:sp>
        <p:nvSpPr>
          <p:cNvPr id="4" name="Text Placeholder 3">
            <a:extLst>
              <a:ext uri="{FF2B5EF4-FFF2-40B4-BE49-F238E27FC236}">
                <a16:creationId xmlns:a16="http://schemas.microsoft.com/office/drawing/2014/main" id="{19FBE2A9-1D7A-79B9-B329-CE0F46BC1C52}"/>
              </a:ext>
            </a:extLst>
          </p:cNvPr>
          <p:cNvSpPr>
            <a:spLocks noGrp="1"/>
          </p:cNvSpPr>
          <p:nvPr>
            <p:ph type="body" sz="quarter" idx="14"/>
          </p:nvPr>
        </p:nvSpPr>
        <p:spPr/>
        <p:txBody>
          <a:bodyPr/>
          <a:lstStyle/>
          <a:p>
            <a:r>
              <a:rPr lang="en-US"/>
              <a:t>Agent Use Only. Not For Public Use.</a:t>
            </a:r>
          </a:p>
        </p:txBody>
      </p:sp>
      <p:grpSp>
        <p:nvGrpSpPr>
          <p:cNvPr id="6" name="Group 5">
            <a:extLst>
              <a:ext uri="{FF2B5EF4-FFF2-40B4-BE49-F238E27FC236}">
                <a16:creationId xmlns:a16="http://schemas.microsoft.com/office/drawing/2014/main" id="{F0655903-0EA8-6A28-84EE-C9D2CED9C60D}"/>
              </a:ext>
            </a:extLst>
          </p:cNvPr>
          <p:cNvGrpSpPr/>
          <p:nvPr/>
        </p:nvGrpSpPr>
        <p:grpSpPr>
          <a:xfrm>
            <a:off x="2286000" y="797676"/>
            <a:ext cx="10134600" cy="5472276"/>
            <a:chOff x="2616027" y="2640338"/>
            <a:chExt cx="10668000" cy="6000751"/>
          </a:xfrm>
        </p:grpSpPr>
        <p:pic>
          <p:nvPicPr>
            <p:cNvPr id="7" name="Picture 6">
              <a:extLst>
                <a:ext uri="{FF2B5EF4-FFF2-40B4-BE49-F238E27FC236}">
                  <a16:creationId xmlns:a16="http://schemas.microsoft.com/office/drawing/2014/main" id="{A016D738-3EAE-3BE9-1A9C-FE5441F7CA25}"/>
                </a:ext>
              </a:extLst>
            </p:cNvPr>
            <p:cNvPicPr>
              <a:picLocks noChangeAspect="1"/>
            </p:cNvPicPr>
            <p:nvPr/>
          </p:nvPicPr>
          <p:blipFill>
            <a:blip r:embed="rId4"/>
            <a:srcRect l="14228" r="15640" b="2990"/>
            <a:stretch/>
          </p:blipFill>
          <p:spPr>
            <a:xfrm>
              <a:off x="4541080" y="3161914"/>
              <a:ext cx="6593627" cy="4550756"/>
            </a:xfrm>
            <a:prstGeom prst="rect">
              <a:avLst/>
            </a:prstGeom>
          </p:spPr>
        </p:pic>
        <p:pic>
          <p:nvPicPr>
            <p:cNvPr id="8" name="Picture 7" descr="A black screen with a black background&#10;&#10;AI-generated content may be incorrect.">
              <a:extLst>
                <a:ext uri="{FF2B5EF4-FFF2-40B4-BE49-F238E27FC236}">
                  <a16:creationId xmlns:a16="http://schemas.microsoft.com/office/drawing/2014/main" id="{6ECF9DCE-167A-C8EF-2862-3D4D2F9E875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16027" y="2640338"/>
              <a:ext cx="10668000" cy="6000751"/>
            </a:xfrm>
            <a:prstGeom prst="rect">
              <a:avLst/>
            </a:prstGeom>
          </p:spPr>
        </p:pic>
      </p:grpSp>
      <p:sp>
        <p:nvSpPr>
          <p:cNvPr id="9" name="Rectangle: Rounded Corners 8">
            <a:extLst>
              <a:ext uri="{FF2B5EF4-FFF2-40B4-BE49-F238E27FC236}">
                <a16:creationId xmlns:a16="http://schemas.microsoft.com/office/drawing/2014/main" id="{95BD8C51-3E2B-2063-5227-CE885C595E4A}"/>
              </a:ext>
            </a:extLst>
          </p:cNvPr>
          <p:cNvSpPr/>
          <p:nvPr/>
        </p:nvSpPr>
        <p:spPr>
          <a:xfrm>
            <a:off x="7391400" y="3581400"/>
            <a:ext cx="1219200" cy="685800"/>
          </a:xfrm>
          <a:prstGeom prst="roundRect">
            <a:avLst>
              <a:gd name="adj" fmla="val 10842"/>
            </a:avLst>
          </a:prstGeom>
          <a:noFill/>
          <a:ln w="57150">
            <a:solidFill>
              <a:srgbClr val="4CD300"/>
            </a:solid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1" name="Title 15">
            <a:extLst>
              <a:ext uri="{FF2B5EF4-FFF2-40B4-BE49-F238E27FC236}">
                <a16:creationId xmlns:a16="http://schemas.microsoft.com/office/drawing/2014/main" id="{30008622-8876-EBA4-4266-82192A0FDE9F}"/>
              </a:ext>
            </a:extLst>
          </p:cNvPr>
          <p:cNvSpPr txBox="1">
            <a:spLocks/>
          </p:cNvSpPr>
          <p:nvPr/>
        </p:nvSpPr>
        <p:spPr>
          <a:xfrm>
            <a:off x="17318" y="-40884"/>
            <a:ext cx="11149580" cy="94463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a:ln>
                  <a:noFill/>
                </a:ln>
                <a:solidFill>
                  <a:srgbClr val="1D2550"/>
                </a:solidFill>
                <a:effectLst/>
                <a:uLnTx/>
                <a:uFillTx/>
                <a:latin typeface="Aptos Display" panose="02110004020202020204"/>
                <a:ea typeface="+mj-ea"/>
                <a:cs typeface="+mj-cs"/>
              </a:rPr>
              <a:t>Transamerica FE Express Solution</a:t>
            </a:r>
            <a:r>
              <a:rPr kumimoji="0" lang="en-US" sz="4400" b="0" i="0" u="none" strike="noStrike" kern="1200" cap="none" spc="0" normalizeH="0" baseline="0" noProof="0">
                <a:ln>
                  <a:noFill/>
                </a:ln>
                <a:solidFill>
                  <a:srgbClr val="1D2550"/>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en-US" sz="4400" b="0" i="0" u="none" strike="noStrike" kern="1200" cap="none" spc="0" normalizeH="0" baseline="0" noProof="0">
                <a:ln>
                  <a:noFill/>
                </a:ln>
                <a:solidFill>
                  <a:srgbClr val="1D2550"/>
                </a:solidFill>
                <a:effectLst/>
                <a:uLnTx/>
                <a:uFillTx/>
                <a:latin typeface="Aptos Display" panose="02110004020202020204"/>
                <a:ea typeface="+mj-ea"/>
                <a:cs typeface="+mj-cs"/>
              </a:rPr>
              <a:t> </a:t>
            </a:r>
          </a:p>
        </p:txBody>
      </p:sp>
      <p:sp>
        <p:nvSpPr>
          <p:cNvPr id="12" name="Text Placeholder 4">
            <a:extLst>
              <a:ext uri="{FF2B5EF4-FFF2-40B4-BE49-F238E27FC236}">
                <a16:creationId xmlns:a16="http://schemas.microsoft.com/office/drawing/2014/main" id="{7D651F60-6E33-E48F-7925-5368E3C99B0D}"/>
              </a:ext>
            </a:extLst>
          </p:cNvPr>
          <p:cNvSpPr txBox="1">
            <a:spLocks/>
          </p:cNvSpPr>
          <p:nvPr/>
        </p:nvSpPr>
        <p:spPr>
          <a:xfrm>
            <a:off x="135323" y="797676"/>
            <a:ext cx="11149580" cy="35848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200" b="0" i="0" kern="1200">
                <a:solidFill>
                  <a:schemeClr val="tx1"/>
                </a:solidFill>
                <a:latin typeface="Forever Forma Heading"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None/>
              <a:tabLst/>
              <a:defRPr/>
            </a:pPr>
            <a:r>
              <a:rPr kumimoji="0" lang="en-US" sz="2200" b="0" i="0" u="none" strike="noStrike" kern="1200" cap="none" spc="0" normalizeH="0" baseline="0" noProof="0">
                <a:ln>
                  <a:noFill/>
                </a:ln>
                <a:solidFill>
                  <a:sysClr val="windowText" lastClr="000000"/>
                </a:solidFill>
                <a:effectLst/>
                <a:uLnTx/>
                <a:uFillTx/>
                <a:latin typeface="Forever Forma Heading" pitchFamily="2" charset="0"/>
                <a:ea typeface="+mn-ea"/>
                <a:cs typeface="+mn-cs"/>
              </a:rPr>
              <a:t>PIN-to-Si</a:t>
            </a:r>
            <a:r>
              <a:rPr lang="en-US" spc="0" err="1">
                <a:solidFill>
                  <a:sysClr val="windowText" lastClr="000000"/>
                </a:solidFill>
              </a:rPr>
              <a:t>gn</a:t>
            </a:r>
            <a:endParaRPr kumimoji="0" lang="en-US" sz="2200" b="0" i="0" u="none" strike="noStrike" kern="1200" cap="none" spc="0" normalizeH="0" baseline="0" noProof="0">
              <a:ln>
                <a:noFill/>
              </a:ln>
              <a:solidFill>
                <a:sysClr val="windowText" lastClr="000000"/>
              </a:solidFill>
              <a:effectLst/>
              <a:uLnTx/>
              <a:uFillTx/>
              <a:latin typeface="Forever Forma Heading" pitchFamily="2" charset="0"/>
              <a:ea typeface="+mn-ea"/>
              <a:cs typeface="+mn-cs"/>
            </a:endParaRPr>
          </a:p>
        </p:txBody>
      </p:sp>
      <p:sp>
        <p:nvSpPr>
          <p:cNvPr id="16" name="TextBox 15">
            <a:extLst>
              <a:ext uri="{FF2B5EF4-FFF2-40B4-BE49-F238E27FC236}">
                <a16:creationId xmlns:a16="http://schemas.microsoft.com/office/drawing/2014/main" id="{2207CCFA-3DE2-E1C4-D6AB-13F83744E5C1}"/>
              </a:ext>
            </a:extLst>
          </p:cNvPr>
          <p:cNvSpPr txBox="1"/>
          <p:nvPr/>
        </p:nvSpPr>
        <p:spPr>
          <a:xfrm>
            <a:off x="231022" y="1806502"/>
            <a:ext cx="2893177" cy="3139321"/>
          </a:xfrm>
          <a:prstGeom prst="rect">
            <a:avLst/>
          </a:prstGeom>
          <a:noFill/>
        </p:spPr>
        <p:txBody>
          <a:bodyPr wrap="square">
            <a:spAutoFit/>
          </a:bodyPr>
          <a:lstStyle/>
          <a:p>
            <a:pPr marL="285750" indent="-285750">
              <a:lnSpc>
                <a:spcPct val="100000"/>
              </a:lnSpc>
              <a:spcBef>
                <a:spcPts val="0"/>
              </a:spcBef>
              <a:buClrTx/>
              <a:buFont typeface="Wingdings" panose="05000000000000000000" pitchFamily="2" charset="2"/>
              <a:buChar char="§"/>
              <a:defRPr/>
            </a:pPr>
            <a:r>
              <a:rPr lang="en-US"/>
              <a:t>The PIN-to-Sign remote signature experience works the same way for both Parts 1 and 2 of the application. </a:t>
            </a:r>
          </a:p>
          <a:p>
            <a:pPr>
              <a:lnSpc>
                <a:spcPct val="100000"/>
              </a:lnSpc>
              <a:spcBef>
                <a:spcPts val="0"/>
              </a:spcBef>
              <a:buClrTx/>
              <a:buNone/>
              <a:defRPr/>
            </a:pPr>
            <a:endParaRPr lang="en-US"/>
          </a:p>
          <a:p>
            <a:pPr marL="285750" indent="-285750">
              <a:lnSpc>
                <a:spcPct val="100000"/>
              </a:lnSpc>
              <a:spcBef>
                <a:spcPts val="0"/>
              </a:spcBef>
              <a:buClrTx/>
              <a:buFont typeface="Wingdings" panose="05000000000000000000" pitchFamily="2" charset="2"/>
              <a:buChar char="§"/>
              <a:defRPr/>
            </a:pPr>
            <a:r>
              <a:rPr lang="en-US"/>
              <a:t>First, select the delivery method your client prefers: email or text message.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lang="en-US"/>
          </a:p>
        </p:txBody>
      </p:sp>
    </p:spTree>
    <p:custDataLst>
      <p:tags r:id="rId1"/>
    </p:custDataLst>
    <p:extLst>
      <p:ext uri="{BB962C8B-B14F-4D97-AF65-F5344CB8AC3E}">
        <p14:creationId xmlns:p14="http://schemas.microsoft.com/office/powerpoint/2010/main" val="3016619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1A291F-1B15-D53E-E6F7-F575E59F587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D648818-E165-39ED-F16A-58EEE243493D}"/>
              </a:ext>
            </a:extLst>
          </p:cNvPr>
          <p:cNvSpPr>
            <a:spLocks noGrp="1"/>
          </p:cNvSpPr>
          <p:nvPr>
            <p:ph type="title"/>
          </p:nvPr>
        </p:nvSpPr>
        <p:spPr/>
        <p:txBody>
          <a:bodyPr/>
          <a:lstStyle/>
          <a:p>
            <a:endParaRPr lang="en-US"/>
          </a:p>
        </p:txBody>
      </p:sp>
      <p:sp>
        <p:nvSpPr>
          <p:cNvPr id="3" name="Slide Number Placeholder 2">
            <a:extLst>
              <a:ext uri="{FF2B5EF4-FFF2-40B4-BE49-F238E27FC236}">
                <a16:creationId xmlns:a16="http://schemas.microsoft.com/office/drawing/2014/main" id="{91DB1125-86AE-1BE0-00DF-80DF7F670960}"/>
              </a:ext>
            </a:extLst>
          </p:cNvPr>
          <p:cNvSpPr>
            <a:spLocks noGrp="1"/>
          </p:cNvSpPr>
          <p:nvPr>
            <p:ph type="sldNum" sz="quarter" idx="15"/>
          </p:nvPr>
        </p:nvSpPr>
        <p:spPr/>
        <p:txBody>
          <a:bodyPr/>
          <a:lstStyle/>
          <a:p>
            <a:fld id="{1C1606C5-D483-4832-A0E9-CF578A9B5883}" type="slidenum">
              <a:rPr lang="en-US" smtClean="0"/>
              <a:pPr/>
              <a:t>21</a:t>
            </a:fld>
            <a:endParaRPr lang="en-US"/>
          </a:p>
        </p:txBody>
      </p:sp>
      <p:sp>
        <p:nvSpPr>
          <p:cNvPr id="4" name="Text Placeholder 3">
            <a:extLst>
              <a:ext uri="{FF2B5EF4-FFF2-40B4-BE49-F238E27FC236}">
                <a16:creationId xmlns:a16="http://schemas.microsoft.com/office/drawing/2014/main" id="{C41697AB-074F-20E0-090A-C0A9520EA819}"/>
              </a:ext>
            </a:extLst>
          </p:cNvPr>
          <p:cNvSpPr>
            <a:spLocks noGrp="1"/>
          </p:cNvSpPr>
          <p:nvPr>
            <p:ph type="body" sz="quarter" idx="14"/>
          </p:nvPr>
        </p:nvSpPr>
        <p:spPr/>
        <p:txBody>
          <a:bodyPr/>
          <a:lstStyle/>
          <a:p>
            <a:r>
              <a:rPr lang="en-US"/>
              <a:t>Agent Use Only. Not For Public Use.</a:t>
            </a:r>
          </a:p>
        </p:txBody>
      </p:sp>
      <p:grpSp>
        <p:nvGrpSpPr>
          <p:cNvPr id="6" name="Group 5">
            <a:extLst>
              <a:ext uri="{FF2B5EF4-FFF2-40B4-BE49-F238E27FC236}">
                <a16:creationId xmlns:a16="http://schemas.microsoft.com/office/drawing/2014/main" id="{D1C40713-CBD0-8009-EB46-50D4EAD60A92}"/>
              </a:ext>
            </a:extLst>
          </p:cNvPr>
          <p:cNvGrpSpPr/>
          <p:nvPr/>
        </p:nvGrpSpPr>
        <p:grpSpPr>
          <a:xfrm>
            <a:off x="2590800" y="921071"/>
            <a:ext cx="9930556" cy="5134252"/>
            <a:chOff x="-50987" y="-492929"/>
            <a:chExt cx="12192000" cy="6858000"/>
          </a:xfrm>
        </p:grpSpPr>
        <p:pic>
          <p:nvPicPr>
            <p:cNvPr id="7" name="Picture 6">
              <a:extLst>
                <a:ext uri="{FF2B5EF4-FFF2-40B4-BE49-F238E27FC236}">
                  <a16:creationId xmlns:a16="http://schemas.microsoft.com/office/drawing/2014/main" id="{77D4B7F3-E239-FEB0-B72A-29182E4C5668}"/>
                </a:ext>
              </a:extLst>
            </p:cNvPr>
            <p:cNvPicPr>
              <a:picLocks noChangeAspect="1"/>
            </p:cNvPicPr>
            <p:nvPr/>
          </p:nvPicPr>
          <p:blipFill>
            <a:blip r:embed="rId4"/>
            <a:srcRect l="8302" r="9317"/>
            <a:stretch/>
          </p:blipFill>
          <p:spPr>
            <a:xfrm>
              <a:off x="1698322" y="277392"/>
              <a:ext cx="8505825" cy="5151751"/>
            </a:xfrm>
            <a:prstGeom prst="rect">
              <a:avLst/>
            </a:prstGeom>
          </p:spPr>
        </p:pic>
        <p:pic>
          <p:nvPicPr>
            <p:cNvPr id="8" name="Picture 7" descr="A black screen with a black background&#10;&#10;AI-generated content may be incorrect.">
              <a:extLst>
                <a:ext uri="{FF2B5EF4-FFF2-40B4-BE49-F238E27FC236}">
                  <a16:creationId xmlns:a16="http://schemas.microsoft.com/office/drawing/2014/main" id="{6B73C100-C339-51E7-0503-7B764AC4AD4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987" y="-492929"/>
              <a:ext cx="12192000" cy="6858000"/>
            </a:xfrm>
            <a:prstGeom prst="rect">
              <a:avLst/>
            </a:prstGeom>
          </p:spPr>
        </p:pic>
      </p:grpSp>
      <p:sp>
        <p:nvSpPr>
          <p:cNvPr id="9" name="Rectangle: Rounded Corners 8">
            <a:extLst>
              <a:ext uri="{FF2B5EF4-FFF2-40B4-BE49-F238E27FC236}">
                <a16:creationId xmlns:a16="http://schemas.microsoft.com/office/drawing/2014/main" id="{8BC8761C-E504-A481-2E92-A9B50D09DCD3}"/>
              </a:ext>
            </a:extLst>
          </p:cNvPr>
          <p:cNvSpPr/>
          <p:nvPr/>
        </p:nvSpPr>
        <p:spPr>
          <a:xfrm>
            <a:off x="6400800" y="1497773"/>
            <a:ext cx="2209800" cy="3733800"/>
          </a:xfrm>
          <a:prstGeom prst="roundRect">
            <a:avLst>
              <a:gd name="adj" fmla="val 7086"/>
            </a:avLst>
          </a:prstGeom>
          <a:noFill/>
          <a:ln w="57150">
            <a:solidFill>
              <a:srgbClr val="4CD300"/>
            </a:solid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6" name="TextBox 15">
            <a:extLst>
              <a:ext uri="{FF2B5EF4-FFF2-40B4-BE49-F238E27FC236}">
                <a16:creationId xmlns:a16="http://schemas.microsoft.com/office/drawing/2014/main" id="{82568CAD-DDE7-800C-4C8B-3478DE76A0FE}"/>
              </a:ext>
            </a:extLst>
          </p:cNvPr>
          <p:cNvSpPr txBox="1"/>
          <p:nvPr/>
        </p:nvSpPr>
        <p:spPr>
          <a:xfrm>
            <a:off x="1" y="2099208"/>
            <a:ext cx="3657600" cy="2031325"/>
          </a:xfrm>
          <a:prstGeom prst="rect">
            <a:avLst/>
          </a:prstGeom>
          <a:noFill/>
        </p:spPr>
        <p:txBody>
          <a:bodyPr wrap="square">
            <a:spAutoFit/>
          </a:bodyPr>
          <a:lstStyle/>
          <a:p>
            <a:pPr>
              <a:lnSpc>
                <a:spcPct val="100000"/>
              </a:lnSpc>
              <a:spcBef>
                <a:spcPts val="0"/>
              </a:spcBef>
              <a:buClrTx/>
              <a:buNone/>
              <a:defRPr/>
            </a:pPr>
            <a:endParaRPr lang="en-US"/>
          </a:p>
          <a:p>
            <a:pPr marL="285750" indent="-285750">
              <a:lnSpc>
                <a:spcPct val="100000"/>
              </a:lnSpc>
              <a:spcBef>
                <a:spcPts val="0"/>
              </a:spcBef>
              <a:buClrTx/>
              <a:buFont typeface="Wingdings" panose="05000000000000000000" pitchFamily="2" charset="2"/>
              <a:buChar char="§"/>
              <a:defRPr/>
            </a:pPr>
            <a:r>
              <a:rPr lang="en-US"/>
              <a:t>Next, confirm the phone number, click to accept the terms and conditions, then click the blue button to send a text to your client.</a:t>
            </a:r>
          </a:p>
          <a:p>
            <a:pPr marL="285750" indent="-285750">
              <a:lnSpc>
                <a:spcPct val="100000"/>
              </a:lnSpc>
              <a:spcBef>
                <a:spcPts val="0"/>
              </a:spcBef>
              <a:buClrTx/>
              <a:buFont typeface="Wingdings" panose="05000000000000000000" pitchFamily="2" charset="2"/>
              <a:buChar char="ü"/>
              <a:defRPr/>
            </a:pPr>
            <a:endParaRPr lang="en-US"/>
          </a:p>
        </p:txBody>
      </p:sp>
      <p:sp>
        <p:nvSpPr>
          <p:cNvPr id="17" name="Title 15">
            <a:extLst>
              <a:ext uri="{FF2B5EF4-FFF2-40B4-BE49-F238E27FC236}">
                <a16:creationId xmlns:a16="http://schemas.microsoft.com/office/drawing/2014/main" id="{39AE8AF1-57E8-1931-3422-CDCCB441C053}"/>
              </a:ext>
            </a:extLst>
          </p:cNvPr>
          <p:cNvSpPr txBox="1">
            <a:spLocks/>
          </p:cNvSpPr>
          <p:nvPr/>
        </p:nvSpPr>
        <p:spPr>
          <a:xfrm>
            <a:off x="17318" y="-40884"/>
            <a:ext cx="11149580" cy="94463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a:ln>
                  <a:noFill/>
                </a:ln>
                <a:solidFill>
                  <a:srgbClr val="1D2550"/>
                </a:solidFill>
                <a:effectLst/>
                <a:uLnTx/>
                <a:uFillTx/>
                <a:latin typeface="Aptos Display" panose="02110004020202020204"/>
                <a:ea typeface="+mj-ea"/>
                <a:cs typeface="+mj-cs"/>
              </a:rPr>
              <a:t>Transamerica FE Express Solution</a:t>
            </a:r>
            <a:r>
              <a:rPr kumimoji="0" lang="en-US" sz="4400" b="0" i="0" u="none" strike="noStrike" kern="1200" cap="none" spc="0" normalizeH="0" baseline="0" noProof="0">
                <a:ln>
                  <a:noFill/>
                </a:ln>
                <a:solidFill>
                  <a:srgbClr val="1D2550"/>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en-US" sz="4400" b="0" i="0" u="none" strike="noStrike" kern="1200" cap="none" spc="0" normalizeH="0" baseline="0" noProof="0">
                <a:ln>
                  <a:noFill/>
                </a:ln>
                <a:solidFill>
                  <a:srgbClr val="1D2550"/>
                </a:solidFill>
                <a:effectLst/>
                <a:uLnTx/>
                <a:uFillTx/>
                <a:latin typeface="Aptos Display" panose="02110004020202020204"/>
                <a:ea typeface="+mj-ea"/>
                <a:cs typeface="+mj-cs"/>
              </a:rPr>
              <a:t> </a:t>
            </a:r>
          </a:p>
        </p:txBody>
      </p:sp>
      <p:sp>
        <p:nvSpPr>
          <p:cNvPr id="18" name="Text Placeholder 4">
            <a:extLst>
              <a:ext uri="{FF2B5EF4-FFF2-40B4-BE49-F238E27FC236}">
                <a16:creationId xmlns:a16="http://schemas.microsoft.com/office/drawing/2014/main" id="{9C70CDA4-70AF-E89C-BD2C-B6CB101C88BD}"/>
              </a:ext>
            </a:extLst>
          </p:cNvPr>
          <p:cNvSpPr txBox="1">
            <a:spLocks/>
          </p:cNvSpPr>
          <p:nvPr/>
        </p:nvSpPr>
        <p:spPr>
          <a:xfrm>
            <a:off x="135323" y="797676"/>
            <a:ext cx="11149580" cy="35848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200" b="0" i="0" kern="1200">
                <a:solidFill>
                  <a:schemeClr val="tx1"/>
                </a:solidFill>
                <a:latin typeface="Forever Forma Heading"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None/>
              <a:tabLst/>
              <a:defRPr/>
            </a:pPr>
            <a:r>
              <a:rPr kumimoji="0" lang="en-US" sz="2200" b="0" i="0" u="none" strike="noStrike" kern="1200" cap="none" spc="0" normalizeH="0" baseline="0" noProof="0">
                <a:ln>
                  <a:noFill/>
                </a:ln>
                <a:solidFill>
                  <a:sysClr val="windowText" lastClr="000000"/>
                </a:solidFill>
                <a:effectLst/>
                <a:uLnTx/>
                <a:uFillTx/>
                <a:latin typeface="Forever Forma Heading" pitchFamily="2" charset="0"/>
                <a:ea typeface="+mn-ea"/>
                <a:cs typeface="+mn-cs"/>
              </a:rPr>
              <a:t>PIN-to-Si</a:t>
            </a:r>
            <a:r>
              <a:rPr lang="en-US" spc="0" err="1">
                <a:solidFill>
                  <a:sysClr val="windowText" lastClr="000000"/>
                </a:solidFill>
              </a:rPr>
              <a:t>gn</a:t>
            </a:r>
            <a:endParaRPr kumimoji="0" lang="en-US" sz="2200" b="0" i="0" u="none" strike="noStrike" kern="1200" cap="none" spc="0" normalizeH="0" baseline="0" noProof="0">
              <a:ln>
                <a:noFill/>
              </a:ln>
              <a:solidFill>
                <a:sysClr val="windowText" lastClr="000000"/>
              </a:solidFill>
              <a:effectLst/>
              <a:uLnTx/>
              <a:uFillTx/>
              <a:latin typeface="Forever Forma Heading" pitchFamily="2" charset="0"/>
              <a:ea typeface="+mn-ea"/>
              <a:cs typeface="+mn-cs"/>
            </a:endParaRPr>
          </a:p>
        </p:txBody>
      </p:sp>
    </p:spTree>
    <p:custDataLst>
      <p:tags r:id="rId1"/>
    </p:custDataLst>
    <p:extLst>
      <p:ext uri="{BB962C8B-B14F-4D97-AF65-F5344CB8AC3E}">
        <p14:creationId xmlns:p14="http://schemas.microsoft.com/office/powerpoint/2010/main" val="411428579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C8A829-3D0D-964E-CA13-B07D4C53E1B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7138B3E-76AA-8DBD-8833-0DEEB3313170}"/>
              </a:ext>
            </a:extLst>
          </p:cNvPr>
          <p:cNvSpPr>
            <a:spLocks noGrp="1"/>
          </p:cNvSpPr>
          <p:nvPr>
            <p:ph type="title"/>
          </p:nvPr>
        </p:nvSpPr>
        <p:spPr/>
        <p:txBody>
          <a:bodyPr/>
          <a:lstStyle/>
          <a:p>
            <a:endParaRPr lang="en-US"/>
          </a:p>
        </p:txBody>
      </p:sp>
      <p:sp>
        <p:nvSpPr>
          <p:cNvPr id="3" name="Slide Number Placeholder 2">
            <a:extLst>
              <a:ext uri="{FF2B5EF4-FFF2-40B4-BE49-F238E27FC236}">
                <a16:creationId xmlns:a16="http://schemas.microsoft.com/office/drawing/2014/main" id="{7FC2CEDF-EDDD-D785-2FE6-FD2508FBA2FD}"/>
              </a:ext>
            </a:extLst>
          </p:cNvPr>
          <p:cNvSpPr>
            <a:spLocks noGrp="1"/>
          </p:cNvSpPr>
          <p:nvPr>
            <p:ph type="sldNum" sz="quarter" idx="15"/>
          </p:nvPr>
        </p:nvSpPr>
        <p:spPr/>
        <p:txBody>
          <a:bodyPr/>
          <a:lstStyle/>
          <a:p>
            <a:fld id="{1C1606C5-D483-4832-A0E9-CF578A9B5883}" type="slidenum">
              <a:rPr lang="en-US" smtClean="0"/>
              <a:pPr/>
              <a:t>22</a:t>
            </a:fld>
            <a:endParaRPr lang="en-US"/>
          </a:p>
        </p:txBody>
      </p:sp>
      <p:sp>
        <p:nvSpPr>
          <p:cNvPr id="4" name="Text Placeholder 3">
            <a:extLst>
              <a:ext uri="{FF2B5EF4-FFF2-40B4-BE49-F238E27FC236}">
                <a16:creationId xmlns:a16="http://schemas.microsoft.com/office/drawing/2014/main" id="{C5BD4A15-5BDF-5705-C9A0-738A5DF57A82}"/>
              </a:ext>
            </a:extLst>
          </p:cNvPr>
          <p:cNvSpPr>
            <a:spLocks noGrp="1"/>
          </p:cNvSpPr>
          <p:nvPr>
            <p:ph type="body" sz="quarter" idx="14"/>
          </p:nvPr>
        </p:nvSpPr>
        <p:spPr/>
        <p:txBody>
          <a:bodyPr/>
          <a:lstStyle/>
          <a:p>
            <a:r>
              <a:rPr lang="en-US"/>
              <a:t>Agent Use Only. Not For Public Use.</a:t>
            </a:r>
          </a:p>
        </p:txBody>
      </p:sp>
      <p:grpSp>
        <p:nvGrpSpPr>
          <p:cNvPr id="6" name="Group 5">
            <a:extLst>
              <a:ext uri="{FF2B5EF4-FFF2-40B4-BE49-F238E27FC236}">
                <a16:creationId xmlns:a16="http://schemas.microsoft.com/office/drawing/2014/main" id="{E9CD2C6D-7B59-F475-80A6-5EC37A506260}"/>
              </a:ext>
            </a:extLst>
          </p:cNvPr>
          <p:cNvGrpSpPr/>
          <p:nvPr/>
        </p:nvGrpSpPr>
        <p:grpSpPr>
          <a:xfrm>
            <a:off x="5878485" y="976917"/>
            <a:ext cx="3242739" cy="5821538"/>
            <a:chOff x="3810118" y="-247805"/>
            <a:chExt cx="4091754" cy="7098948"/>
          </a:xfrm>
        </p:grpSpPr>
        <p:pic>
          <p:nvPicPr>
            <p:cNvPr id="7" name="Picture 6" descr="A screenshot of a phone&#10;&#10;AI-generated content may be incorrect.">
              <a:extLst>
                <a:ext uri="{FF2B5EF4-FFF2-40B4-BE49-F238E27FC236}">
                  <a16:creationId xmlns:a16="http://schemas.microsoft.com/office/drawing/2014/main" id="{8C1F385D-55E1-2044-35FC-085D9B6E67B6}"/>
                </a:ext>
              </a:extLst>
            </p:cNvPr>
            <p:cNvPicPr>
              <a:picLocks noChangeAspect="1"/>
            </p:cNvPicPr>
            <p:nvPr/>
          </p:nvPicPr>
          <p:blipFill>
            <a:blip r:embed="rId4">
              <a:extLst>
                <a:ext uri="{28A0092B-C50C-407E-A947-70E740481C1C}">
                  <a14:useLocalDpi xmlns:a14="http://schemas.microsoft.com/office/drawing/2010/main" val="0"/>
                </a:ext>
              </a:extLst>
            </a:blip>
            <a:srcRect t="5145"/>
            <a:stretch/>
          </p:blipFill>
          <p:spPr>
            <a:xfrm>
              <a:off x="4716174" y="474871"/>
              <a:ext cx="2737647" cy="5619750"/>
            </a:xfrm>
            <a:prstGeom prst="rect">
              <a:avLst/>
            </a:prstGeom>
          </p:spPr>
        </p:pic>
        <p:pic>
          <p:nvPicPr>
            <p:cNvPr id="9" name="Picture 6" descr="A cell phone with a black background&#10;&#10;AI-generated content may be incorrect.">
              <a:extLst>
                <a:ext uri="{FF2B5EF4-FFF2-40B4-BE49-F238E27FC236}">
                  <a16:creationId xmlns:a16="http://schemas.microsoft.com/office/drawing/2014/main" id="{17207895-1ED4-3160-A1E5-94BC51FAF6F8}"/>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3125" r="34453"/>
            <a:stretch/>
          </p:blipFill>
          <p:spPr bwMode="auto">
            <a:xfrm>
              <a:off x="3810118" y="-247805"/>
              <a:ext cx="4091754" cy="7098948"/>
            </a:xfrm>
            <a:prstGeom prst="rect">
              <a:avLst/>
            </a:prstGeom>
            <a:noFill/>
            <a:extLst>
              <a:ext uri="{909E8E84-426E-40DD-AFC4-6F175D3DCCD1}">
                <a14:hiddenFill xmlns:a14="http://schemas.microsoft.com/office/drawing/2010/main">
                  <a:solidFill>
                    <a:srgbClr val="FFFFFF"/>
                  </a:solidFill>
                </a14:hiddenFill>
              </a:ext>
            </a:extLst>
          </p:spPr>
        </p:pic>
      </p:grpSp>
      <p:sp>
        <p:nvSpPr>
          <p:cNvPr id="10" name="Rectangle: Rounded Corners 9">
            <a:extLst>
              <a:ext uri="{FF2B5EF4-FFF2-40B4-BE49-F238E27FC236}">
                <a16:creationId xmlns:a16="http://schemas.microsoft.com/office/drawing/2014/main" id="{FAC3DC53-233F-EE6F-D6A1-145E702B72C7}"/>
              </a:ext>
            </a:extLst>
          </p:cNvPr>
          <p:cNvSpPr/>
          <p:nvPr/>
        </p:nvSpPr>
        <p:spPr>
          <a:xfrm>
            <a:off x="6661655" y="2785636"/>
            <a:ext cx="1676401" cy="1600200"/>
          </a:xfrm>
          <a:prstGeom prst="roundRect">
            <a:avLst>
              <a:gd name="adj" fmla="val 3240"/>
            </a:avLst>
          </a:prstGeom>
          <a:noFill/>
          <a:ln w="57150">
            <a:solidFill>
              <a:srgbClr val="4CD300"/>
            </a:solid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3" name="TextBox 12">
            <a:extLst>
              <a:ext uri="{FF2B5EF4-FFF2-40B4-BE49-F238E27FC236}">
                <a16:creationId xmlns:a16="http://schemas.microsoft.com/office/drawing/2014/main" id="{489365C8-8FE0-C916-0C86-2C40CAB553B6}"/>
              </a:ext>
            </a:extLst>
          </p:cNvPr>
          <p:cNvSpPr txBox="1"/>
          <p:nvPr/>
        </p:nvSpPr>
        <p:spPr>
          <a:xfrm>
            <a:off x="441300" y="1919488"/>
            <a:ext cx="3513676" cy="2862322"/>
          </a:xfrm>
          <a:prstGeom prst="rect">
            <a:avLst/>
          </a:prstGeom>
          <a:noFill/>
        </p:spPr>
        <p:txBody>
          <a:bodyPr wrap="square">
            <a:spAutoFit/>
          </a:bodyPr>
          <a:lstStyle/>
          <a:p>
            <a:pPr>
              <a:lnSpc>
                <a:spcPct val="100000"/>
              </a:lnSpc>
              <a:spcBef>
                <a:spcPts val="0"/>
              </a:spcBef>
              <a:buClrTx/>
              <a:buNone/>
              <a:defRPr/>
            </a:pPr>
            <a:endParaRPr lang="en-US"/>
          </a:p>
          <a:p>
            <a:pPr marL="285750" indent="-285750">
              <a:lnSpc>
                <a:spcPct val="100000"/>
              </a:lnSpc>
              <a:spcBef>
                <a:spcPts val="0"/>
              </a:spcBef>
              <a:buClrTx/>
              <a:buFont typeface="Wingdings" panose="05000000000000000000" pitchFamily="2" charset="2"/>
              <a:buChar char="§"/>
              <a:defRPr/>
            </a:pPr>
            <a:r>
              <a:rPr lang="en-US"/>
              <a:t>The client will receive a series of back-to-back text messages from a (469) area code.  </a:t>
            </a:r>
          </a:p>
          <a:p>
            <a:pPr marL="285750" indent="-285750">
              <a:lnSpc>
                <a:spcPct val="100000"/>
              </a:lnSpc>
              <a:spcBef>
                <a:spcPts val="0"/>
              </a:spcBef>
              <a:buClrTx/>
              <a:buFont typeface="Wingdings" panose="05000000000000000000" pitchFamily="2" charset="2"/>
              <a:buChar char="ü"/>
              <a:defRPr/>
            </a:pPr>
            <a:endParaRPr lang="en-US"/>
          </a:p>
          <a:p>
            <a:pPr marL="285750" indent="-285750">
              <a:lnSpc>
                <a:spcPct val="100000"/>
              </a:lnSpc>
              <a:spcBef>
                <a:spcPts val="0"/>
              </a:spcBef>
              <a:buClrTx/>
              <a:buFont typeface="Wingdings" panose="05000000000000000000" pitchFamily="2" charset="2"/>
              <a:buChar char="§"/>
              <a:defRPr/>
            </a:pPr>
            <a:r>
              <a:rPr lang="en-US"/>
              <a:t>To review the forms before providing the PIN, the client will click the link provided in the text. </a:t>
            </a:r>
          </a:p>
          <a:p>
            <a:pPr marL="285750" indent="-285750">
              <a:lnSpc>
                <a:spcPct val="100000"/>
              </a:lnSpc>
              <a:spcBef>
                <a:spcPts val="0"/>
              </a:spcBef>
              <a:buClrTx/>
              <a:buFont typeface="Wingdings" panose="05000000000000000000" pitchFamily="2" charset="2"/>
              <a:buChar char="ü"/>
              <a:defRPr/>
            </a:pPr>
            <a:endParaRPr lang="en-US"/>
          </a:p>
        </p:txBody>
      </p:sp>
      <p:sp>
        <p:nvSpPr>
          <p:cNvPr id="14" name="Title 15">
            <a:extLst>
              <a:ext uri="{FF2B5EF4-FFF2-40B4-BE49-F238E27FC236}">
                <a16:creationId xmlns:a16="http://schemas.microsoft.com/office/drawing/2014/main" id="{8EDDA94C-16CE-A5E4-F38B-37F1F5DB0FBE}"/>
              </a:ext>
            </a:extLst>
          </p:cNvPr>
          <p:cNvSpPr txBox="1">
            <a:spLocks/>
          </p:cNvSpPr>
          <p:nvPr/>
        </p:nvSpPr>
        <p:spPr>
          <a:xfrm>
            <a:off x="17318" y="-40884"/>
            <a:ext cx="11149580" cy="94463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a:ln>
                  <a:noFill/>
                </a:ln>
                <a:solidFill>
                  <a:srgbClr val="1D2550"/>
                </a:solidFill>
                <a:effectLst/>
                <a:uLnTx/>
                <a:uFillTx/>
                <a:latin typeface="Aptos Display" panose="02110004020202020204"/>
                <a:ea typeface="+mj-ea"/>
                <a:cs typeface="+mj-cs"/>
              </a:rPr>
              <a:t>Transamerica FE Express Solution</a:t>
            </a:r>
            <a:r>
              <a:rPr kumimoji="0" lang="en-US" sz="4400" b="0" i="0" u="none" strike="noStrike" kern="1200" cap="none" spc="0" normalizeH="0" baseline="0" noProof="0">
                <a:ln>
                  <a:noFill/>
                </a:ln>
                <a:solidFill>
                  <a:srgbClr val="1D2550"/>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en-US" sz="4400" b="0" i="0" u="none" strike="noStrike" kern="1200" cap="none" spc="0" normalizeH="0" baseline="0" noProof="0">
                <a:ln>
                  <a:noFill/>
                </a:ln>
                <a:solidFill>
                  <a:srgbClr val="1D2550"/>
                </a:solidFill>
                <a:effectLst/>
                <a:uLnTx/>
                <a:uFillTx/>
                <a:latin typeface="Aptos Display" panose="02110004020202020204"/>
                <a:ea typeface="+mj-ea"/>
                <a:cs typeface="+mj-cs"/>
              </a:rPr>
              <a:t> </a:t>
            </a:r>
          </a:p>
        </p:txBody>
      </p:sp>
      <p:sp>
        <p:nvSpPr>
          <p:cNvPr id="15" name="Text Placeholder 4">
            <a:extLst>
              <a:ext uri="{FF2B5EF4-FFF2-40B4-BE49-F238E27FC236}">
                <a16:creationId xmlns:a16="http://schemas.microsoft.com/office/drawing/2014/main" id="{EC1A8793-0EA0-2C71-0D48-0EA3E2A8CAAC}"/>
              </a:ext>
            </a:extLst>
          </p:cNvPr>
          <p:cNvSpPr txBox="1">
            <a:spLocks/>
          </p:cNvSpPr>
          <p:nvPr/>
        </p:nvSpPr>
        <p:spPr>
          <a:xfrm>
            <a:off x="135323" y="797676"/>
            <a:ext cx="11149580" cy="35848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200" b="0" i="0" kern="1200">
                <a:solidFill>
                  <a:schemeClr val="tx1"/>
                </a:solidFill>
                <a:latin typeface="Forever Forma Heading"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None/>
              <a:tabLst/>
              <a:defRPr/>
            </a:pPr>
            <a:r>
              <a:rPr kumimoji="0" lang="en-US" sz="2200" b="0" i="0" u="none" strike="noStrike" kern="1200" cap="none" spc="0" normalizeH="0" baseline="0" noProof="0">
                <a:ln>
                  <a:noFill/>
                </a:ln>
                <a:solidFill>
                  <a:sysClr val="windowText" lastClr="000000"/>
                </a:solidFill>
                <a:effectLst/>
                <a:uLnTx/>
                <a:uFillTx/>
                <a:latin typeface="Forever Forma Heading" pitchFamily="2" charset="0"/>
                <a:ea typeface="+mn-ea"/>
                <a:cs typeface="+mn-cs"/>
              </a:rPr>
              <a:t>PIN-to-Si</a:t>
            </a:r>
            <a:r>
              <a:rPr lang="en-US" spc="0" err="1">
                <a:solidFill>
                  <a:sysClr val="windowText" lastClr="000000"/>
                </a:solidFill>
              </a:rPr>
              <a:t>gn</a:t>
            </a:r>
            <a:endParaRPr kumimoji="0" lang="en-US" sz="2200" b="0" i="0" u="none" strike="noStrike" kern="1200" cap="none" spc="0" normalizeH="0" baseline="0" noProof="0">
              <a:ln>
                <a:noFill/>
              </a:ln>
              <a:solidFill>
                <a:sysClr val="windowText" lastClr="000000"/>
              </a:solidFill>
              <a:effectLst/>
              <a:uLnTx/>
              <a:uFillTx/>
              <a:latin typeface="Forever Forma Heading" pitchFamily="2" charset="0"/>
              <a:ea typeface="+mn-ea"/>
              <a:cs typeface="+mn-cs"/>
            </a:endParaRPr>
          </a:p>
        </p:txBody>
      </p:sp>
    </p:spTree>
    <p:custDataLst>
      <p:tags r:id="rId1"/>
    </p:custDataLst>
    <p:extLst>
      <p:ext uri="{BB962C8B-B14F-4D97-AF65-F5344CB8AC3E}">
        <p14:creationId xmlns:p14="http://schemas.microsoft.com/office/powerpoint/2010/main" val="38657334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EC926D-8019-153F-2FC0-04E68F7DC7F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FD0096D-92D2-619B-0BD1-E48CCC1801B9}"/>
              </a:ext>
            </a:extLst>
          </p:cNvPr>
          <p:cNvSpPr>
            <a:spLocks noGrp="1"/>
          </p:cNvSpPr>
          <p:nvPr>
            <p:ph type="title"/>
          </p:nvPr>
        </p:nvSpPr>
        <p:spPr/>
        <p:txBody>
          <a:bodyPr/>
          <a:lstStyle/>
          <a:p>
            <a:endParaRPr lang="en-US"/>
          </a:p>
        </p:txBody>
      </p:sp>
      <p:sp>
        <p:nvSpPr>
          <p:cNvPr id="3" name="Slide Number Placeholder 2">
            <a:extLst>
              <a:ext uri="{FF2B5EF4-FFF2-40B4-BE49-F238E27FC236}">
                <a16:creationId xmlns:a16="http://schemas.microsoft.com/office/drawing/2014/main" id="{EFA4FBC5-D446-341A-8C67-508ECCC9F6B4}"/>
              </a:ext>
            </a:extLst>
          </p:cNvPr>
          <p:cNvSpPr>
            <a:spLocks noGrp="1"/>
          </p:cNvSpPr>
          <p:nvPr>
            <p:ph type="sldNum" sz="quarter" idx="15"/>
          </p:nvPr>
        </p:nvSpPr>
        <p:spPr/>
        <p:txBody>
          <a:bodyPr/>
          <a:lstStyle/>
          <a:p>
            <a:fld id="{1C1606C5-D483-4832-A0E9-CF578A9B5883}" type="slidenum">
              <a:rPr lang="en-US" smtClean="0"/>
              <a:pPr/>
              <a:t>23</a:t>
            </a:fld>
            <a:endParaRPr lang="en-US"/>
          </a:p>
        </p:txBody>
      </p:sp>
      <p:sp>
        <p:nvSpPr>
          <p:cNvPr id="4" name="Text Placeholder 3">
            <a:extLst>
              <a:ext uri="{FF2B5EF4-FFF2-40B4-BE49-F238E27FC236}">
                <a16:creationId xmlns:a16="http://schemas.microsoft.com/office/drawing/2014/main" id="{A63789C8-D553-9488-3A61-A664957C3A0E}"/>
              </a:ext>
            </a:extLst>
          </p:cNvPr>
          <p:cNvSpPr>
            <a:spLocks noGrp="1"/>
          </p:cNvSpPr>
          <p:nvPr>
            <p:ph type="body" sz="quarter" idx="14"/>
          </p:nvPr>
        </p:nvSpPr>
        <p:spPr/>
        <p:txBody>
          <a:bodyPr/>
          <a:lstStyle/>
          <a:p>
            <a:r>
              <a:rPr lang="en-US"/>
              <a:t>Agent Use Only. Not For Public Use.</a:t>
            </a:r>
          </a:p>
        </p:txBody>
      </p:sp>
      <p:grpSp>
        <p:nvGrpSpPr>
          <p:cNvPr id="6" name="Group 5">
            <a:extLst>
              <a:ext uri="{FF2B5EF4-FFF2-40B4-BE49-F238E27FC236}">
                <a16:creationId xmlns:a16="http://schemas.microsoft.com/office/drawing/2014/main" id="{394FBF75-338C-DE24-C9D2-F2A0A35FE431}"/>
              </a:ext>
            </a:extLst>
          </p:cNvPr>
          <p:cNvGrpSpPr/>
          <p:nvPr/>
        </p:nvGrpSpPr>
        <p:grpSpPr>
          <a:xfrm>
            <a:off x="2895600" y="973236"/>
            <a:ext cx="9537700" cy="5076714"/>
            <a:chOff x="0" y="0"/>
            <a:chExt cx="12192000" cy="6858000"/>
          </a:xfrm>
        </p:grpSpPr>
        <p:pic>
          <p:nvPicPr>
            <p:cNvPr id="7" name="Picture 6">
              <a:extLst>
                <a:ext uri="{FF2B5EF4-FFF2-40B4-BE49-F238E27FC236}">
                  <a16:creationId xmlns:a16="http://schemas.microsoft.com/office/drawing/2014/main" id="{DE9CC46D-E3D0-E948-9D3B-950E44489A57}"/>
                </a:ext>
              </a:extLst>
            </p:cNvPr>
            <p:cNvPicPr>
              <a:picLocks noChangeAspect="1"/>
            </p:cNvPicPr>
            <p:nvPr/>
          </p:nvPicPr>
          <p:blipFill>
            <a:blip r:embed="rId4"/>
            <a:srcRect l="7897" r="9558"/>
            <a:stretch/>
          </p:blipFill>
          <p:spPr>
            <a:xfrm>
              <a:off x="1752600" y="653518"/>
              <a:ext cx="8515350" cy="5147207"/>
            </a:xfrm>
            <a:prstGeom prst="rect">
              <a:avLst/>
            </a:prstGeom>
          </p:spPr>
        </p:pic>
        <p:pic>
          <p:nvPicPr>
            <p:cNvPr id="8" name="Picture 7" descr="A black screen with a black background&#10;&#10;AI-generated content may be incorrect.">
              <a:extLst>
                <a:ext uri="{FF2B5EF4-FFF2-40B4-BE49-F238E27FC236}">
                  <a16:creationId xmlns:a16="http://schemas.microsoft.com/office/drawing/2014/main" id="{EB602E51-CFE1-BF11-145F-D62F196C003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pSp>
      <p:sp>
        <p:nvSpPr>
          <p:cNvPr id="10" name="Rectangle: Rounded Corners 9">
            <a:extLst>
              <a:ext uri="{FF2B5EF4-FFF2-40B4-BE49-F238E27FC236}">
                <a16:creationId xmlns:a16="http://schemas.microsoft.com/office/drawing/2014/main" id="{29B66530-37C0-CB5A-4F55-BBBED61DDC68}"/>
              </a:ext>
            </a:extLst>
          </p:cNvPr>
          <p:cNvSpPr/>
          <p:nvPr/>
        </p:nvSpPr>
        <p:spPr>
          <a:xfrm>
            <a:off x="6553202" y="1520968"/>
            <a:ext cx="2133600" cy="3660632"/>
          </a:xfrm>
          <a:prstGeom prst="roundRect">
            <a:avLst>
              <a:gd name="adj" fmla="val 4154"/>
            </a:avLst>
          </a:prstGeom>
          <a:noFill/>
          <a:ln w="57150">
            <a:solidFill>
              <a:srgbClr val="4CD300"/>
            </a:solid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2" name="TextBox 11">
            <a:extLst>
              <a:ext uri="{FF2B5EF4-FFF2-40B4-BE49-F238E27FC236}">
                <a16:creationId xmlns:a16="http://schemas.microsoft.com/office/drawing/2014/main" id="{14B223B6-8F29-E0B6-FAFF-376909FF053C}"/>
              </a:ext>
            </a:extLst>
          </p:cNvPr>
          <p:cNvSpPr txBox="1"/>
          <p:nvPr/>
        </p:nvSpPr>
        <p:spPr>
          <a:xfrm>
            <a:off x="420518" y="1981392"/>
            <a:ext cx="3084682" cy="3693319"/>
          </a:xfrm>
          <a:prstGeom prst="rect">
            <a:avLst/>
          </a:prstGeom>
          <a:noFill/>
        </p:spPr>
        <p:txBody>
          <a:bodyPr wrap="square">
            <a:spAutoFit/>
          </a:bodyPr>
          <a:lstStyle/>
          <a:p>
            <a:pPr marL="285750" indent="-285750">
              <a:lnSpc>
                <a:spcPct val="100000"/>
              </a:lnSpc>
              <a:spcBef>
                <a:spcPts val="0"/>
              </a:spcBef>
              <a:buClrTx/>
              <a:buFont typeface="Wingdings" panose="05000000000000000000" pitchFamily="2" charset="2"/>
              <a:buChar char="§"/>
              <a:defRPr/>
            </a:pPr>
            <a:r>
              <a:rPr lang="en-US"/>
              <a:t>Next, select the box confirming you’ve read the script to the client, then ask the client to provide you with the PIN they received via text message. </a:t>
            </a:r>
          </a:p>
          <a:p>
            <a:pPr marL="285750" indent="-285750">
              <a:lnSpc>
                <a:spcPct val="100000"/>
              </a:lnSpc>
              <a:spcBef>
                <a:spcPts val="0"/>
              </a:spcBef>
              <a:buClrTx/>
              <a:buFont typeface="Wingdings" panose="05000000000000000000" pitchFamily="2" charset="2"/>
              <a:buChar char="ü"/>
              <a:defRPr/>
            </a:pPr>
            <a:endParaRPr lang="en-US"/>
          </a:p>
          <a:p>
            <a:pPr marL="285750" indent="-285750">
              <a:lnSpc>
                <a:spcPct val="100000"/>
              </a:lnSpc>
              <a:spcBef>
                <a:spcPts val="0"/>
              </a:spcBef>
              <a:buClrTx/>
              <a:buFont typeface="Wingdings" panose="05000000000000000000" pitchFamily="2" charset="2"/>
              <a:buChar char="§"/>
              <a:defRPr/>
            </a:pPr>
            <a:r>
              <a:rPr lang="en-US"/>
              <a:t>Finally, click the blue 'Agree and sign client documents' button and proceed with part B of the application.</a:t>
            </a:r>
          </a:p>
          <a:p>
            <a:pPr>
              <a:lnSpc>
                <a:spcPct val="100000"/>
              </a:lnSpc>
              <a:spcBef>
                <a:spcPts val="0"/>
              </a:spcBef>
              <a:buClrTx/>
              <a:buNone/>
              <a:defRPr/>
            </a:pPr>
            <a:endParaRPr lang="en-US"/>
          </a:p>
        </p:txBody>
      </p:sp>
      <p:sp>
        <p:nvSpPr>
          <p:cNvPr id="13" name="Title 15">
            <a:extLst>
              <a:ext uri="{FF2B5EF4-FFF2-40B4-BE49-F238E27FC236}">
                <a16:creationId xmlns:a16="http://schemas.microsoft.com/office/drawing/2014/main" id="{C0E40116-7468-485D-700E-3976D73CBBF9}"/>
              </a:ext>
            </a:extLst>
          </p:cNvPr>
          <p:cNvSpPr txBox="1">
            <a:spLocks/>
          </p:cNvSpPr>
          <p:nvPr/>
        </p:nvSpPr>
        <p:spPr>
          <a:xfrm>
            <a:off x="17318" y="-40884"/>
            <a:ext cx="11149580" cy="94463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a:ln>
                  <a:noFill/>
                </a:ln>
                <a:solidFill>
                  <a:srgbClr val="1D2550"/>
                </a:solidFill>
                <a:effectLst/>
                <a:uLnTx/>
                <a:uFillTx/>
                <a:latin typeface="Aptos Display" panose="02110004020202020204"/>
                <a:ea typeface="+mj-ea"/>
                <a:cs typeface="+mj-cs"/>
              </a:rPr>
              <a:t>Transamerica FE Express Solution</a:t>
            </a:r>
            <a:r>
              <a:rPr kumimoji="0" lang="en-US" sz="4400" b="0" i="0" u="none" strike="noStrike" kern="1200" cap="none" spc="0" normalizeH="0" baseline="0" noProof="0">
                <a:ln>
                  <a:noFill/>
                </a:ln>
                <a:solidFill>
                  <a:srgbClr val="1D2550"/>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en-US" sz="4400" b="0" i="0" u="none" strike="noStrike" kern="1200" cap="none" spc="0" normalizeH="0" baseline="0" noProof="0">
                <a:ln>
                  <a:noFill/>
                </a:ln>
                <a:solidFill>
                  <a:srgbClr val="1D2550"/>
                </a:solidFill>
                <a:effectLst/>
                <a:uLnTx/>
                <a:uFillTx/>
                <a:latin typeface="Aptos Display" panose="02110004020202020204"/>
                <a:ea typeface="+mj-ea"/>
                <a:cs typeface="+mj-cs"/>
              </a:rPr>
              <a:t> </a:t>
            </a:r>
          </a:p>
        </p:txBody>
      </p:sp>
      <p:sp>
        <p:nvSpPr>
          <p:cNvPr id="14" name="Text Placeholder 4">
            <a:extLst>
              <a:ext uri="{FF2B5EF4-FFF2-40B4-BE49-F238E27FC236}">
                <a16:creationId xmlns:a16="http://schemas.microsoft.com/office/drawing/2014/main" id="{71A9822A-EEFE-9E02-6374-D4007D2A57A0}"/>
              </a:ext>
            </a:extLst>
          </p:cNvPr>
          <p:cNvSpPr txBox="1">
            <a:spLocks/>
          </p:cNvSpPr>
          <p:nvPr/>
        </p:nvSpPr>
        <p:spPr>
          <a:xfrm>
            <a:off x="135323" y="797676"/>
            <a:ext cx="11149580" cy="35848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200" b="0" i="0" kern="1200">
                <a:solidFill>
                  <a:schemeClr val="tx1"/>
                </a:solidFill>
                <a:latin typeface="Forever Forma Heading"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None/>
              <a:tabLst/>
              <a:defRPr/>
            </a:pPr>
            <a:r>
              <a:rPr kumimoji="0" lang="en-US" sz="2200" b="0" i="0" u="none" strike="noStrike" kern="1200" cap="none" spc="0" normalizeH="0" baseline="0" noProof="0">
                <a:ln>
                  <a:noFill/>
                </a:ln>
                <a:solidFill>
                  <a:sysClr val="windowText" lastClr="000000"/>
                </a:solidFill>
                <a:effectLst/>
                <a:uLnTx/>
                <a:uFillTx/>
                <a:latin typeface="Forever Forma Heading" pitchFamily="2" charset="0"/>
                <a:ea typeface="+mn-ea"/>
                <a:cs typeface="+mn-cs"/>
              </a:rPr>
              <a:t>PIN-to-Si</a:t>
            </a:r>
            <a:r>
              <a:rPr lang="en-US" spc="0" err="1">
                <a:solidFill>
                  <a:sysClr val="windowText" lastClr="000000"/>
                </a:solidFill>
              </a:rPr>
              <a:t>gn</a:t>
            </a:r>
            <a:r>
              <a:rPr lang="en-US" spc="0">
                <a:solidFill>
                  <a:sysClr val="windowText" lastClr="000000"/>
                </a:solidFill>
              </a:rPr>
              <a:t> </a:t>
            </a:r>
            <a:endParaRPr kumimoji="0" lang="en-US" sz="2200" b="0" i="0" u="none" strike="noStrike" kern="1200" cap="none" spc="0" normalizeH="0" baseline="0" noProof="0">
              <a:ln>
                <a:noFill/>
              </a:ln>
              <a:solidFill>
                <a:sysClr val="windowText" lastClr="000000"/>
              </a:solidFill>
              <a:effectLst/>
              <a:uLnTx/>
              <a:uFillTx/>
              <a:latin typeface="Forever Forma Heading" pitchFamily="2" charset="0"/>
              <a:ea typeface="+mn-ea"/>
              <a:cs typeface="+mn-cs"/>
            </a:endParaRPr>
          </a:p>
        </p:txBody>
      </p:sp>
    </p:spTree>
    <p:custDataLst>
      <p:tags r:id="rId1"/>
    </p:custDataLst>
    <p:extLst>
      <p:ext uri="{BB962C8B-B14F-4D97-AF65-F5344CB8AC3E}">
        <p14:creationId xmlns:p14="http://schemas.microsoft.com/office/powerpoint/2010/main" val="8236850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F9E6972-041A-4965-12DB-313CE3700F24}"/>
              </a:ext>
            </a:extLst>
          </p:cNvPr>
          <p:cNvSpPr>
            <a:spLocks noGrp="1"/>
          </p:cNvSpPr>
          <p:nvPr>
            <p:ph idx="1"/>
          </p:nvPr>
        </p:nvSpPr>
        <p:spPr/>
        <p:txBody>
          <a:bodyPr/>
          <a:lstStyle/>
          <a:p>
            <a:r>
              <a:rPr lang="en-US"/>
              <a:t>Need Help?</a:t>
            </a:r>
          </a:p>
          <a:p>
            <a:r>
              <a:rPr lang="en-US"/>
              <a:t>Scan the QR to review PIN-to-Sign Frequently Asked Questions.</a:t>
            </a:r>
          </a:p>
        </p:txBody>
      </p:sp>
      <p:sp>
        <p:nvSpPr>
          <p:cNvPr id="4" name="Text Placeholder 3">
            <a:extLst>
              <a:ext uri="{FF2B5EF4-FFF2-40B4-BE49-F238E27FC236}">
                <a16:creationId xmlns:a16="http://schemas.microsoft.com/office/drawing/2014/main" id="{54610E67-B8C2-13BB-5DA1-49F9D1F6DAEA}"/>
              </a:ext>
            </a:extLst>
          </p:cNvPr>
          <p:cNvSpPr>
            <a:spLocks noGrp="1"/>
          </p:cNvSpPr>
          <p:nvPr>
            <p:ph type="body" sz="quarter" idx="14"/>
          </p:nvPr>
        </p:nvSpPr>
        <p:spPr/>
        <p:txBody>
          <a:bodyPr/>
          <a:lstStyle/>
          <a:p>
            <a:r>
              <a:rPr lang="en-US"/>
              <a:t>Agent Use Only. Not For Public Use.</a:t>
            </a:r>
          </a:p>
        </p:txBody>
      </p:sp>
      <p:sp>
        <p:nvSpPr>
          <p:cNvPr id="8" name="Title 15">
            <a:extLst>
              <a:ext uri="{FF2B5EF4-FFF2-40B4-BE49-F238E27FC236}">
                <a16:creationId xmlns:a16="http://schemas.microsoft.com/office/drawing/2014/main" id="{E52EB63A-8231-FF61-081E-3FC6D0582AF2}"/>
              </a:ext>
            </a:extLst>
          </p:cNvPr>
          <p:cNvSpPr txBox="1">
            <a:spLocks/>
          </p:cNvSpPr>
          <p:nvPr/>
        </p:nvSpPr>
        <p:spPr>
          <a:xfrm>
            <a:off x="118005" y="53822"/>
            <a:ext cx="11149580" cy="94463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a:ln>
                  <a:noFill/>
                </a:ln>
                <a:solidFill>
                  <a:srgbClr val="1D2550"/>
                </a:solidFill>
                <a:effectLst/>
                <a:uLnTx/>
                <a:uFillTx/>
                <a:latin typeface="Aptos Display" panose="02110004020202020204"/>
                <a:ea typeface="+mj-ea"/>
                <a:cs typeface="+mj-cs"/>
              </a:rPr>
              <a:t>Transamerica FE Express Solution</a:t>
            </a:r>
            <a:r>
              <a:rPr kumimoji="0" lang="en-US" sz="4400" b="0" i="0" u="none" strike="noStrike" kern="1200" cap="none" spc="0" normalizeH="0" baseline="0" noProof="0">
                <a:ln>
                  <a:noFill/>
                </a:ln>
                <a:solidFill>
                  <a:srgbClr val="1D2550"/>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en-US" sz="4400" b="0" i="0" u="none" strike="noStrike" kern="1200" cap="none" spc="0" normalizeH="0" baseline="0" noProof="0">
                <a:ln>
                  <a:noFill/>
                </a:ln>
                <a:solidFill>
                  <a:srgbClr val="1D2550"/>
                </a:solidFill>
                <a:effectLst/>
                <a:uLnTx/>
                <a:uFillTx/>
                <a:latin typeface="Aptos Display" panose="02110004020202020204"/>
                <a:ea typeface="+mj-ea"/>
                <a:cs typeface="+mj-cs"/>
              </a:rPr>
              <a:t> </a:t>
            </a:r>
          </a:p>
        </p:txBody>
      </p:sp>
      <p:sp>
        <p:nvSpPr>
          <p:cNvPr id="9" name="Text Placeholder 4">
            <a:extLst>
              <a:ext uri="{FF2B5EF4-FFF2-40B4-BE49-F238E27FC236}">
                <a16:creationId xmlns:a16="http://schemas.microsoft.com/office/drawing/2014/main" id="{5A78ED23-8EC5-1F01-959F-BFBDF9D9CD5D}"/>
              </a:ext>
            </a:extLst>
          </p:cNvPr>
          <p:cNvSpPr txBox="1">
            <a:spLocks/>
          </p:cNvSpPr>
          <p:nvPr/>
        </p:nvSpPr>
        <p:spPr>
          <a:xfrm>
            <a:off x="304800" y="819218"/>
            <a:ext cx="11149580" cy="35848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200" b="0" i="0" kern="1200">
                <a:solidFill>
                  <a:schemeClr val="tx1"/>
                </a:solidFill>
                <a:latin typeface="Forever Forma Heading"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None/>
              <a:tabLst/>
              <a:defRPr/>
            </a:pPr>
            <a:r>
              <a:rPr kumimoji="0" lang="en-US" sz="2200" b="0" i="0" u="none" strike="noStrike" kern="1200" cap="none" spc="0" normalizeH="0" baseline="0" noProof="0">
                <a:ln>
                  <a:noFill/>
                </a:ln>
                <a:solidFill>
                  <a:sysClr val="windowText" lastClr="000000"/>
                </a:solidFill>
                <a:effectLst/>
                <a:uLnTx/>
                <a:uFillTx/>
                <a:latin typeface="Forever Forma Heading" pitchFamily="2" charset="0"/>
                <a:ea typeface="+mn-ea"/>
                <a:cs typeface="+mn-cs"/>
              </a:rPr>
              <a:t>PIN-to-Si</a:t>
            </a:r>
            <a:r>
              <a:rPr lang="en-US" spc="0" err="1">
                <a:solidFill>
                  <a:sysClr val="windowText" lastClr="000000"/>
                </a:solidFill>
              </a:rPr>
              <a:t>gn</a:t>
            </a:r>
            <a:r>
              <a:rPr lang="en-US" spc="0">
                <a:solidFill>
                  <a:sysClr val="windowText" lastClr="000000"/>
                </a:solidFill>
              </a:rPr>
              <a:t> FAQ </a:t>
            </a:r>
            <a:endParaRPr kumimoji="0" lang="en-US" sz="2200" b="0" i="0" u="none" strike="noStrike" kern="1200" cap="none" spc="0" normalizeH="0" baseline="0" noProof="0">
              <a:ln>
                <a:noFill/>
              </a:ln>
              <a:solidFill>
                <a:sysClr val="windowText" lastClr="000000"/>
              </a:solidFill>
              <a:effectLst/>
              <a:uLnTx/>
              <a:uFillTx/>
              <a:latin typeface="Forever Forma Heading" pitchFamily="2" charset="0"/>
              <a:ea typeface="+mn-ea"/>
              <a:cs typeface="+mn-cs"/>
            </a:endParaRPr>
          </a:p>
        </p:txBody>
      </p:sp>
      <p:pic>
        <p:nvPicPr>
          <p:cNvPr id="12" name="Picture 11">
            <a:extLst>
              <a:ext uri="{FF2B5EF4-FFF2-40B4-BE49-F238E27FC236}">
                <a16:creationId xmlns:a16="http://schemas.microsoft.com/office/drawing/2014/main" id="{7ED4B25D-F129-C72F-85FB-3EF1D91439E3}"/>
              </a:ext>
            </a:extLst>
          </p:cNvPr>
          <p:cNvPicPr>
            <a:picLocks noChangeAspect="1"/>
          </p:cNvPicPr>
          <p:nvPr/>
        </p:nvPicPr>
        <p:blipFill>
          <a:blip r:embed="rId4"/>
          <a:stretch>
            <a:fillRect/>
          </a:stretch>
        </p:blipFill>
        <p:spPr>
          <a:xfrm>
            <a:off x="4228516" y="2362200"/>
            <a:ext cx="3449549" cy="3566482"/>
          </a:xfrm>
          <a:prstGeom prst="rect">
            <a:avLst/>
          </a:prstGeom>
          <a:ln>
            <a:solidFill>
              <a:srgbClr val="1D2550"/>
            </a:solidFill>
          </a:ln>
        </p:spPr>
      </p:pic>
    </p:spTree>
    <p:custDataLst>
      <p:tags r:id="rId1"/>
    </p:custDataLst>
    <p:extLst>
      <p:ext uri="{BB962C8B-B14F-4D97-AF65-F5344CB8AC3E}">
        <p14:creationId xmlns:p14="http://schemas.microsoft.com/office/powerpoint/2010/main" val="350733137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DCCB87-C9F2-BDA4-F56F-D7CDB418D37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D5C1A92-960E-4A30-8323-8473FAF29065}"/>
              </a:ext>
            </a:extLst>
          </p:cNvPr>
          <p:cNvSpPr>
            <a:spLocks noGrp="1"/>
          </p:cNvSpPr>
          <p:nvPr>
            <p:ph type="title"/>
          </p:nvPr>
        </p:nvSpPr>
        <p:spPr/>
        <p:txBody>
          <a:bodyPr/>
          <a:lstStyle/>
          <a:p>
            <a:r>
              <a:rPr lang="en-US" sz="2400">
                <a:latin typeface="+mn-lt"/>
              </a:rPr>
              <a:t>Transamerica FE Express Solution</a:t>
            </a:r>
            <a:r>
              <a:rPr lang="en-US" sz="2400">
                <a:latin typeface="Calibri" panose="020F0502020204030204" pitchFamily="34" charset="0"/>
                <a:ea typeface="Calibri" panose="020F0502020204030204" pitchFamily="34" charset="0"/>
                <a:cs typeface="Calibri" panose="020F0502020204030204" pitchFamily="34" charset="0"/>
              </a:rPr>
              <a:t>℠</a:t>
            </a:r>
            <a:br>
              <a:rPr lang="en-US"/>
            </a:br>
            <a:r>
              <a:rPr lang="en-US"/>
              <a:t>Policy Promise</a:t>
            </a:r>
          </a:p>
        </p:txBody>
      </p:sp>
      <p:sp>
        <p:nvSpPr>
          <p:cNvPr id="4" name="Slide Number Placeholder 3">
            <a:extLst>
              <a:ext uri="{FF2B5EF4-FFF2-40B4-BE49-F238E27FC236}">
                <a16:creationId xmlns:a16="http://schemas.microsoft.com/office/drawing/2014/main" id="{23FEF9C6-15B2-2EFB-8612-89E19D4134E0}"/>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1606C5-D483-4832-A0E9-CF578A9B588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Text Placeholder 8">
            <a:extLst>
              <a:ext uri="{FF2B5EF4-FFF2-40B4-BE49-F238E27FC236}">
                <a16:creationId xmlns:a16="http://schemas.microsoft.com/office/drawing/2014/main" id="{7ADB28BD-547C-47F7-CF92-2AD0FB02C968}"/>
              </a:ext>
            </a:extLst>
          </p:cNvPr>
          <p:cNvSpPr txBox="1">
            <a:spLocks/>
          </p:cNvSpPr>
          <p:nvPr/>
        </p:nvSpPr>
        <p:spPr>
          <a:xfrm>
            <a:off x="7404946" y="6352974"/>
            <a:ext cx="2504282" cy="291176"/>
          </a:xfrm>
          <a:prstGeom prst="rect">
            <a:avLst/>
          </a:prstGeom>
          <a:solidFill>
            <a:srgbClr val="1D2550"/>
          </a:solidFill>
        </p:spPr>
        <p:txBody>
          <a:bodyPr vert="horz" wrap="none" lIns="75600" tIns="75600" rIns="75600" bIns="75600" rtlCol="0" anchor="b" anchorCtr="0">
            <a:spAutoFit/>
          </a:bodyPr>
          <a:lstStyle>
            <a:lvl1pPr marL="228600" indent="-228600" algn="l" defTabSz="914400" rtl="0" eaLnBrk="1" latinLnBrk="0" hangingPunct="1">
              <a:lnSpc>
                <a:spcPct val="90000"/>
              </a:lnSpc>
              <a:spcBef>
                <a:spcPts val="0"/>
              </a:spcBef>
              <a:buFont typeface="Arial" panose="020B0604020202020204" pitchFamily="34" charset="0"/>
              <a:buChar char="•"/>
              <a:defRPr sz="1000" kern="1200">
                <a:solidFill>
                  <a:schemeClr val="bg1"/>
                </a:solidFill>
                <a:latin typeface="Open Sans Condensed Condensed" pitchFamily="2" charset="0"/>
                <a:ea typeface="Open Sans Condensed Condensed" pitchFamily="2" charset="0"/>
                <a:cs typeface="Open Sans Condensed Condensed"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Open Sans Condensed Condensed" pitchFamily="2" charset="0"/>
                <a:ea typeface="Open Sans Condensed Condensed" pitchFamily="2" charset="0"/>
                <a:cs typeface="Open Sans Condensed Condensed" pitchFamily="2" charset="0"/>
              </a:rPr>
              <a:t>Internal Use Only. Not for Public Use.</a:t>
            </a:r>
          </a:p>
        </p:txBody>
      </p:sp>
      <p:sp>
        <p:nvSpPr>
          <p:cNvPr id="7" name="Text Placeholder 6">
            <a:extLst>
              <a:ext uri="{FF2B5EF4-FFF2-40B4-BE49-F238E27FC236}">
                <a16:creationId xmlns:a16="http://schemas.microsoft.com/office/drawing/2014/main" id="{F9927E41-BBED-25F9-EE09-B4AE98797A86}"/>
              </a:ext>
            </a:extLst>
          </p:cNvPr>
          <p:cNvSpPr>
            <a:spLocks noGrp="1"/>
          </p:cNvSpPr>
          <p:nvPr>
            <p:ph type="body" sz="quarter" idx="13"/>
          </p:nvPr>
        </p:nvSpPr>
        <p:spPr/>
        <p:txBody>
          <a:bodyPr/>
          <a:lstStyle/>
          <a:p>
            <a:endParaRPr lang="en-US"/>
          </a:p>
        </p:txBody>
      </p:sp>
    </p:spTree>
    <p:custDataLst>
      <p:tags r:id="rId1"/>
    </p:custDataLst>
    <p:extLst>
      <p:ext uri="{BB962C8B-B14F-4D97-AF65-F5344CB8AC3E}">
        <p14:creationId xmlns:p14="http://schemas.microsoft.com/office/powerpoint/2010/main" val="13048271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971DF91-C6B2-743B-0AD9-3D09889266DC}"/>
              </a:ext>
            </a:extLst>
          </p:cNvPr>
          <p:cNvGraphicFramePr>
            <a:graphicFrameLocks noChangeAspect="1"/>
          </p:cNvGraphicFramePr>
          <p:nvPr>
            <p:custDataLst>
              <p:tags r:id="rId2"/>
            </p:custDataLst>
            <p:extLst>
              <p:ext uri="{D42A27DB-BD31-4B8C-83A1-F6EECF244321}">
                <p14:modId xmlns:p14="http://schemas.microsoft.com/office/powerpoint/2010/main" val="1588715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0" imgH="409" progId="TCLayout.ActiveDocument.1">
                  <p:embed/>
                </p:oleObj>
              </mc:Choice>
              <mc:Fallback>
                <p:oleObj name="think-cell Slide" r:id="rId5" imgW="410" imgH="409" progId="TCLayout.ActiveDocument.1">
                  <p:embed/>
                  <p:pic>
                    <p:nvPicPr>
                      <p:cNvPr id="3" name="think-cell data - do not delete" hidden="1">
                        <a:extLst>
                          <a:ext uri="{FF2B5EF4-FFF2-40B4-BE49-F238E27FC236}">
                            <a16:creationId xmlns:a16="http://schemas.microsoft.com/office/drawing/2014/main" id="{D971DF91-C6B2-743B-0AD9-3D09889266D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Content Placeholder 16">
            <a:extLst>
              <a:ext uri="{FF2B5EF4-FFF2-40B4-BE49-F238E27FC236}">
                <a16:creationId xmlns:a16="http://schemas.microsoft.com/office/drawing/2014/main" id="{0B9E93A7-E5A7-9BFC-37C3-7DEED9E119B3}"/>
              </a:ext>
            </a:extLst>
          </p:cNvPr>
          <p:cNvSpPr>
            <a:spLocks noGrp="1"/>
          </p:cNvSpPr>
          <p:nvPr>
            <p:ph idx="1"/>
          </p:nvPr>
        </p:nvSpPr>
        <p:spPr>
          <a:xfrm>
            <a:off x="521204" y="1600200"/>
            <a:ext cx="5574791" cy="3733800"/>
          </a:xfrm>
        </p:spPr>
        <p:txBody>
          <a:bodyPr/>
          <a:lstStyle/>
          <a:p>
            <a:r>
              <a:rPr lang="en-US"/>
              <a:t>After a policy has been approved and payment has been scheduled, agents can download a policy promise for their records or send it to their clients.</a:t>
            </a:r>
          </a:p>
          <a:p>
            <a:endParaRPr lang="en-US"/>
          </a:p>
          <a:p>
            <a:pPr lvl="1"/>
            <a:r>
              <a:rPr lang="en-US"/>
              <a:t>New Sales Only</a:t>
            </a:r>
          </a:p>
          <a:p>
            <a:pPr lvl="1"/>
            <a:r>
              <a:rPr lang="en-US"/>
              <a:t>Available immediately at the time of sale via the Policy Page</a:t>
            </a:r>
          </a:p>
          <a:p>
            <a:pPr lvl="1"/>
            <a:r>
              <a:rPr lang="en-US"/>
              <a:t>Available for up to 90 days via the FE Express Agent Dashboard</a:t>
            </a:r>
          </a:p>
          <a:p>
            <a:pPr lvl="1"/>
            <a:r>
              <a:rPr lang="en-US"/>
              <a:t>Everest messaging included on applicable policies</a:t>
            </a:r>
          </a:p>
        </p:txBody>
      </p:sp>
      <p:pic>
        <p:nvPicPr>
          <p:cNvPr id="6" name="Picture Placeholder 5">
            <a:extLst>
              <a:ext uri="{FF2B5EF4-FFF2-40B4-BE49-F238E27FC236}">
                <a16:creationId xmlns:a16="http://schemas.microsoft.com/office/drawing/2014/main" id="{ED7A689F-A50C-20D1-40D8-AF6B682493AC}"/>
              </a:ext>
            </a:extLst>
          </p:cNvPr>
          <p:cNvPicPr>
            <a:picLocks noGrp="1" noChangeAspect="1"/>
          </p:cNvPicPr>
          <p:nvPr>
            <p:ph type="pic" sz="quarter" idx="13"/>
          </p:nvPr>
        </p:nvPicPr>
        <p:blipFill>
          <a:blip r:embed="rId7"/>
          <a:srcRect l="8045" r="8045"/>
          <a:stretch/>
        </p:blipFill>
        <p:spPr>
          <a:xfrm>
            <a:off x="6930766" y="1017315"/>
            <a:ext cx="5032634" cy="5032635"/>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21" name="Slide Number Placeholder 20">
            <a:extLst>
              <a:ext uri="{FF2B5EF4-FFF2-40B4-BE49-F238E27FC236}">
                <a16:creationId xmlns:a16="http://schemas.microsoft.com/office/drawing/2014/main" id="{5295673B-D6C2-94DE-F98A-29CA02D66B6F}"/>
              </a:ext>
            </a:extLst>
          </p:cNvPr>
          <p:cNvSpPr>
            <a:spLocks noGrp="1"/>
          </p:cNvSpPr>
          <p:nvPr>
            <p:ph type="sldNum" sz="quarter" idx="15"/>
          </p:nvPr>
        </p:nvSpPr>
        <p:spPr>
          <a:xfrm>
            <a:off x="0" y="6049950"/>
            <a:ext cx="806400" cy="808050"/>
          </a:xfrm>
        </p:spPr>
        <p:txBody>
          <a:bodyPr/>
          <a:lstStyle/>
          <a:p>
            <a:fld id="{1C1606C5-D483-4832-A0E9-CF578A9B5883}" type="slidenum">
              <a:rPr lang="en-US" smtClean="0"/>
              <a:pPr/>
              <a:t>26</a:t>
            </a:fld>
            <a:endParaRPr lang="en-US"/>
          </a:p>
        </p:txBody>
      </p:sp>
      <p:sp>
        <p:nvSpPr>
          <p:cNvPr id="19" name="Title 15">
            <a:extLst>
              <a:ext uri="{FF2B5EF4-FFF2-40B4-BE49-F238E27FC236}">
                <a16:creationId xmlns:a16="http://schemas.microsoft.com/office/drawing/2014/main" id="{9B953F6C-44EF-E184-96E8-26BACF91C910}"/>
              </a:ext>
            </a:extLst>
          </p:cNvPr>
          <p:cNvSpPr txBox="1">
            <a:spLocks/>
          </p:cNvSpPr>
          <p:nvPr/>
        </p:nvSpPr>
        <p:spPr>
          <a:xfrm>
            <a:off x="521208" y="178562"/>
            <a:ext cx="5764262" cy="1034909"/>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3600" b="0" i="0" kern="100" spc="-30" baseline="0">
                <a:solidFill>
                  <a:schemeClr val="tx1"/>
                </a:solidFill>
                <a:latin typeface="Forever Forma Heading" pitchFamily="2" charset="0"/>
                <a:ea typeface="+mj-ea"/>
                <a:cs typeface="+mj-cs"/>
              </a:defRPr>
            </a:lvl1pPr>
          </a:lstStyle>
          <a:p>
            <a:pPr>
              <a:buClrTx/>
              <a:buFontTx/>
            </a:pPr>
            <a:r>
              <a:rPr lang="en-US">
                <a:solidFill>
                  <a:srgbClr val="1D2550"/>
                </a:solidFill>
              </a:rPr>
              <a:t>Policy Promise</a:t>
            </a:r>
          </a:p>
        </p:txBody>
      </p:sp>
      <p:sp>
        <p:nvSpPr>
          <p:cNvPr id="2" name="Text Placeholder 3">
            <a:extLst>
              <a:ext uri="{FF2B5EF4-FFF2-40B4-BE49-F238E27FC236}">
                <a16:creationId xmlns:a16="http://schemas.microsoft.com/office/drawing/2014/main" id="{19653E18-67CF-B245-2AC4-F76131228667}"/>
              </a:ext>
            </a:extLst>
          </p:cNvPr>
          <p:cNvSpPr txBox="1">
            <a:spLocks/>
          </p:cNvSpPr>
          <p:nvPr/>
        </p:nvSpPr>
        <p:spPr>
          <a:xfrm>
            <a:off x="806402" y="6049950"/>
            <a:ext cx="5289593" cy="808050"/>
          </a:xfrm>
          <a:prstGeom prst="rect">
            <a:avLst/>
          </a:prstGeom>
        </p:spPr>
        <p:txBody>
          <a:bodyPr vert="horz" lIns="0" tIns="0" rIns="0" bIns="309600" rtlCol="0" anchor="b" anchorCtr="0">
            <a:noAutofit/>
          </a:bodyPr>
          <a:lstStyle>
            <a:lvl1pPr marL="0" indent="0" algn="l" defTabSz="914400" rtl="0" eaLnBrk="1" latinLnBrk="0" hangingPunct="1">
              <a:lnSpc>
                <a:spcPct val="90000"/>
              </a:lnSpc>
              <a:spcBef>
                <a:spcPts val="0"/>
              </a:spcBef>
              <a:buClr>
                <a:srgbClr val="281805"/>
              </a:buClr>
              <a:buFont typeface="Arial" panose="020B0604020202020204" pitchFamily="34" charset="0"/>
              <a:buChar char="​"/>
              <a:defRPr sz="1000" b="0" i="0" kern="100" spc="-30" baseline="0">
                <a:solidFill>
                  <a:schemeClr val="tx1"/>
                </a:solidFill>
                <a:latin typeface="Open Sans Condensed Condensed" pitchFamily="2" charset="0"/>
                <a:ea typeface="Open Sans Condensed Condensed" pitchFamily="2" charset="0"/>
                <a:cs typeface="Open Sans Condensed Condensed" pitchFamily="2" charset="0"/>
              </a:defRPr>
            </a:lvl1pPr>
            <a:lvl2pPr marL="180000" indent="-180000" algn="l" defTabSz="914400" rtl="0" eaLnBrk="1" latinLnBrk="0" hangingPunct="1">
              <a:lnSpc>
                <a:spcPct val="95000"/>
              </a:lnSpc>
              <a:spcBef>
                <a:spcPts val="0"/>
              </a:spcBef>
              <a:buClrTx/>
              <a:buFont typeface="Wingdings" pitchFamily="2" charset="2"/>
              <a:buChar char="§"/>
              <a:defRPr sz="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0"/>
              </a:spcBef>
              <a:buClrTx/>
              <a:buSzPct val="100000"/>
              <a:buFont typeface="Arial" panose="020E0502030303020204" pitchFamily="34" charset="0"/>
              <a:buChar char="–"/>
              <a:defRPr sz="8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a:t>Agent Use Only. Not For Public Use.</a:t>
            </a:r>
          </a:p>
        </p:txBody>
      </p:sp>
    </p:spTree>
    <p:custDataLst>
      <p:tags r:id="rId1"/>
    </p:custDataLst>
    <p:extLst>
      <p:ext uri="{BB962C8B-B14F-4D97-AF65-F5344CB8AC3E}">
        <p14:creationId xmlns:p14="http://schemas.microsoft.com/office/powerpoint/2010/main" val="31333984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2AD372-F0B0-0C44-81A4-04F07FE0A5E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CBA2BFF-2810-331C-ED57-F5E7D6FAE8D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0" imgH="409" progId="TCLayout.ActiveDocument.1">
                  <p:embed/>
                </p:oleObj>
              </mc:Choice>
              <mc:Fallback>
                <p:oleObj name="think-cell Slide" r:id="rId5" imgW="410" imgH="409" progId="TCLayout.ActiveDocument.1">
                  <p:embed/>
                  <p:pic>
                    <p:nvPicPr>
                      <p:cNvPr id="7" name="think-cell data - do not delete" hidden="1">
                        <a:extLst>
                          <a:ext uri="{FF2B5EF4-FFF2-40B4-BE49-F238E27FC236}">
                            <a16:creationId xmlns:a16="http://schemas.microsoft.com/office/drawing/2014/main" id="{ACBA2BFF-2810-331C-ED57-F5E7D6FAE8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BCC521D9-AC36-17DC-5A58-B39BC21F9C27}"/>
              </a:ext>
            </a:extLst>
          </p:cNvPr>
          <p:cNvSpPr>
            <a:spLocks noGrp="1"/>
          </p:cNvSpPr>
          <p:nvPr>
            <p:ph idx="1"/>
          </p:nvPr>
        </p:nvSpPr>
        <p:spPr>
          <a:xfrm>
            <a:off x="524322" y="1110144"/>
            <a:ext cx="11149580" cy="4637712"/>
          </a:xfrm>
        </p:spPr>
        <p:txBody>
          <a:bodyPr/>
          <a:lstStyle/>
          <a:p>
            <a:r>
              <a:rPr lang="en-US"/>
              <a:t>The Policy Promise is available for up to 90 days via the Agent Dashboard. </a:t>
            </a:r>
          </a:p>
          <a:p>
            <a:endParaRPr lang="en-US"/>
          </a:p>
          <a:p>
            <a:pPr marL="0" lvl="1" indent="0">
              <a:buNone/>
            </a:pPr>
            <a:endParaRPr lang="en-US"/>
          </a:p>
        </p:txBody>
      </p:sp>
      <p:sp>
        <p:nvSpPr>
          <p:cNvPr id="5" name="Slide Number Placeholder 4">
            <a:extLst>
              <a:ext uri="{FF2B5EF4-FFF2-40B4-BE49-F238E27FC236}">
                <a16:creationId xmlns:a16="http://schemas.microsoft.com/office/drawing/2014/main" id="{894ED1E6-B9B3-EB46-0B5E-1E9B26ACDD4A}"/>
              </a:ext>
            </a:extLst>
          </p:cNvPr>
          <p:cNvSpPr>
            <a:spLocks noGrp="1"/>
          </p:cNvSpPr>
          <p:nvPr>
            <p:ph type="sldNum" sz="quarter" idx="16"/>
          </p:nvPr>
        </p:nvSpPr>
        <p:spPr>
          <a:xfrm>
            <a:off x="0" y="6049950"/>
            <a:ext cx="806400" cy="808050"/>
          </a:xfrm>
        </p:spPr>
        <p:txBody>
          <a:bodyPr/>
          <a:lstStyle/>
          <a:p>
            <a:fld id="{1C1606C5-D483-4832-A0E9-CF578A9B5883}" type="slidenum">
              <a:rPr lang="en-US" smtClean="0"/>
              <a:pPr/>
              <a:t>27</a:t>
            </a:fld>
            <a:endParaRPr lang="en-US"/>
          </a:p>
        </p:txBody>
      </p:sp>
      <p:sp>
        <p:nvSpPr>
          <p:cNvPr id="12" name="Title 15">
            <a:extLst>
              <a:ext uri="{FF2B5EF4-FFF2-40B4-BE49-F238E27FC236}">
                <a16:creationId xmlns:a16="http://schemas.microsoft.com/office/drawing/2014/main" id="{1264BA7D-D5AA-3821-9AF3-398A487D3E9C}"/>
              </a:ext>
            </a:extLst>
          </p:cNvPr>
          <p:cNvSpPr>
            <a:spLocks noGrp="1"/>
          </p:cNvSpPr>
          <p:nvPr>
            <p:ph type="title"/>
          </p:nvPr>
        </p:nvSpPr>
        <p:spPr>
          <a:xfrm>
            <a:off x="457200" y="159633"/>
            <a:ext cx="11149580" cy="889109"/>
          </a:xfrm>
        </p:spPr>
        <p:txBody>
          <a:bodyPr vert="horz" anchor="b" anchorCtr="0"/>
          <a:lstStyle/>
          <a:p>
            <a:r>
              <a:rPr lang="en-US">
                <a:solidFill>
                  <a:srgbClr val="1D2550"/>
                </a:solidFill>
              </a:rPr>
              <a:t>Policy Promise Availability</a:t>
            </a:r>
          </a:p>
        </p:txBody>
      </p:sp>
      <p:pic>
        <p:nvPicPr>
          <p:cNvPr id="4" name="Picture 3">
            <a:extLst>
              <a:ext uri="{FF2B5EF4-FFF2-40B4-BE49-F238E27FC236}">
                <a16:creationId xmlns:a16="http://schemas.microsoft.com/office/drawing/2014/main" id="{AE6ABC3F-7370-B9CA-7371-633C55870A2F}"/>
              </a:ext>
            </a:extLst>
          </p:cNvPr>
          <p:cNvPicPr>
            <a:picLocks noChangeAspect="1"/>
          </p:cNvPicPr>
          <p:nvPr/>
        </p:nvPicPr>
        <p:blipFill>
          <a:blip r:embed="rId7"/>
          <a:srcRect/>
          <a:stretch/>
        </p:blipFill>
        <p:spPr>
          <a:xfrm>
            <a:off x="6172200" y="1907245"/>
            <a:ext cx="5698279" cy="3991658"/>
          </a:xfrm>
          <a:prstGeom prst="rect">
            <a:avLst/>
          </a:prstGeom>
          <a:ln w="38100" cap="sq">
            <a:solidFill>
              <a:srgbClr val="1D2550"/>
            </a:solidFill>
            <a:prstDash val="solid"/>
            <a:miter lim="800000"/>
          </a:ln>
          <a:effectLst>
            <a:outerShdw blurRad="50800" dist="38100" dir="2700000" algn="tl" rotWithShape="0">
              <a:srgbClr val="000000">
                <a:alpha val="43000"/>
              </a:srgbClr>
            </a:outerShdw>
          </a:effectLst>
        </p:spPr>
      </p:pic>
      <p:sp>
        <p:nvSpPr>
          <p:cNvPr id="8" name="TextBox 7">
            <a:extLst>
              <a:ext uri="{FF2B5EF4-FFF2-40B4-BE49-F238E27FC236}">
                <a16:creationId xmlns:a16="http://schemas.microsoft.com/office/drawing/2014/main" id="{C63858C8-E6F0-92FF-C31B-ADDE095F8DE5}"/>
              </a:ext>
            </a:extLst>
          </p:cNvPr>
          <p:cNvSpPr txBox="1"/>
          <p:nvPr/>
        </p:nvSpPr>
        <p:spPr>
          <a:xfrm>
            <a:off x="403200" y="2198976"/>
            <a:ext cx="5039511" cy="3040832"/>
          </a:xfrm>
          <a:prstGeom prst="rect">
            <a:avLst/>
          </a:prstGeom>
          <a:noFill/>
        </p:spPr>
        <p:txBody>
          <a:bodyPr wrap="square">
            <a:spAutoFit/>
          </a:bodyPr>
          <a:lstStyle/>
          <a:p>
            <a:pPr lvl="1">
              <a:buFont typeface="Wingdings" panose="05000000000000000000" pitchFamily="2" charset="2"/>
              <a:buChar char="§"/>
            </a:pPr>
            <a:r>
              <a:rPr lang="en-US" sz="1600"/>
              <a:t>The Policy Promise is only available for policies sold that show one of the following statuses:</a:t>
            </a:r>
          </a:p>
          <a:p>
            <a:pPr lvl="3">
              <a:buFont typeface="Arial" panose="020B0604020202020204" pitchFamily="34" charset="0"/>
              <a:buChar char="•"/>
            </a:pPr>
            <a:r>
              <a:rPr lang="en-US"/>
              <a:t>Payment Pending</a:t>
            </a:r>
          </a:p>
          <a:p>
            <a:pPr lvl="3">
              <a:buFont typeface="Arial" panose="020B0604020202020204" pitchFamily="34" charset="0"/>
              <a:buChar char="•"/>
            </a:pPr>
            <a:r>
              <a:rPr lang="en-US"/>
              <a:t>Payment Scheduled</a:t>
            </a:r>
          </a:p>
          <a:p>
            <a:pPr lvl="3">
              <a:buFont typeface="Arial" panose="020B0604020202020204" pitchFamily="34" charset="0"/>
              <a:buChar char="•"/>
            </a:pPr>
            <a:r>
              <a:rPr lang="en-US"/>
              <a:t>Policy Issued</a:t>
            </a:r>
          </a:p>
          <a:p>
            <a:pPr marL="360000" lvl="3" indent="0">
              <a:buNone/>
            </a:pPr>
            <a:endParaRPr lang="en-US"/>
          </a:p>
          <a:p>
            <a:pPr lvl="1">
              <a:buFont typeface="Wingdings" panose="05000000000000000000" pitchFamily="2" charset="2"/>
              <a:buChar char="§"/>
            </a:pPr>
            <a:r>
              <a:rPr lang="en-US" sz="1600"/>
              <a:t>Click the “&gt;” symbol next to the applicable policy status to be taken to the Policy Page, where you can access the policy promise.</a:t>
            </a:r>
          </a:p>
          <a:p>
            <a:pPr lvl="3"/>
            <a:endParaRPr lang="en-US"/>
          </a:p>
          <a:p>
            <a:pPr lvl="1"/>
            <a:endParaRPr lang="en-US"/>
          </a:p>
        </p:txBody>
      </p:sp>
      <p:sp>
        <p:nvSpPr>
          <p:cNvPr id="2" name="Rectangle: Rounded Corners 1">
            <a:extLst>
              <a:ext uri="{FF2B5EF4-FFF2-40B4-BE49-F238E27FC236}">
                <a16:creationId xmlns:a16="http://schemas.microsoft.com/office/drawing/2014/main" id="{48529CDE-25CD-3C28-B1F2-32C2BB8D02AB}"/>
              </a:ext>
            </a:extLst>
          </p:cNvPr>
          <p:cNvSpPr/>
          <p:nvPr/>
        </p:nvSpPr>
        <p:spPr>
          <a:xfrm>
            <a:off x="10363200" y="4419600"/>
            <a:ext cx="990600" cy="609600"/>
          </a:xfrm>
          <a:prstGeom prst="roundRect">
            <a:avLst>
              <a:gd name="adj" fmla="val 3240"/>
            </a:avLst>
          </a:prstGeom>
          <a:noFill/>
          <a:ln w="57150">
            <a:solidFill>
              <a:srgbClr val="4CD300"/>
            </a:solid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6" name="Text Placeholder 3">
            <a:extLst>
              <a:ext uri="{FF2B5EF4-FFF2-40B4-BE49-F238E27FC236}">
                <a16:creationId xmlns:a16="http://schemas.microsoft.com/office/drawing/2014/main" id="{149CCC1A-4F8A-2200-D8BE-78EDF90C4FA2}"/>
              </a:ext>
            </a:extLst>
          </p:cNvPr>
          <p:cNvSpPr>
            <a:spLocks noGrp="1"/>
          </p:cNvSpPr>
          <p:nvPr>
            <p:ph type="body" sz="quarter" idx="14"/>
          </p:nvPr>
        </p:nvSpPr>
        <p:spPr>
          <a:xfrm>
            <a:off x="806402" y="6049950"/>
            <a:ext cx="5289593" cy="808050"/>
          </a:xfrm>
        </p:spPr>
        <p:txBody>
          <a:bodyPr/>
          <a:lstStyle/>
          <a:p>
            <a:r>
              <a:rPr lang="en-US"/>
              <a:t>Agent Use Only. Not For Public Use.</a:t>
            </a:r>
          </a:p>
        </p:txBody>
      </p:sp>
    </p:spTree>
    <p:custDataLst>
      <p:tags r:id="rId1"/>
    </p:custDataLst>
    <p:extLst>
      <p:ext uri="{BB962C8B-B14F-4D97-AF65-F5344CB8AC3E}">
        <p14:creationId xmlns:p14="http://schemas.microsoft.com/office/powerpoint/2010/main" val="271509304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692CC5E-094D-647E-3E75-7031FB115C24}"/>
              </a:ext>
            </a:extLst>
          </p:cNvPr>
          <p:cNvGraphicFramePr>
            <a:graphicFrameLocks noChangeAspect="1"/>
          </p:cNvGraphicFramePr>
          <p:nvPr>
            <p:custDataLst>
              <p:tags r:id="rId2"/>
            </p:custDataLst>
            <p:extLst>
              <p:ext uri="{D42A27DB-BD31-4B8C-83A1-F6EECF244321}">
                <p14:modId xmlns:p14="http://schemas.microsoft.com/office/powerpoint/2010/main" val="3735358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0" imgH="409" progId="TCLayout.ActiveDocument.1">
                  <p:embed/>
                </p:oleObj>
              </mc:Choice>
              <mc:Fallback>
                <p:oleObj name="think-cell Slide" r:id="rId5" imgW="410" imgH="409" progId="TCLayout.ActiveDocument.1">
                  <p:embed/>
                  <p:pic>
                    <p:nvPicPr>
                      <p:cNvPr id="7" name="think-cell data - do not delete" hidden="1">
                        <a:extLst>
                          <a:ext uri="{FF2B5EF4-FFF2-40B4-BE49-F238E27FC236}">
                            <a16:creationId xmlns:a16="http://schemas.microsoft.com/office/drawing/2014/main" id="{C692CC5E-094D-647E-3E75-7031FB115C2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4FF5D045-FB1D-AF5C-D17E-C3AE3175089B}"/>
              </a:ext>
            </a:extLst>
          </p:cNvPr>
          <p:cNvSpPr>
            <a:spLocks noGrp="1"/>
          </p:cNvSpPr>
          <p:nvPr>
            <p:ph idx="1"/>
          </p:nvPr>
        </p:nvSpPr>
        <p:spPr>
          <a:xfrm>
            <a:off x="457200" y="808050"/>
            <a:ext cx="11149580" cy="4637712"/>
          </a:xfrm>
        </p:spPr>
        <p:txBody>
          <a:bodyPr/>
          <a:lstStyle/>
          <a:p>
            <a:r>
              <a:rPr lang="en-US" sz="1600"/>
              <a:t>The Policy Promise is accessed by clicking “Download PDF” from the left-hand side of the Policy Page. </a:t>
            </a:r>
          </a:p>
          <a:p>
            <a:r>
              <a:rPr lang="en-US" sz="1600"/>
              <a:t>At the time of the sale, the below Policy Promise screen(s) will immediately populate for agent download and will remain available for up to 90 days post-sale. </a:t>
            </a:r>
          </a:p>
          <a:p>
            <a:r>
              <a:rPr lang="en-US" sz="1200" b="1"/>
              <a:t>Note: </a:t>
            </a:r>
            <a:r>
              <a:rPr lang="en-US" sz="1200"/>
              <a:t>This page may vary slightly depending on the payment status.</a:t>
            </a:r>
          </a:p>
          <a:p>
            <a:pPr marL="0" lvl="1" indent="0">
              <a:buNone/>
            </a:pPr>
            <a:endParaRPr lang="en-US"/>
          </a:p>
        </p:txBody>
      </p:sp>
      <p:sp>
        <p:nvSpPr>
          <p:cNvPr id="5" name="Slide Number Placeholder 4">
            <a:extLst>
              <a:ext uri="{FF2B5EF4-FFF2-40B4-BE49-F238E27FC236}">
                <a16:creationId xmlns:a16="http://schemas.microsoft.com/office/drawing/2014/main" id="{56A9B7A0-0FDC-816F-382D-64FF2759DC76}"/>
              </a:ext>
            </a:extLst>
          </p:cNvPr>
          <p:cNvSpPr>
            <a:spLocks noGrp="1"/>
          </p:cNvSpPr>
          <p:nvPr>
            <p:ph type="sldNum" sz="quarter" idx="16"/>
          </p:nvPr>
        </p:nvSpPr>
        <p:spPr>
          <a:xfrm>
            <a:off x="0" y="6049950"/>
            <a:ext cx="806400" cy="808050"/>
          </a:xfrm>
        </p:spPr>
        <p:txBody>
          <a:bodyPr/>
          <a:lstStyle/>
          <a:p>
            <a:fld id="{1C1606C5-D483-4832-A0E9-CF578A9B5883}" type="slidenum">
              <a:rPr lang="en-US" smtClean="0"/>
              <a:pPr/>
              <a:t>28</a:t>
            </a:fld>
            <a:endParaRPr lang="en-US"/>
          </a:p>
        </p:txBody>
      </p:sp>
      <p:sp>
        <p:nvSpPr>
          <p:cNvPr id="12" name="Title 15">
            <a:extLst>
              <a:ext uri="{FF2B5EF4-FFF2-40B4-BE49-F238E27FC236}">
                <a16:creationId xmlns:a16="http://schemas.microsoft.com/office/drawing/2014/main" id="{E03BCA20-9D28-259B-D38B-46400C1A1E57}"/>
              </a:ext>
            </a:extLst>
          </p:cNvPr>
          <p:cNvSpPr>
            <a:spLocks noGrp="1"/>
          </p:cNvSpPr>
          <p:nvPr>
            <p:ph type="title"/>
          </p:nvPr>
        </p:nvSpPr>
        <p:spPr>
          <a:xfrm>
            <a:off x="329442" y="-265340"/>
            <a:ext cx="11149580" cy="889109"/>
          </a:xfrm>
        </p:spPr>
        <p:txBody>
          <a:bodyPr vert="horz" anchor="b" anchorCtr="0"/>
          <a:lstStyle/>
          <a:p>
            <a:r>
              <a:rPr lang="en-US">
                <a:solidFill>
                  <a:srgbClr val="1D2550"/>
                </a:solidFill>
              </a:rPr>
              <a:t>Accessing the Policy Promise</a:t>
            </a:r>
          </a:p>
        </p:txBody>
      </p:sp>
      <p:pic>
        <p:nvPicPr>
          <p:cNvPr id="2" name="Picture 1">
            <a:extLst>
              <a:ext uri="{FF2B5EF4-FFF2-40B4-BE49-F238E27FC236}">
                <a16:creationId xmlns:a16="http://schemas.microsoft.com/office/drawing/2014/main" id="{546A2BC5-0887-923A-7FAC-27285B6440B7}"/>
              </a:ext>
            </a:extLst>
          </p:cNvPr>
          <p:cNvPicPr>
            <a:picLocks noChangeAspect="1"/>
          </p:cNvPicPr>
          <p:nvPr/>
        </p:nvPicPr>
        <p:blipFill>
          <a:blip r:embed="rId7"/>
          <a:srcRect/>
          <a:stretch/>
        </p:blipFill>
        <p:spPr>
          <a:xfrm>
            <a:off x="329442" y="2058292"/>
            <a:ext cx="4576424" cy="3991658"/>
          </a:xfrm>
          <a:prstGeom prst="rect">
            <a:avLst/>
          </a:prstGeom>
          <a:ln w="38100" cap="sq">
            <a:solidFill>
              <a:srgbClr val="1D2550"/>
            </a:solidFill>
            <a:prstDash val="solid"/>
            <a:miter lim="800000"/>
          </a:ln>
          <a:effectLst>
            <a:outerShdw blurRad="50800" dist="38100" dir="2700000" algn="tl" rotWithShape="0">
              <a:srgbClr val="000000">
                <a:alpha val="43000"/>
              </a:srgbClr>
            </a:outerShdw>
          </a:effectLst>
        </p:spPr>
      </p:pic>
      <p:pic>
        <p:nvPicPr>
          <p:cNvPr id="16" name="Picture 15">
            <a:extLst>
              <a:ext uri="{FF2B5EF4-FFF2-40B4-BE49-F238E27FC236}">
                <a16:creationId xmlns:a16="http://schemas.microsoft.com/office/drawing/2014/main" id="{9C88F80E-32B2-CB1E-785E-AEF7DFE98616}"/>
              </a:ext>
            </a:extLst>
          </p:cNvPr>
          <p:cNvPicPr>
            <a:picLocks noChangeAspect="1"/>
          </p:cNvPicPr>
          <p:nvPr/>
        </p:nvPicPr>
        <p:blipFill>
          <a:blip r:embed="rId8"/>
          <a:srcRect/>
          <a:stretch/>
        </p:blipFill>
        <p:spPr>
          <a:xfrm>
            <a:off x="7243775" y="2058292"/>
            <a:ext cx="4576423" cy="3991658"/>
          </a:xfrm>
          <a:prstGeom prst="rect">
            <a:avLst/>
          </a:prstGeom>
          <a:ln w="38100" cap="sq">
            <a:solidFill>
              <a:srgbClr val="1D2550"/>
            </a:solidFill>
            <a:prstDash val="solid"/>
            <a:miter lim="800000"/>
          </a:ln>
          <a:effectLst>
            <a:outerShdw blurRad="50800" dist="38100" dir="2700000" algn="tl" rotWithShape="0">
              <a:srgbClr val="000000">
                <a:alpha val="43000"/>
              </a:srgbClr>
            </a:outerShdw>
          </a:effectLst>
        </p:spPr>
      </p:pic>
      <p:pic>
        <p:nvPicPr>
          <p:cNvPr id="17" name="Picture 16">
            <a:extLst>
              <a:ext uri="{FF2B5EF4-FFF2-40B4-BE49-F238E27FC236}">
                <a16:creationId xmlns:a16="http://schemas.microsoft.com/office/drawing/2014/main" id="{AC2A25F6-FA21-EAB8-D78C-BF819F1AB364}"/>
              </a:ext>
            </a:extLst>
          </p:cNvPr>
          <p:cNvPicPr>
            <a:picLocks noChangeAspect="1"/>
          </p:cNvPicPr>
          <p:nvPr/>
        </p:nvPicPr>
        <p:blipFill>
          <a:blip r:embed="rId9"/>
          <a:srcRect/>
          <a:stretch/>
        </p:blipFill>
        <p:spPr>
          <a:xfrm>
            <a:off x="3048000" y="2058292"/>
            <a:ext cx="4576423" cy="3991658"/>
          </a:xfrm>
          <a:prstGeom prst="rect">
            <a:avLst/>
          </a:prstGeom>
          <a:ln w="38100" cap="sq">
            <a:solidFill>
              <a:srgbClr val="1D2550"/>
            </a:solidFill>
            <a:prstDash val="solid"/>
            <a:miter lim="800000"/>
          </a:ln>
          <a:effectLst>
            <a:outerShdw blurRad="50800" dist="38100" dir="2700000" algn="tl" rotWithShape="0">
              <a:srgbClr val="000000">
                <a:alpha val="43000"/>
              </a:srgbClr>
            </a:outerShdw>
          </a:effectLst>
        </p:spPr>
      </p:pic>
      <p:sp>
        <p:nvSpPr>
          <p:cNvPr id="4" name="Rectangle: Rounded Corners 3">
            <a:extLst>
              <a:ext uri="{FF2B5EF4-FFF2-40B4-BE49-F238E27FC236}">
                <a16:creationId xmlns:a16="http://schemas.microsoft.com/office/drawing/2014/main" id="{DA575B3A-14C0-0E47-DB4F-06BCA2550647}"/>
              </a:ext>
            </a:extLst>
          </p:cNvPr>
          <p:cNvSpPr/>
          <p:nvPr/>
        </p:nvSpPr>
        <p:spPr>
          <a:xfrm>
            <a:off x="7848600" y="3810000"/>
            <a:ext cx="1066800" cy="244121"/>
          </a:xfrm>
          <a:prstGeom prst="roundRect">
            <a:avLst>
              <a:gd name="adj" fmla="val 3240"/>
            </a:avLst>
          </a:prstGeom>
          <a:noFill/>
          <a:ln w="57150">
            <a:solidFill>
              <a:srgbClr val="4CD300"/>
            </a:solid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6" name="Rectangle: Rounded Corners 5">
            <a:extLst>
              <a:ext uri="{FF2B5EF4-FFF2-40B4-BE49-F238E27FC236}">
                <a16:creationId xmlns:a16="http://schemas.microsoft.com/office/drawing/2014/main" id="{881CB1AD-7E27-7409-615E-C8C5293136F9}"/>
              </a:ext>
            </a:extLst>
          </p:cNvPr>
          <p:cNvSpPr/>
          <p:nvPr/>
        </p:nvSpPr>
        <p:spPr>
          <a:xfrm>
            <a:off x="3657600" y="3954508"/>
            <a:ext cx="1066800" cy="312692"/>
          </a:xfrm>
          <a:prstGeom prst="roundRect">
            <a:avLst>
              <a:gd name="adj" fmla="val 3240"/>
            </a:avLst>
          </a:prstGeom>
          <a:noFill/>
          <a:ln w="57150">
            <a:solidFill>
              <a:srgbClr val="4CD300"/>
            </a:solid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9" name="Rectangle: Rounded Corners 8">
            <a:extLst>
              <a:ext uri="{FF2B5EF4-FFF2-40B4-BE49-F238E27FC236}">
                <a16:creationId xmlns:a16="http://schemas.microsoft.com/office/drawing/2014/main" id="{2A202A53-B674-725A-61A3-DF5D1E1236BE}"/>
              </a:ext>
            </a:extLst>
          </p:cNvPr>
          <p:cNvSpPr/>
          <p:nvPr/>
        </p:nvSpPr>
        <p:spPr>
          <a:xfrm>
            <a:off x="966220" y="4050175"/>
            <a:ext cx="1066800" cy="217025"/>
          </a:xfrm>
          <a:prstGeom prst="roundRect">
            <a:avLst>
              <a:gd name="adj" fmla="val 3240"/>
            </a:avLst>
          </a:prstGeom>
          <a:noFill/>
          <a:ln w="57150">
            <a:solidFill>
              <a:srgbClr val="4CD300"/>
            </a:solid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1" name="Text Placeholder 3">
            <a:extLst>
              <a:ext uri="{FF2B5EF4-FFF2-40B4-BE49-F238E27FC236}">
                <a16:creationId xmlns:a16="http://schemas.microsoft.com/office/drawing/2014/main" id="{9705054A-896F-5362-A061-00AEB630F4DB}"/>
              </a:ext>
            </a:extLst>
          </p:cNvPr>
          <p:cNvSpPr>
            <a:spLocks noGrp="1"/>
          </p:cNvSpPr>
          <p:nvPr>
            <p:ph type="body" sz="quarter" idx="14"/>
          </p:nvPr>
        </p:nvSpPr>
        <p:spPr>
          <a:xfrm>
            <a:off x="806402" y="6049950"/>
            <a:ext cx="5289593" cy="808050"/>
          </a:xfrm>
        </p:spPr>
        <p:txBody>
          <a:bodyPr/>
          <a:lstStyle/>
          <a:p>
            <a:r>
              <a:rPr lang="en-US"/>
              <a:t>Agent Use Only. Not For Public Use.</a:t>
            </a:r>
          </a:p>
        </p:txBody>
      </p:sp>
    </p:spTree>
    <p:custDataLst>
      <p:tags r:id="rId1"/>
    </p:custDataLst>
    <p:extLst>
      <p:ext uri="{BB962C8B-B14F-4D97-AF65-F5344CB8AC3E}">
        <p14:creationId xmlns:p14="http://schemas.microsoft.com/office/powerpoint/2010/main" val="156083862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2242CE08-E1F3-B332-16C7-92E69A98B760}"/>
              </a:ext>
            </a:extLst>
          </p:cNvPr>
          <p:cNvGraphicFramePr>
            <a:graphicFrameLocks noChangeAspect="1"/>
          </p:cNvGraphicFramePr>
          <p:nvPr>
            <p:custDataLst>
              <p:tags r:id="rId2"/>
            </p:custDataLst>
            <p:extLst>
              <p:ext uri="{D42A27DB-BD31-4B8C-83A1-F6EECF244321}">
                <p14:modId xmlns:p14="http://schemas.microsoft.com/office/powerpoint/2010/main" val="2188312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0" imgH="409" progId="TCLayout.ActiveDocument.1">
                  <p:embed/>
                </p:oleObj>
              </mc:Choice>
              <mc:Fallback>
                <p:oleObj name="think-cell Slide" r:id="rId5" imgW="410" imgH="409" progId="TCLayout.ActiveDocument.1">
                  <p:embed/>
                  <p:pic>
                    <p:nvPicPr>
                      <p:cNvPr id="12" name="think-cell data - do not delete" hidden="1">
                        <a:extLst>
                          <a:ext uri="{FF2B5EF4-FFF2-40B4-BE49-F238E27FC236}">
                            <a16:creationId xmlns:a16="http://schemas.microsoft.com/office/drawing/2014/main" id="{2242CE08-E1F3-B332-16C7-92E69A98B76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Title 15">
            <a:extLst>
              <a:ext uri="{FF2B5EF4-FFF2-40B4-BE49-F238E27FC236}">
                <a16:creationId xmlns:a16="http://schemas.microsoft.com/office/drawing/2014/main" id="{BE30310F-CAE8-9727-C00D-60883C6576CA}"/>
              </a:ext>
            </a:extLst>
          </p:cNvPr>
          <p:cNvSpPr>
            <a:spLocks noGrp="1"/>
          </p:cNvSpPr>
          <p:nvPr>
            <p:ph type="title"/>
          </p:nvPr>
        </p:nvSpPr>
        <p:spPr>
          <a:xfrm>
            <a:off x="521208" y="324362"/>
            <a:ext cx="11149580" cy="889109"/>
          </a:xfrm>
        </p:spPr>
        <p:txBody>
          <a:bodyPr vert="horz" anchor="b" anchorCtr="0"/>
          <a:lstStyle/>
          <a:p>
            <a:r>
              <a:rPr lang="en-US">
                <a:solidFill>
                  <a:srgbClr val="1D2550"/>
                </a:solidFill>
              </a:rPr>
              <a:t>Policy Promise Example(s)</a:t>
            </a:r>
          </a:p>
        </p:txBody>
      </p:sp>
      <p:sp>
        <p:nvSpPr>
          <p:cNvPr id="17" name="Content Placeholder 16">
            <a:extLst>
              <a:ext uri="{FF2B5EF4-FFF2-40B4-BE49-F238E27FC236}">
                <a16:creationId xmlns:a16="http://schemas.microsoft.com/office/drawing/2014/main" id="{0B9E93A7-E5A7-9BFC-37C3-7DEED9E119B3}"/>
              </a:ext>
            </a:extLst>
          </p:cNvPr>
          <p:cNvSpPr>
            <a:spLocks noGrp="1"/>
          </p:cNvSpPr>
          <p:nvPr>
            <p:ph idx="1"/>
          </p:nvPr>
        </p:nvSpPr>
        <p:spPr>
          <a:xfrm>
            <a:off x="521208" y="1290525"/>
            <a:ext cx="11149580" cy="4276950"/>
          </a:xfrm>
        </p:spPr>
        <p:txBody>
          <a:bodyPr/>
          <a:lstStyle/>
          <a:p>
            <a:r>
              <a:rPr lang="en-US"/>
              <a:t>Click to view both examples of the Policy Promise.</a:t>
            </a:r>
            <a:endParaRPr lang="en-US" b="1" u="sng"/>
          </a:p>
          <a:p>
            <a:endParaRPr lang="en-US"/>
          </a:p>
          <a:p>
            <a:pPr lvl="1"/>
            <a:r>
              <a:rPr lang="en-US" b="1" u="sng">
                <a:solidFill>
                  <a:srgbClr val="1D2550"/>
                </a:solidFill>
                <a:hlinkClick r:id="rId7">
                  <a:extLst>
                    <a:ext uri="{A12FA001-AC4F-418D-AE19-62706E023703}">
                      <ahyp:hlinkClr xmlns:ahyp="http://schemas.microsoft.com/office/drawing/2018/hyperlinkcolor" val="tx"/>
                    </a:ext>
                  </a:extLst>
                </a:hlinkClick>
              </a:rPr>
              <a:t>Policy Promise - Everest </a:t>
            </a:r>
            <a:r>
              <a:rPr lang="en-US" b="1" u="sng" err="1">
                <a:solidFill>
                  <a:srgbClr val="1D2550"/>
                </a:solidFill>
                <a:hlinkClick r:id="rId7">
                  <a:extLst>
                    <a:ext uri="{A12FA001-AC4F-418D-AE19-62706E023703}">
                      <ahyp:hlinkClr xmlns:ahyp="http://schemas.microsoft.com/office/drawing/2018/hyperlinkcolor" val="tx"/>
                    </a:ext>
                  </a:extLst>
                </a:hlinkClick>
              </a:rPr>
              <a:t>Opt</a:t>
            </a:r>
            <a:r>
              <a:rPr lang="en-US" b="1" u="sng">
                <a:solidFill>
                  <a:srgbClr val="1D2550"/>
                </a:solidFill>
                <a:hlinkClick r:id="rId7">
                  <a:extLst>
                    <a:ext uri="{A12FA001-AC4F-418D-AE19-62706E023703}">
                      <ahyp:hlinkClr xmlns:ahyp="http://schemas.microsoft.com/office/drawing/2018/hyperlinkcolor" val="tx"/>
                    </a:ext>
                  </a:extLst>
                </a:hlinkClick>
              </a:rPr>
              <a:t> In</a:t>
            </a:r>
            <a:endParaRPr lang="en-US" b="1" u="sng">
              <a:solidFill>
                <a:srgbClr val="1D2550"/>
              </a:solidFill>
              <a:hlinkClick r:id="rId8">
                <a:extLst>
                  <a:ext uri="{A12FA001-AC4F-418D-AE19-62706E023703}">
                    <ahyp:hlinkClr xmlns:ahyp="http://schemas.microsoft.com/office/drawing/2018/hyperlinkcolor" val="tx"/>
                  </a:ext>
                </a:extLst>
              </a:hlinkClick>
            </a:endParaRPr>
          </a:p>
          <a:p>
            <a:pPr lvl="1"/>
            <a:r>
              <a:rPr lang="en-US" b="1" u="sng">
                <a:solidFill>
                  <a:srgbClr val="1D2550"/>
                </a:solidFill>
                <a:hlinkClick r:id="rId8">
                  <a:extLst>
                    <a:ext uri="{A12FA001-AC4F-418D-AE19-62706E023703}">
                      <ahyp:hlinkClr xmlns:ahyp="http://schemas.microsoft.com/office/drawing/2018/hyperlinkcolor" val="tx"/>
                    </a:ext>
                  </a:extLst>
                </a:hlinkClick>
              </a:rPr>
              <a:t>Policy Promise - Everest </a:t>
            </a:r>
            <a:r>
              <a:rPr lang="en-US" b="1" u="sng" err="1">
                <a:solidFill>
                  <a:srgbClr val="1D2550"/>
                </a:solidFill>
                <a:hlinkClick r:id="rId8">
                  <a:extLst>
                    <a:ext uri="{A12FA001-AC4F-418D-AE19-62706E023703}">
                      <ahyp:hlinkClr xmlns:ahyp="http://schemas.microsoft.com/office/drawing/2018/hyperlinkcolor" val="tx"/>
                    </a:ext>
                  </a:extLst>
                </a:hlinkClick>
              </a:rPr>
              <a:t>Opt</a:t>
            </a:r>
            <a:r>
              <a:rPr lang="en-US" b="1" u="sng">
                <a:solidFill>
                  <a:srgbClr val="1D2550"/>
                </a:solidFill>
                <a:hlinkClick r:id="rId8">
                  <a:extLst>
                    <a:ext uri="{A12FA001-AC4F-418D-AE19-62706E023703}">
                      <ahyp:hlinkClr xmlns:ahyp="http://schemas.microsoft.com/office/drawing/2018/hyperlinkcolor" val="tx"/>
                    </a:ext>
                  </a:extLst>
                </a:hlinkClick>
              </a:rPr>
              <a:t> Out</a:t>
            </a:r>
            <a:endParaRPr lang="en-US" b="1" u="sng">
              <a:solidFill>
                <a:srgbClr val="1D2550"/>
              </a:solidFill>
            </a:endParaRPr>
          </a:p>
          <a:p>
            <a:pPr marL="180000" lvl="2" indent="0">
              <a:buNone/>
            </a:pPr>
            <a:endParaRPr lang="en-US"/>
          </a:p>
          <a:p>
            <a:pPr marL="180000" lvl="2" indent="0">
              <a:buNone/>
            </a:pPr>
            <a:r>
              <a:rPr lang="en-US" sz="1200" b="1"/>
              <a:t>Note</a:t>
            </a:r>
            <a:r>
              <a:rPr lang="en-US" sz="1200"/>
              <a:t>: Messaging about Everest will only be displayed for policies that include Everest</a:t>
            </a:r>
            <a:r>
              <a:rPr lang="en-US"/>
              <a:t>.</a:t>
            </a:r>
            <a:endParaRPr lang="en-US" b="1" u="sng"/>
          </a:p>
          <a:p>
            <a:pPr lvl="1"/>
            <a:endParaRPr lang="en-US"/>
          </a:p>
        </p:txBody>
      </p:sp>
      <p:sp>
        <p:nvSpPr>
          <p:cNvPr id="2" name="Slide Number Placeholder 1">
            <a:extLst>
              <a:ext uri="{FF2B5EF4-FFF2-40B4-BE49-F238E27FC236}">
                <a16:creationId xmlns:a16="http://schemas.microsoft.com/office/drawing/2014/main" id="{5EE675C0-BBA1-F78B-AC51-232A51BC67D8}"/>
              </a:ext>
            </a:extLst>
          </p:cNvPr>
          <p:cNvSpPr>
            <a:spLocks noGrp="1"/>
          </p:cNvSpPr>
          <p:nvPr>
            <p:ph type="sldNum" sz="quarter" idx="18"/>
          </p:nvPr>
        </p:nvSpPr>
        <p:spPr>
          <a:xfrm>
            <a:off x="0" y="6049950"/>
            <a:ext cx="806400" cy="808050"/>
          </a:xfrm>
        </p:spPr>
        <p:txBody>
          <a:bodyPr/>
          <a:lstStyle/>
          <a:p>
            <a:fld id="{1C1606C5-D483-4832-A0E9-CF578A9B5883}" type="slidenum">
              <a:rPr lang="en-US" smtClean="0"/>
              <a:pPr/>
              <a:t>29</a:t>
            </a:fld>
            <a:endParaRPr lang="en-US"/>
          </a:p>
        </p:txBody>
      </p:sp>
      <p:sp>
        <p:nvSpPr>
          <p:cNvPr id="3" name="Text Placeholder 3">
            <a:extLst>
              <a:ext uri="{FF2B5EF4-FFF2-40B4-BE49-F238E27FC236}">
                <a16:creationId xmlns:a16="http://schemas.microsoft.com/office/drawing/2014/main" id="{D30A0B92-82D8-A709-22AA-23F5AB07FEDF}"/>
              </a:ext>
            </a:extLst>
          </p:cNvPr>
          <p:cNvSpPr txBox="1">
            <a:spLocks/>
          </p:cNvSpPr>
          <p:nvPr/>
        </p:nvSpPr>
        <p:spPr>
          <a:xfrm>
            <a:off x="806402" y="6049950"/>
            <a:ext cx="5289593" cy="808050"/>
          </a:xfrm>
          <a:prstGeom prst="rect">
            <a:avLst/>
          </a:prstGeom>
        </p:spPr>
        <p:txBody>
          <a:bodyPr vert="horz" lIns="0" tIns="0" rIns="0" bIns="309600" rtlCol="0" anchor="b" anchorCtr="0">
            <a:noAutofit/>
          </a:bodyPr>
          <a:lstStyle>
            <a:lvl1pPr marL="0" indent="0" algn="l" defTabSz="914400" rtl="0" eaLnBrk="1" latinLnBrk="0" hangingPunct="1">
              <a:lnSpc>
                <a:spcPct val="90000"/>
              </a:lnSpc>
              <a:spcBef>
                <a:spcPts val="0"/>
              </a:spcBef>
              <a:buClr>
                <a:srgbClr val="281805"/>
              </a:buClr>
              <a:buFont typeface="Arial" panose="020B0604020202020204" pitchFamily="34" charset="0"/>
              <a:buChar char="​"/>
              <a:defRPr sz="1000" b="0" i="0" kern="100" spc="-30" baseline="0">
                <a:solidFill>
                  <a:schemeClr val="tx1"/>
                </a:solidFill>
                <a:latin typeface="Open Sans Condensed Condensed" pitchFamily="2" charset="0"/>
                <a:ea typeface="Open Sans Condensed Condensed" pitchFamily="2" charset="0"/>
                <a:cs typeface="Open Sans Condensed Condensed" pitchFamily="2" charset="0"/>
              </a:defRPr>
            </a:lvl1pPr>
            <a:lvl2pPr marL="180000" indent="-180000" algn="l" defTabSz="914400" rtl="0" eaLnBrk="1" latinLnBrk="0" hangingPunct="1">
              <a:lnSpc>
                <a:spcPct val="95000"/>
              </a:lnSpc>
              <a:spcBef>
                <a:spcPts val="0"/>
              </a:spcBef>
              <a:buClrTx/>
              <a:buFont typeface="Wingdings" pitchFamily="2" charset="2"/>
              <a:buChar char="§"/>
              <a:defRPr sz="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0"/>
              </a:spcBef>
              <a:buClrTx/>
              <a:buSzPct val="100000"/>
              <a:buFont typeface="Arial" panose="020E0502030303020204" pitchFamily="34" charset="0"/>
              <a:buChar char="–"/>
              <a:defRPr sz="8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a:t>Agent Use Only. Not For Public Use.</a:t>
            </a:r>
          </a:p>
        </p:txBody>
      </p:sp>
    </p:spTree>
    <p:custDataLst>
      <p:tags r:id="rId1"/>
    </p:custDataLst>
    <p:extLst>
      <p:ext uri="{BB962C8B-B14F-4D97-AF65-F5344CB8AC3E}">
        <p14:creationId xmlns:p14="http://schemas.microsoft.com/office/powerpoint/2010/main" val="3297530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FB7119-0F52-43A0-9F69-13916BE184DB}"/>
              </a:ext>
            </a:extLst>
          </p:cNvPr>
          <p:cNvSpPr>
            <a:spLocks noGrp="1"/>
          </p:cNvSpPr>
          <p:nvPr>
            <p:ph type="title"/>
          </p:nvPr>
        </p:nvSpPr>
        <p:spPr>
          <a:xfrm>
            <a:off x="521205" y="325881"/>
            <a:ext cx="11149580" cy="944637"/>
          </a:xfrm>
        </p:spPr>
        <p:txBody>
          <a:bodyPr/>
          <a:lstStyle/>
          <a:p>
            <a:r>
              <a:rPr lang="en-US" dirty="0">
                <a:solidFill>
                  <a:srgbClr val="1D2550"/>
                </a:solidFill>
              </a:rPr>
              <a:t>Transamerica FE Express Solution</a:t>
            </a:r>
            <a:r>
              <a:rPr lang="en-US" dirty="0">
                <a:solidFill>
                  <a:srgbClr val="1D2550"/>
                </a:solidFill>
                <a:latin typeface="Calibri" panose="020F0502020204030204" pitchFamily="34" charset="0"/>
                <a:ea typeface="Calibri" panose="020F0502020204030204" pitchFamily="34" charset="0"/>
                <a:cs typeface="Calibri" panose="020F0502020204030204" pitchFamily="34" charset="0"/>
              </a:rPr>
              <a:t>℠</a:t>
            </a:r>
            <a:endParaRPr lang="en-US" dirty="0">
              <a:solidFill>
                <a:srgbClr val="1D2550"/>
              </a:solidFill>
            </a:endParaRPr>
          </a:p>
        </p:txBody>
      </p:sp>
      <p:sp>
        <p:nvSpPr>
          <p:cNvPr id="3" name="Text Placeholder 2">
            <a:extLst>
              <a:ext uri="{FF2B5EF4-FFF2-40B4-BE49-F238E27FC236}">
                <a16:creationId xmlns:a16="http://schemas.microsoft.com/office/drawing/2014/main" id="{FA167E6A-ADD7-BEF0-E74D-B204EDD775B9}"/>
              </a:ext>
            </a:extLst>
          </p:cNvPr>
          <p:cNvSpPr>
            <a:spLocks noGrp="1"/>
          </p:cNvSpPr>
          <p:nvPr>
            <p:ph type="body" sz="quarter" idx="16"/>
          </p:nvPr>
        </p:nvSpPr>
        <p:spPr>
          <a:xfrm>
            <a:off x="619531" y="1270518"/>
            <a:ext cx="11149580" cy="358482"/>
          </a:xfrm>
        </p:spPr>
        <p:txBody>
          <a:bodyPr/>
          <a:lstStyle/>
          <a:p>
            <a:r>
              <a:rPr lang="en-US" dirty="0"/>
              <a:t>Face amount increase</a:t>
            </a:r>
          </a:p>
        </p:txBody>
      </p:sp>
      <p:sp>
        <p:nvSpPr>
          <p:cNvPr id="4" name="Content Placeholder 3">
            <a:extLst>
              <a:ext uri="{FF2B5EF4-FFF2-40B4-BE49-F238E27FC236}">
                <a16:creationId xmlns:a16="http://schemas.microsoft.com/office/drawing/2014/main" id="{483E2A22-FD9F-2F04-9C87-820E950278DE}"/>
              </a:ext>
            </a:extLst>
          </p:cNvPr>
          <p:cNvSpPr>
            <a:spLocks noGrp="1"/>
          </p:cNvSpPr>
          <p:nvPr>
            <p:ph idx="1"/>
          </p:nvPr>
        </p:nvSpPr>
        <p:spPr>
          <a:xfrm>
            <a:off x="521205" y="1996448"/>
            <a:ext cx="5378147" cy="4276950"/>
          </a:xfrm>
        </p:spPr>
        <p:txBody>
          <a:bodyPr/>
          <a:lstStyle/>
          <a:p>
            <a:r>
              <a:rPr lang="en-US" dirty="0">
                <a:latin typeface="Forever Forma Body Text" panose="00000000000000090000" pitchFamily="50" charset="0"/>
              </a:rPr>
              <a:t>Effective </a:t>
            </a:r>
            <a:r>
              <a:rPr lang="en-US" b="1" dirty="0">
                <a:solidFill>
                  <a:srgbClr val="1D2550"/>
                </a:solidFill>
                <a:latin typeface="Forever Forma Body Text" panose="00000000000000090000" pitchFamily="50" charset="0"/>
              </a:rPr>
              <a:t>January 21, 2026</a:t>
            </a:r>
            <a:r>
              <a:rPr lang="en-US" dirty="0">
                <a:latin typeface="Forever Forma Body Text" panose="00000000000000090000" pitchFamily="50" charset="0"/>
              </a:rPr>
              <a:t>, Transamerica’s FE Express Solution</a:t>
            </a:r>
            <a:r>
              <a:rPr lang="en-US" dirty="0">
                <a:latin typeface="Forever Forma Body Text" panose="00000000000000090000" pitchFamily="50" charset="0"/>
                <a:ea typeface="Calibri" panose="020F0502020204030204" pitchFamily="34" charset="0"/>
                <a:cs typeface="Calibri" panose="020F0502020204030204" pitchFamily="34" charset="0"/>
              </a:rPr>
              <a:t>℠ maximum face amount will be increased from $50,000 to $100,000.</a:t>
            </a:r>
          </a:p>
          <a:p>
            <a:pPr marL="465750" lvl="1" indent="-285750"/>
            <a:r>
              <a:rPr lang="en-US" sz="1600" dirty="0">
                <a:latin typeface="Forever Forma Body Text" panose="00000000000000090000" pitchFamily="50" charset="0"/>
                <a:ea typeface="Calibri" panose="020F0502020204030204" pitchFamily="34" charset="0"/>
                <a:cs typeface="Calibri" panose="020F0502020204030204" pitchFamily="34" charset="0"/>
              </a:rPr>
              <a:t>Transamerica’s Graded FE Express Solution℠ maximum face amount remains $25,000.</a:t>
            </a:r>
          </a:p>
          <a:p>
            <a:pPr lvl="2" indent="0">
              <a:buNone/>
            </a:pPr>
            <a:endParaRPr lang="en-US" dirty="0">
              <a:latin typeface="+mn-lt"/>
              <a:ea typeface="Calibri" panose="020F0502020204030204" pitchFamily="34" charset="0"/>
              <a:cs typeface="Calibri" panose="020F0502020204030204" pitchFamily="34" charset="0"/>
            </a:endParaRPr>
          </a:p>
          <a:p>
            <a:pPr marL="0" lvl="1" indent="0">
              <a:buNone/>
            </a:pPr>
            <a:r>
              <a:rPr lang="en-US" b="1" dirty="0">
                <a:solidFill>
                  <a:srgbClr val="1D2550"/>
                </a:solidFill>
              </a:rPr>
              <a:t>Coverage Availability</a:t>
            </a:r>
          </a:p>
          <a:p>
            <a:pPr lvl="1"/>
            <a:r>
              <a:rPr lang="en-US" dirty="0"/>
              <a:t>$5,000 – $100,000 in coverage</a:t>
            </a:r>
          </a:p>
          <a:p>
            <a:pPr lvl="2"/>
            <a:r>
              <a:rPr lang="en-US" dirty="0"/>
              <a:t>Issue Ages 18–75 $100,000</a:t>
            </a:r>
          </a:p>
          <a:p>
            <a:pPr lvl="2"/>
            <a:r>
              <a:rPr lang="en-US" dirty="0"/>
              <a:t>Issue Ages 76+ </a:t>
            </a:r>
            <a:r>
              <a:rPr lang="en-US" b="1" u="sng" dirty="0"/>
              <a:t>or</a:t>
            </a:r>
            <a:r>
              <a:rPr lang="en-US" dirty="0"/>
              <a:t> Graded Risk Approval $25,000</a:t>
            </a:r>
          </a:p>
          <a:p>
            <a:pPr marL="360000" lvl="3" indent="0">
              <a:buNone/>
            </a:pPr>
            <a:endParaRPr lang="en-US" dirty="0"/>
          </a:p>
          <a:p>
            <a:pPr marL="360000" lvl="3" indent="0">
              <a:buNone/>
            </a:pPr>
            <a:endParaRPr lang="en-US" dirty="0"/>
          </a:p>
          <a:p>
            <a:pPr lvl="1"/>
            <a:r>
              <a:rPr lang="en-US" sz="1400" b="1" dirty="0">
                <a:solidFill>
                  <a:srgbClr val="1D2550"/>
                </a:solidFill>
              </a:rPr>
              <a:t>Please Note: </a:t>
            </a:r>
            <a:r>
              <a:rPr lang="en-US" sz="1400" dirty="0"/>
              <a:t>For complete issue age and coverage eligibility guidelines, please view the  </a:t>
            </a:r>
            <a:r>
              <a:rPr lang="en-US" sz="1400" dirty="0">
                <a:hlinkClick r:id="rId4"/>
              </a:rPr>
              <a:t>Transamerica FE Express</a:t>
            </a:r>
            <a:r>
              <a:rPr lang="en-US" sz="1400" dirty="0">
                <a:latin typeface="Calibri" panose="020F0502020204030204" pitchFamily="34" charset="0"/>
                <a:ea typeface="Calibri" panose="020F0502020204030204" pitchFamily="34" charset="0"/>
                <a:cs typeface="Calibri" panose="020F0502020204030204" pitchFamily="34" charset="0"/>
                <a:hlinkClick r:id="rId4"/>
              </a:rPr>
              <a:t>℠</a:t>
            </a:r>
            <a:r>
              <a:rPr lang="en-US" sz="1400" dirty="0">
                <a:hlinkClick r:id="rId4"/>
              </a:rPr>
              <a:t> Agent and Underwriting Guide</a:t>
            </a:r>
            <a:r>
              <a:rPr lang="en-US" sz="1400" dirty="0"/>
              <a:t>.</a:t>
            </a:r>
          </a:p>
          <a:p>
            <a:pPr marL="285750" indent="-285750"/>
            <a:endParaRPr lang="en-US" dirty="0">
              <a:latin typeface="+mn-lt"/>
            </a:endParaRPr>
          </a:p>
        </p:txBody>
      </p:sp>
      <p:sp>
        <p:nvSpPr>
          <p:cNvPr id="5" name="Slide Number Placeholder 4">
            <a:extLst>
              <a:ext uri="{FF2B5EF4-FFF2-40B4-BE49-F238E27FC236}">
                <a16:creationId xmlns:a16="http://schemas.microsoft.com/office/drawing/2014/main" id="{AED05356-889D-04A8-C9A4-73E155A360E4}"/>
              </a:ext>
            </a:extLst>
          </p:cNvPr>
          <p:cNvSpPr>
            <a:spLocks noGrp="1"/>
          </p:cNvSpPr>
          <p:nvPr>
            <p:ph type="sldNum" sz="quarter" idx="18"/>
          </p:nvPr>
        </p:nvSpPr>
        <p:spPr/>
        <p:txBody>
          <a:bodyPr/>
          <a:lstStyle/>
          <a:p>
            <a:fld id="{1C1606C5-D483-4832-A0E9-CF578A9B5883}" type="slidenum">
              <a:rPr lang="en-US" smtClean="0"/>
              <a:pPr/>
              <a:t>3</a:t>
            </a:fld>
            <a:endParaRPr lang="en-US"/>
          </a:p>
        </p:txBody>
      </p:sp>
      <p:sp>
        <p:nvSpPr>
          <p:cNvPr id="6" name="Text Placeholder 5">
            <a:extLst>
              <a:ext uri="{FF2B5EF4-FFF2-40B4-BE49-F238E27FC236}">
                <a16:creationId xmlns:a16="http://schemas.microsoft.com/office/drawing/2014/main" id="{678D4610-0756-AFCD-F852-3CD0F6F5D9CD}"/>
              </a:ext>
            </a:extLst>
          </p:cNvPr>
          <p:cNvSpPr>
            <a:spLocks noGrp="1"/>
          </p:cNvSpPr>
          <p:nvPr>
            <p:ph type="body" sz="quarter" idx="14"/>
          </p:nvPr>
        </p:nvSpPr>
        <p:spPr>
          <a:xfrm>
            <a:off x="806400" y="6236821"/>
            <a:ext cx="5289593" cy="808050"/>
          </a:xfrm>
        </p:spPr>
        <p:txBody>
          <a:bodyPr/>
          <a:lstStyle/>
          <a:p>
            <a:r>
              <a:rPr lang="en-US" dirty="0"/>
              <a:t>Agent Use Only. Not for public use.</a:t>
            </a:r>
          </a:p>
          <a:p>
            <a:endParaRPr lang="en-US" dirty="0"/>
          </a:p>
        </p:txBody>
      </p:sp>
      <p:pic>
        <p:nvPicPr>
          <p:cNvPr id="9" name="Picture 8">
            <a:extLst>
              <a:ext uri="{FF2B5EF4-FFF2-40B4-BE49-F238E27FC236}">
                <a16:creationId xmlns:a16="http://schemas.microsoft.com/office/drawing/2014/main" id="{2DAB6C5A-4620-4B04-A8CB-933C7BFE89A6}"/>
              </a:ext>
            </a:extLst>
          </p:cNvPr>
          <p:cNvPicPr>
            <a:picLocks noChangeAspect="1"/>
          </p:cNvPicPr>
          <p:nvPr/>
        </p:nvPicPr>
        <p:blipFill>
          <a:blip r:embed="rId5"/>
          <a:stretch>
            <a:fillRect/>
          </a:stretch>
        </p:blipFill>
        <p:spPr>
          <a:xfrm>
            <a:off x="6898103" y="2485681"/>
            <a:ext cx="4580288" cy="2526391"/>
          </a:xfrm>
          <a:prstGeom prst="rect">
            <a:avLst/>
          </a:prstGeom>
        </p:spPr>
      </p:pic>
      <p:pic>
        <p:nvPicPr>
          <p:cNvPr id="10" name="Picture 9" descr="A close-up of a computer&#10;&#10;AI-generated content may be incorrect.">
            <a:extLst>
              <a:ext uri="{FF2B5EF4-FFF2-40B4-BE49-F238E27FC236}">
                <a16:creationId xmlns:a16="http://schemas.microsoft.com/office/drawing/2014/main" id="{49135A01-A952-413F-CA34-B02659519BC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72821" y="1996448"/>
            <a:ext cx="6011024" cy="3381201"/>
          </a:xfrm>
          <a:prstGeom prst="rect">
            <a:avLst/>
          </a:prstGeom>
        </p:spPr>
      </p:pic>
      <p:sp>
        <p:nvSpPr>
          <p:cNvPr id="11" name="Rectangle 10">
            <a:extLst>
              <a:ext uri="{FF2B5EF4-FFF2-40B4-BE49-F238E27FC236}">
                <a16:creationId xmlns:a16="http://schemas.microsoft.com/office/drawing/2014/main" id="{74267D54-D4E2-556D-892D-D7A4ACB7997C}"/>
              </a:ext>
            </a:extLst>
          </p:cNvPr>
          <p:cNvSpPr/>
          <p:nvPr/>
        </p:nvSpPr>
        <p:spPr>
          <a:xfrm>
            <a:off x="7108723" y="4119717"/>
            <a:ext cx="4149212" cy="619432"/>
          </a:xfrm>
          <a:prstGeom prst="rect">
            <a:avLst/>
          </a:prstGeom>
          <a:noFill/>
          <a:ln w="38100">
            <a:solidFill>
              <a:srgbClr val="4CD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custDataLst>
      <p:tags r:id="rId1"/>
    </p:custDataLst>
    <p:extLst>
      <p:ext uri="{BB962C8B-B14F-4D97-AF65-F5344CB8AC3E}">
        <p14:creationId xmlns:p14="http://schemas.microsoft.com/office/powerpoint/2010/main" val="9820692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9ED0A7-CF40-AFE8-226E-3664C9D0BCF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0B302CC-B866-6F68-184C-B14FEDAAB3E8}"/>
              </a:ext>
            </a:extLst>
          </p:cNvPr>
          <p:cNvSpPr>
            <a:spLocks noGrp="1"/>
          </p:cNvSpPr>
          <p:nvPr>
            <p:ph type="title"/>
          </p:nvPr>
        </p:nvSpPr>
        <p:spPr/>
        <p:txBody>
          <a:bodyPr/>
          <a:lstStyle/>
          <a:p>
            <a:r>
              <a:rPr lang="en-US" sz="2400">
                <a:latin typeface="+mn-lt"/>
              </a:rPr>
              <a:t>Transamerica FE Express Solution</a:t>
            </a:r>
            <a:r>
              <a:rPr lang="en-US" sz="2400">
                <a:latin typeface="Calibri" panose="020F0502020204030204" pitchFamily="34" charset="0"/>
                <a:ea typeface="Calibri" panose="020F0502020204030204" pitchFamily="34" charset="0"/>
                <a:cs typeface="Calibri" panose="020F0502020204030204" pitchFamily="34" charset="0"/>
              </a:rPr>
              <a:t>℠</a:t>
            </a:r>
            <a:br>
              <a:rPr lang="en-US"/>
            </a:br>
            <a:r>
              <a:rPr lang="en-US"/>
              <a:t>Payment Improvements</a:t>
            </a:r>
          </a:p>
        </p:txBody>
      </p:sp>
      <p:sp>
        <p:nvSpPr>
          <p:cNvPr id="4" name="Slide Number Placeholder 3">
            <a:extLst>
              <a:ext uri="{FF2B5EF4-FFF2-40B4-BE49-F238E27FC236}">
                <a16:creationId xmlns:a16="http://schemas.microsoft.com/office/drawing/2014/main" id="{BDC8D291-CC70-0465-44BC-33F7A42242F3}"/>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1606C5-D483-4832-A0E9-CF578A9B588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Text Placeholder 8">
            <a:extLst>
              <a:ext uri="{FF2B5EF4-FFF2-40B4-BE49-F238E27FC236}">
                <a16:creationId xmlns:a16="http://schemas.microsoft.com/office/drawing/2014/main" id="{9F4FF6EE-BD9E-4C98-A5D4-E925078B8793}"/>
              </a:ext>
            </a:extLst>
          </p:cNvPr>
          <p:cNvSpPr txBox="1">
            <a:spLocks/>
          </p:cNvSpPr>
          <p:nvPr/>
        </p:nvSpPr>
        <p:spPr>
          <a:xfrm>
            <a:off x="7404946" y="6352974"/>
            <a:ext cx="2504282" cy="291176"/>
          </a:xfrm>
          <a:prstGeom prst="rect">
            <a:avLst/>
          </a:prstGeom>
          <a:solidFill>
            <a:srgbClr val="1D2550"/>
          </a:solidFill>
        </p:spPr>
        <p:txBody>
          <a:bodyPr vert="horz" wrap="none" lIns="75600" tIns="75600" rIns="75600" bIns="75600" rtlCol="0" anchor="b" anchorCtr="0">
            <a:spAutoFit/>
          </a:bodyPr>
          <a:lstStyle>
            <a:lvl1pPr marL="228600" indent="-228600" algn="l" defTabSz="914400" rtl="0" eaLnBrk="1" latinLnBrk="0" hangingPunct="1">
              <a:lnSpc>
                <a:spcPct val="90000"/>
              </a:lnSpc>
              <a:spcBef>
                <a:spcPts val="0"/>
              </a:spcBef>
              <a:buFont typeface="Arial" panose="020B0604020202020204" pitchFamily="34" charset="0"/>
              <a:buChar char="•"/>
              <a:defRPr sz="1000" kern="1200">
                <a:solidFill>
                  <a:schemeClr val="bg1"/>
                </a:solidFill>
                <a:latin typeface="Open Sans Condensed Condensed" pitchFamily="2" charset="0"/>
                <a:ea typeface="Open Sans Condensed Condensed" pitchFamily="2" charset="0"/>
                <a:cs typeface="Open Sans Condensed Condensed"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Open Sans Condensed Condensed" pitchFamily="2" charset="0"/>
                <a:ea typeface="Open Sans Condensed Condensed" pitchFamily="2" charset="0"/>
                <a:cs typeface="Open Sans Condensed Condensed" pitchFamily="2" charset="0"/>
              </a:rPr>
              <a:t>Internal Use Only. Not for Public Use.</a:t>
            </a:r>
          </a:p>
        </p:txBody>
      </p:sp>
      <p:sp>
        <p:nvSpPr>
          <p:cNvPr id="7" name="Text Placeholder 6">
            <a:extLst>
              <a:ext uri="{FF2B5EF4-FFF2-40B4-BE49-F238E27FC236}">
                <a16:creationId xmlns:a16="http://schemas.microsoft.com/office/drawing/2014/main" id="{D0A0FA11-8ABF-AFF1-0788-BAACF55BF473}"/>
              </a:ext>
            </a:extLst>
          </p:cNvPr>
          <p:cNvSpPr>
            <a:spLocks noGrp="1"/>
          </p:cNvSpPr>
          <p:nvPr>
            <p:ph type="body" sz="quarter" idx="13"/>
          </p:nvPr>
        </p:nvSpPr>
        <p:spPr/>
        <p:txBody>
          <a:bodyPr/>
          <a:lstStyle/>
          <a:p>
            <a:endParaRPr lang="en-US"/>
          </a:p>
        </p:txBody>
      </p:sp>
    </p:spTree>
    <p:custDataLst>
      <p:tags r:id="rId1"/>
    </p:custDataLst>
    <p:extLst>
      <p:ext uri="{BB962C8B-B14F-4D97-AF65-F5344CB8AC3E}">
        <p14:creationId xmlns:p14="http://schemas.microsoft.com/office/powerpoint/2010/main" val="124540308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 name="Content Placeholder 91">
            <a:extLst>
              <a:ext uri="{FF2B5EF4-FFF2-40B4-BE49-F238E27FC236}">
                <a16:creationId xmlns:a16="http://schemas.microsoft.com/office/drawing/2014/main" id="{6CC7A8B7-8AF1-93BB-82F1-D56256E082DA}"/>
              </a:ext>
            </a:extLst>
          </p:cNvPr>
          <p:cNvSpPr>
            <a:spLocks noGrp="1"/>
          </p:cNvSpPr>
          <p:nvPr>
            <p:ph idx="1"/>
          </p:nvPr>
        </p:nvSpPr>
        <p:spPr>
          <a:xfrm>
            <a:off x="521208" y="1361551"/>
            <a:ext cx="11149580" cy="4276950"/>
          </a:xfrm>
        </p:spPr>
        <p:txBody>
          <a:bodyPr/>
          <a:lstStyle/>
          <a:p>
            <a:r>
              <a:rPr lang="en-US"/>
              <a:t>The following payment improvements are effective </a:t>
            </a:r>
            <a:r>
              <a:rPr lang="en-US" b="1">
                <a:solidFill>
                  <a:srgbClr val="1D2550"/>
                </a:solidFill>
              </a:rPr>
              <a:t>03/28/2025</a:t>
            </a:r>
            <a:r>
              <a:rPr lang="en-US"/>
              <a:t>:</a:t>
            </a:r>
          </a:p>
          <a:p>
            <a:endParaRPr lang="en-US"/>
          </a:p>
          <a:p>
            <a:pPr lvl="1"/>
            <a:r>
              <a:rPr lang="en-US" b="1">
                <a:solidFill>
                  <a:srgbClr val="1D2550"/>
                </a:solidFill>
              </a:rPr>
              <a:t>Confirm Bank Account Number </a:t>
            </a:r>
          </a:p>
          <a:p>
            <a:pPr lvl="2"/>
            <a:r>
              <a:rPr lang="en-US"/>
              <a:t> An additional field to confirm the bank account number is now required.</a:t>
            </a:r>
          </a:p>
          <a:p>
            <a:pPr lvl="1"/>
            <a:r>
              <a:rPr lang="en-US" b="1">
                <a:solidFill>
                  <a:srgbClr val="1D2550"/>
                </a:solidFill>
              </a:rPr>
              <a:t>Account Not Found</a:t>
            </a:r>
          </a:p>
          <a:p>
            <a:pPr lvl="2"/>
            <a:r>
              <a:rPr lang="en-US"/>
              <a:t>Additional review for the customer and agent if the bank account cannot be verified.</a:t>
            </a:r>
          </a:p>
          <a:p>
            <a:pPr lvl="1"/>
            <a:r>
              <a:rPr lang="en-US" b="1">
                <a:solidFill>
                  <a:srgbClr val="1D2550"/>
                </a:solidFill>
              </a:rPr>
              <a:t>Enhanced Social Security Billing Recommendations</a:t>
            </a:r>
          </a:p>
          <a:p>
            <a:pPr lvl="2"/>
            <a:r>
              <a:rPr lang="en-US"/>
              <a:t>An additional question to narrow down and assist in selecting the most likely Social Security payment schedule.</a:t>
            </a:r>
          </a:p>
          <a:p>
            <a:pPr lvl="2"/>
            <a:endParaRPr lang="en-US"/>
          </a:p>
          <a:p>
            <a:pPr marL="180000" lvl="2" indent="0">
              <a:buNone/>
            </a:pPr>
            <a:endParaRPr lang="en-US"/>
          </a:p>
          <a:p>
            <a:endParaRPr lang="en-US"/>
          </a:p>
        </p:txBody>
      </p:sp>
      <p:sp>
        <p:nvSpPr>
          <p:cNvPr id="5" name="Slide Number Placeholder 4">
            <a:extLst>
              <a:ext uri="{FF2B5EF4-FFF2-40B4-BE49-F238E27FC236}">
                <a16:creationId xmlns:a16="http://schemas.microsoft.com/office/drawing/2014/main" id="{EED22997-9FB1-CE13-D739-01A0F58A6115}"/>
              </a:ext>
            </a:extLst>
          </p:cNvPr>
          <p:cNvSpPr>
            <a:spLocks noGrp="1"/>
          </p:cNvSpPr>
          <p:nvPr>
            <p:ph type="sldNum" sz="quarter" idx="18"/>
          </p:nvPr>
        </p:nvSpPr>
        <p:spPr/>
        <p:txBody>
          <a:bodyPr/>
          <a:lstStyle/>
          <a:p>
            <a:fld id="{1C1606C5-D483-4832-A0E9-CF578A9B5883}" type="slidenum">
              <a:rPr lang="en-US" smtClean="0"/>
              <a:pPr/>
              <a:t>31</a:t>
            </a:fld>
            <a:endParaRPr lang="en-US"/>
          </a:p>
        </p:txBody>
      </p:sp>
      <p:sp>
        <p:nvSpPr>
          <p:cNvPr id="103" name="Title 15">
            <a:extLst>
              <a:ext uri="{FF2B5EF4-FFF2-40B4-BE49-F238E27FC236}">
                <a16:creationId xmlns:a16="http://schemas.microsoft.com/office/drawing/2014/main" id="{001DCF2B-6F29-7C18-8391-3DAD322EE4DE}"/>
              </a:ext>
            </a:extLst>
          </p:cNvPr>
          <p:cNvSpPr>
            <a:spLocks noGrp="1"/>
          </p:cNvSpPr>
          <p:nvPr>
            <p:ph type="title"/>
          </p:nvPr>
        </p:nvSpPr>
        <p:spPr>
          <a:xfrm>
            <a:off x="521208" y="324362"/>
            <a:ext cx="11149580" cy="889109"/>
          </a:xfrm>
        </p:spPr>
        <p:txBody>
          <a:bodyPr vert="horz" anchor="b" anchorCtr="0"/>
          <a:lstStyle/>
          <a:p>
            <a:r>
              <a:rPr lang="en-US">
                <a:solidFill>
                  <a:srgbClr val="1D2550"/>
                </a:solidFill>
              </a:rPr>
              <a:t>Payment Improvements</a:t>
            </a:r>
          </a:p>
        </p:txBody>
      </p:sp>
      <p:sp>
        <p:nvSpPr>
          <p:cNvPr id="2" name="Text Placeholder 3">
            <a:extLst>
              <a:ext uri="{FF2B5EF4-FFF2-40B4-BE49-F238E27FC236}">
                <a16:creationId xmlns:a16="http://schemas.microsoft.com/office/drawing/2014/main" id="{93D394AE-5179-5DAF-3B4B-A99AC9D4AF88}"/>
              </a:ext>
            </a:extLst>
          </p:cNvPr>
          <p:cNvSpPr txBox="1">
            <a:spLocks/>
          </p:cNvSpPr>
          <p:nvPr/>
        </p:nvSpPr>
        <p:spPr>
          <a:xfrm>
            <a:off x="806402" y="6049950"/>
            <a:ext cx="5289593" cy="808050"/>
          </a:xfrm>
          <a:prstGeom prst="rect">
            <a:avLst/>
          </a:prstGeom>
        </p:spPr>
        <p:txBody>
          <a:bodyPr vert="horz" lIns="0" tIns="0" rIns="0" bIns="309600" rtlCol="0" anchor="b" anchorCtr="0">
            <a:noAutofit/>
          </a:bodyPr>
          <a:lstStyle>
            <a:lvl1pPr marL="0" indent="0" algn="l" defTabSz="914400" rtl="0" eaLnBrk="1" latinLnBrk="0" hangingPunct="1">
              <a:lnSpc>
                <a:spcPct val="90000"/>
              </a:lnSpc>
              <a:spcBef>
                <a:spcPts val="0"/>
              </a:spcBef>
              <a:buClr>
                <a:srgbClr val="281805"/>
              </a:buClr>
              <a:buFont typeface="Arial" panose="020B0604020202020204" pitchFamily="34" charset="0"/>
              <a:buChar char="​"/>
              <a:defRPr sz="1000" b="0" i="0" kern="100" spc="-30" baseline="0">
                <a:solidFill>
                  <a:schemeClr val="tx1"/>
                </a:solidFill>
                <a:latin typeface="Open Sans Condensed Condensed" pitchFamily="2" charset="0"/>
                <a:ea typeface="Open Sans Condensed Condensed" pitchFamily="2" charset="0"/>
                <a:cs typeface="Open Sans Condensed Condensed" pitchFamily="2" charset="0"/>
              </a:defRPr>
            </a:lvl1pPr>
            <a:lvl2pPr marL="180000" indent="-180000" algn="l" defTabSz="914400" rtl="0" eaLnBrk="1" latinLnBrk="0" hangingPunct="1">
              <a:lnSpc>
                <a:spcPct val="95000"/>
              </a:lnSpc>
              <a:spcBef>
                <a:spcPts val="0"/>
              </a:spcBef>
              <a:buClrTx/>
              <a:buFont typeface="Wingdings" pitchFamily="2" charset="2"/>
              <a:buChar char="§"/>
              <a:defRPr sz="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0"/>
              </a:spcBef>
              <a:buClrTx/>
              <a:buSzPct val="100000"/>
              <a:buFont typeface="Arial" panose="020E0502030303020204" pitchFamily="34" charset="0"/>
              <a:buChar char="–"/>
              <a:defRPr sz="8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a:t>Agent Use Only. Not For Public Use.</a:t>
            </a:r>
          </a:p>
        </p:txBody>
      </p:sp>
    </p:spTree>
    <p:custDataLst>
      <p:tags r:id="rId1"/>
    </p:custDataLst>
    <p:extLst>
      <p:ext uri="{BB962C8B-B14F-4D97-AF65-F5344CB8AC3E}">
        <p14:creationId xmlns:p14="http://schemas.microsoft.com/office/powerpoint/2010/main" val="259764318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4D5050-3FE6-80AA-1271-75C428483745}"/>
            </a:ext>
          </a:extLst>
        </p:cNvPr>
        <p:cNvGrpSpPr/>
        <p:nvPr/>
      </p:nvGrpSpPr>
      <p:grpSpPr>
        <a:xfrm>
          <a:off x="0" y="0"/>
          <a:ext cx="0" cy="0"/>
          <a:chOff x="0" y="0"/>
          <a:chExt cx="0" cy="0"/>
        </a:xfrm>
      </p:grpSpPr>
      <p:sp>
        <p:nvSpPr>
          <p:cNvPr id="92" name="Content Placeholder 91">
            <a:extLst>
              <a:ext uri="{FF2B5EF4-FFF2-40B4-BE49-F238E27FC236}">
                <a16:creationId xmlns:a16="http://schemas.microsoft.com/office/drawing/2014/main" id="{ADA2EABB-4528-E9F8-545F-E1909D3A007E}"/>
              </a:ext>
            </a:extLst>
          </p:cNvPr>
          <p:cNvSpPr>
            <a:spLocks noGrp="1"/>
          </p:cNvSpPr>
          <p:nvPr>
            <p:ph idx="1"/>
          </p:nvPr>
        </p:nvSpPr>
        <p:spPr>
          <a:xfrm>
            <a:off x="304800" y="1981200"/>
            <a:ext cx="4512477" cy="4446264"/>
          </a:xfrm>
        </p:spPr>
        <p:txBody>
          <a:bodyPr/>
          <a:lstStyle/>
          <a:p>
            <a:pPr lvl="1"/>
            <a:r>
              <a:rPr lang="en-US"/>
              <a:t>For confirmation and accuracy purposes, you will be required to enter the account number twice.</a:t>
            </a:r>
          </a:p>
          <a:p>
            <a:pPr lvl="2"/>
            <a:r>
              <a:rPr lang="en-US"/>
              <a:t>To ensure accuracy, copy/paste is not available when confirming the account number.</a:t>
            </a:r>
          </a:p>
          <a:p>
            <a:pPr lvl="2"/>
            <a:r>
              <a:rPr lang="en-US"/>
              <a:t>A visual representation of the typical routing location and account numbers is depicted.</a:t>
            </a:r>
          </a:p>
          <a:p>
            <a:pPr marL="360000" lvl="3" indent="0">
              <a:buNone/>
            </a:pPr>
            <a:endParaRPr lang="en-US"/>
          </a:p>
        </p:txBody>
      </p:sp>
      <p:sp>
        <p:nvSpPr>
          <p:cNvPr id="5" name="Slide Number Placeholder 4">
            <a:extLst>
              <a:ext uri="{FF2B5EF4-FFF2-40B4-BE49-F238E27FC236}">
                <a16:creationId xmlns:a16="http://schemas.microsoft.com/office/drawing/2014/main" id="{541E66F7-A880-B801-64BA-75B06DC17511}"/>
              </a:ext>
            </a:extLst>
          </p:cNvPr>
          <p:cNvSpPr>
            <a:spLocks noGrp="1"/>
          </p:cNvSpPr>
          <p:nvPr>
            <p:ph type="sldNum" sz="quarter" idx="18"/>
          </p:nvPr>
        </p:nvSpPr>
        <p:spPr/>
        <p:txBody>
          <a:bodyPr/>
          <a:lstStyle/>
          <a:p>
            <a:fld id="{1C1606C5-D483-4832-A0E9-CF578A9B5883}" type="slidenum">
              <a:rPr lang="en-US" smtClean="0"/>
              <a:pPr/>
              <a:t>32</a:t>
            </a:fld>
            <a:endParaRPr lang="en-US"/>
          </a:p>
        </p:txBody>
      </p:sp>
      <p:sp>
        <p:nvSpPr>
          <p:cNvPr id="103" name="Title 15">
            <a:extLst>
              <a:ext uri="{FF2B5EF4-FFF2-40B4-BE49-F238E27FC236}">
                <a16:creationId xmlns:a16="http://schemas.microsoft.com/office/drawing/2014/main" id="{E7659129-C775-8747-2143-1B59352DD625}"/>
              </a:ext>
            </a:extLst>
          </p:cNvPr>
          <p:cNvSpPr>
            <a:spLocks noGrp="1"/>
          </p:cNvSpPr>
          <p:nvPr>
            <p:ph type="title"/>
          </p:nvPr>
        </p:nvSpPr>
        <p:spPr>
          <a:xfrm>
            <a:off x="518098" y="37406"/>
            <a:ext cx="11149580" cy="889109"/>
          </a:xfrm>
        </p:spPr>
        <p:txBody>
          <a:bodyPr vert="horz" anchor="b" anchorCtr="0"/>
          <a:lstStyle/>
          <a:p>
            <a:r>
              <a:rPr lang="en-US">
                <a:solidFill>
                  <a:srgbClr val="1D2550"/>
                </a:solidFill>
              </a:rPr>
              <a:t>Payment Improvements</a:t>
            </a:r>
          </a:p>
        </p:txBody>
      </p:sp>
      <p:pic>
        <p:nvPicPr>
          <p:cNvPr id="8" name="Picture 7" descr="Screens screenshot of a computer&#10;&#10;AI-generated content may be incorrect.">
            <a:extLst>
              <a:ext uri="{FF2B5EF4-FFF2-40B4-BE49-F238E27FC236}">
                <a16:creationId xmlns:a16="http://schemas.microsoft.com/office/drawing/2014/main" id="{0CF566CA-7565-000C-2C9C-5B63D9AA627F}"/>
              </a:ext>
            </a:extLst>
          </p:cNvPr>
          <p:cNvPicPr>
            <a:picLocks noChangeAspect="1"/>
          </p:cNvPicPr>
          <p:nvPr/>
        </p:nvPicPr>
        <p:blipFill>
          <a:blip r:embed="rId4"/>
          <a:stretch>
            <a:fillRect/>
          </a:stretch>
        </p:blipFill>
        <p:spPr>
          <a:xfrm>
            <a:off x="5148514" y="1873808"/>
            <a:ext cx="6912145" cy="3877131"/>
          </a:xfrm>
          <a:prstGeom prst="rect">
            <a:avLst/>
          </a:prstGeom>
          <a:ln>
            <a:noFill/>
          </a:ln>
          <a:effectLst>
            <a:outerShdw blurRad="190500" algn="tl" rotWithShape="0">
              <a:srgbClr val="000000">
                <a:alpha val="70000"/>
              </a:srgbClr>
            </a:outerShdw>
          </a:effectLst>
        </p:spPr>
      </p:pic>
      <p:sp>
        <p:nvSpPr>
          <p:cNvPr id="2" name="Text Placeholder 6">
            <a:extLst>
              <a:ext uri="{FF2B5EF4-FFF2-40B4-BE49-F238E27FC236}">
                <a16:creationId xmlns:a16="http://schemas.microsoft.com/office/drawing/2014/main" id="{364D978D-BCED-B30C-B3CD-04CDD45A5EFC}"/>
              </a:ext>
            </a:extLst>
          </p:cNvPr>
          <p:cNvSpPr>
            <a:spLocks noGrp="1"/>
          </p:cNvSpPr>
          <p:nvPr>
            <p:ph type="body" sz="quarter" idx="16"/>
          </p:nvPr>
        </p:nvSpPr>
        <p:spPr>
          <a:xfrm>
            <a:off x="518098" y="949286"/>
            <a:ext cx="11149580" cy="358482"/>
          </a:xfrm>
        </p:spPr>
        <p:txBody>
          <a:bodyPr/>
          <a:lstStyle/>
          <a:p>
            <a:r>
              <a:rPr lang="en-US"/>
              <a:t>Confirm Bank Account Number</a:t>
            </a:r>
          </a:p>
        </p:txBody>
      </p:sp>
      <p:sp>
        <p:nvSpPr>
          <p:cNvPr id="3" name="Text Placeholder 3">
            <a:extLst>
              <a:ext uri="{FF2B5EF4-FFF2-40B4-BE49-F238E27FC236}">
                <a16:creationId xmlns:a16="http://schemas.microsoft.com/office/drawing/2014/main" id="{73264E28-17F0-5F1A-2A1E-204A275CA4C2}"/>
              </a:ext>
            </a:extLst>
          </p:cNvPr>
          <p:cNvSpPr>
            <a:spLocks noGrp="1"/>
          </p:cNvSpPr>
          <p:nvPr>
            <p:ph type="body" sz="quarter" idx="14"/>
          </p:nvPr>
        </p:nvSpPr>
        <p:spPr>
          <a:xfrm>
            <a:off x="806402" y="6049950"/>
            <a:ext cx="5289593" cy="808050"/>
          </a:xfrm>
        </p:spPr>
        <p:txBody>
          <a:bodyPr/>
          <a:lstStyle/>
          <a:p>
            <a:r>
              <a:rPr lang="en-US"/>
              <a:t>Agent Use Only. Not For Public Use.</a:t>
            </a:r>
          </a:p>
        </p:txBody>
      </p:sp>
    </p:spTree>
    <p:custDataLst>
      <p:tags r:id="rId1"/>
    </p:custDataLst>
    <p:extLst>
      <p:ext uri="{BB962C8B-B14F-4D97-AF65-F5344CB8AC3E}">
        <p14:creationId xmlns:p14="http://schemas.microsoft.com/office/powerpoint/2010/main" val="18946112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75F354-9580-E8EA-BE9A-09352D0A39BA}"/>
            </a:ext>
          </a:extLst>
        </p:cNvPr>
        <p:cNvGrpSpPr/>
        <p:nvPr/>
      </p:nvGrpSpPr>
      <p:grpSpPr>
        <a:xfrm>
          <a:off x="0" y="0"/>
          <a:ext cx="0" cy="0"/>
          <a:chOff x="0" y="0"/>
          <a:chExt cx="0" cy="0"/>
        </a:xfrm>
      </p:grpSpPr>
      <p:sp>
        <p:nvSpPr>
          <p:cNvPr id="92" name="Content Placeholder 91">
            <a:extLst>
              <a:ext uri="{FF2B5EF4-FFF2-40B4-BE49-F238E27FC236}">
                <a16:creationId xmlns:a16="http://schemas.microsoft.com/office/drawing/2014/main" id="{1FC22E2E-5A08-DE57-8CE9-2CEDBD82BCF3}"/>
              </a:ext>
            </a:extLst>
          </p:cNvPr>
          <p:cNvSpPr>
            <a:spLocks noGrp="1"/>
          </p:cNvSpPr>
          <p:nvPr>
            <p:ph idx="1"/>
          </p:nvPr>
        </p:nvSpPr>
        <p:spPr>
          <a:xfrm>
            <a:off x="390759" y="1676400"/>
            <a:ext cx="6493678" cy="2329278"/>
          </a:xfrm>
        </p:spPr>
        <p:txBody>
          <a:bodyPr/>
          <a:lstStyle/>
          <a:p>
            <a:pPr lvl="1"/>
            <a:r>
              <a:rPr lang="en-US"/>
              <a:t> If the client’s bank account information cannot be verified, an additional review will be required. </a:t>
            </a:r>
          </a:p>
          <a:p>
            <a:pPr lvl="2"/>
            <a:r>
              <a:rPr lang="en-US"/>
              <a:t>You’ll be prompted to verify the routing and account number(s) with your client.</a:t>
            </a:r>
          </a:p>
          <a:p>
            <a:pPr lvl="3"/>
            <a:r>
              <a:rPr lang="en-US"/>
              <a:t>If edits are needed, click “Edit bank details” to make the necessary corrections.</a:t>
            </a:r>
          </a:p>
          <a:p>
            <a:pPr lvl="3"/>
            <a:r>
              <a:rPr lang="en-US"/>
              <a:t>If the information is determined to be correct, simply click “It’s right; continue anyway.”</a:t>
            </a:r>
          </a:p>
          <a:p>
            <a:pPr lvl="3"/>
            <a:endParaRPr lang="en-US"/>
          </a:p>
          <a:p>
            <a:pPr lvl="2"/>
            <a:endParaRPr lang="en-US"/>
          </a:p>
          <a:p>
            <a:pPr lvl="2"/>
            <a:endParaRPr lang="en-US"/>
          </a:p>
        </p:txBody>
      </p:sp>
      <p:sp>
        <p:nvSpPr>
          <p:cNvPr id="5" name="Slide Number Placeholder 4">
            <a:extLst>
              <a:ext uri="{FF2B5EF4-FFF2-40B4-BE49-F238E27FC236}">
                <a16:creationId xmlns:a16="http://schemas.microsoft.com/office/drawing/2014/main" id="{4E23805E-B68A-D31F-8158-928E188999C9}"/>
              </a:ext>
            </a:extLst>
          </p:cNvPr>
          <p:cNvSpPr>
            <a:spLocks noGrp="1"/>
          </p:cNvSpPr>
          <p:nvPr>
            <p:ph type="sldNum" sz="quarter" idx="18"/>
          </p:nvPr>
        </p:nvSpPr>
        <p:spPr/>
        <p:txBody>
          <a:bodyPr/>
          <a:lstStyle/>
          <a:p>
            <a:fld id="{1C1606C5-D483-4832-A0E9-CF578A9B5883}" type="slidenum">
              <a:rPr lang="en-US" smtClean="0"/>
              <a:pPr/>
              <a:t>33</a:t>
            </a:fld>
            <a:endParaRPr lang="en-US"/>
          </a:p>
        </p:txBody>
      </p:sp>
      <p:sp>
        <p:nvSpPr>
          <p:cNvPr id="103" name="Title 15">
            <a:extLst>
              <a:ext uri="{FF2B5EF4-FFF2-40B4-BE49-F238E27FC236}">
                <a16:creationId xmlns:a16="http://schemas.microsoft.com/office/drawing/2014/main" id="{41E860C6-AB06-7065-E0D1-83E8EC42A1DD}"/>
              </a:ext>
            </a:extLst>
          </p:cNvPr>
          <p:cNvSpPr>
            <a:spLocks noGrp="1"/>
          </p:cNvSpPr>
          <p:nvPr>
            <p:ph type="title"/>
          </p:nvPr>
        </p:nvSpPr>
        <p:spPr>
          <a:xfrm>
            <a:off x="518098" y="37406"/>
            <a:ext cx="11149580" cy="889109"/>
          </a:xfrm>
        </p:spPr>
        <p:txBody>
          <a:bodyPr vert="horz" anchor="b" anchorCtr="0"/>
          <a:lstStyle/>
          <a:p>
            <a:r>
              <a:rPr lang="en-US">
                <a:solidFill>
                  <a:srgbClr val="1D2550"/>
                </a:solidFill>
              </a:rPr>
              <a:t>Payment Improvements</a:t>
            </a:r>
          </a:p>
        </p:txBody>
      </p:sp>
      <p:pic>
        <p:nvPicPr>
          <p:cNvPr id="8" name="Picture 7">
            <a:extLst>
              <a:ext uri="{FF2B5EF4-FFF2-40B4-BE49-F238E27FC236}">
                <a16:creationId xmlns:a16="http://schemas.microsoft.com/office/drawing/2014/main" id="{DCD38ADD-0EF4-31D7-5A29-1085DA6DB918}"/>
              </a:ext>
            </a:extLst>
          </p:cNvPr>
          <p:cNvPicPr>
            <a:picLocks noChangeAspect="1"/>
          </p:cNvPicPr>
          <p:nvPr/>
        </p:nvPicPr>
        <p:blipFill>
          <a:blip r:embed="rId4"/>
          <a:srcRect/>
          <a:stretch/>
        </p:blipFill>
        <p:spPr>
          <a:xfrm>
            <a:off x="7391400" y="1307768"/>
            <a:ext cx="4154708" cy="3877131"/>
          </a:xfrm>
          <a:prstGeom prst="rect">
            <a:avLst/>
          </a:prstGeom>
          <a:ln>
            <a:noFill/>
          </a:ln>
          <a:effectLst>
            <a:softEdge rad="112500"/>
          </a:effectLst>
        </p:spPr>
      </p:pic>
      <p:sp>
        <p:nvSpPr>
          <p:cNvPr id="2" name="Text Placeholder 6">
            <a:extLst>
              <a:ext uri="{FF2B5EF4-FFF2-40B4-BE49-F238E27FC236}">
                <a16:creationId xmlns:a16="http://schemas.microsoft.com/office/drawing/2014/main" id="{FF67A221-439F-ADDF-8F4D-8268C186C883}"/>
              </a:ext>
            </a:extLst>
          </p:cNvPr>
          <p:cNvSpPr>
            <a:spLocks noGrp="1"/>
          </p:cNvSpPr>
          <p:nvPr>
            <p:ph type="body" sz="quarter" idx="16"/>
          </p:nvPr>
        </p:nvSpPr>
        <p:spPr>
          <a:xfrm>
            <a:off x="518098" y="949286"/>
            <a:ext cx="11149580" cy="358482"/>
          </a:xfrm>
        </p:spPr>
        <p:txBody>
          <a:bodyPr/>
          <a:lstStyle/>
          <a:p>
            <a:r>
              <a:rPr lang="en-US"/>
              <a:t>Account Not Found</a:t>
            </a:r>
          </a:p>
        </p:txBody>
      </p:sp>
      <p:sp>
        <p:nvSpPr>
          <p:cNvPr id="3" name="Text Placeholder 3">
            <a:extLst>
              <a:ext uri="{FF2B5EF4-FFF2-40B4-BE49-F238E27FC236}">
                <a16:creationId xmlns:a16="http://schemas.microsoft.com/office/drawing/2014/main" id="{25869BC4-9AB9-57A7-6162-DA67E73F9089}"/>
              </a:ext>
            </a:extLst>
          </p:cNvPr>
          <p:cNvSpPr>
            <a:spLocks noGrp="1"/>
          </p:cNvSpPr>
          <p:nvPr>
            <p:ph type="body" sz="quarter" idx="14"/>
          </p:nvPr>
        </p:nvSpPr>
        <p:spPr>
          <a:xfrm>
            <a:off x="806402" y="6049950"/>
            <a:ext cx="5289593" cy="808050"/>
          </a:xfrm>
        </p:spPr>
        <p:txBody>
          <a:bodyPr/>
          <a:lstStyle/>
          <a:p>
            <a:r>
              <a:rPr lang="en-US"/>
              <a:t>Agent Use Only. Not For Public Use.</a:t>
            </a:r>
          </a:p>
        </p:txBody>
      </p:sp>
    </p:spTree>
    <p:custDataLst>
      <p:tags r:id="rId1"/>
    </p:custDataLst>
    <p:extLst>
      <p:ext uri="{BB962C8B-B14F-4D97-AF65-F5344CB8AC3E}">
        <p14:creationId xmlns:p14="http://schemas.microsoft.com/office/powerpoint/2010/main" val="34526925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E69FA9-3CA0-2296-DEE8-2949B390BBD7}"/>
            </a:ext>
          </a:extLst>
        </p:cNvPr>
        <p:cNvGrpSpPr/>
        <p:nvPr/>
      </p:nvGrpSpPr>
      <p:grpSpPr>
        <a:xfrm>
          <a:off x="0" y="0"/>
          <a:ext cx="0" cy="0"/>
          <a:chOff x="0" y="0"/>
          <a:chExt cx="0" cy="0"/>
        </a:xfrm>
      </p:grpSpPr>
      <p:sp>
        <p:nvSpPr>
          <p:cNvPr id="92" name="Content Placeholder 91">
            <a:extLst>
              <a:ext uri="{FF2B5EF4-FFF2-40B4-BE49-F238E27FC236}">
                <a16:creationId xmlns:a16="http://schemas.microsoft.com/office/drawing/2014/main" id="{C6AE161E-873B-C438-8725-F4567A326283}"/>
              </a:ext>
            </a:extLst>
          </p:cNvPr>
          <p:cNvSpPr>
            <a:spLocks noGrp="1"/>
          </p:cNvSpPr>
          <p:nvPr>
            <p:ph idx="1"/>
          </p:nvPr>
        </p:nvSpPr>
        <p:spPr>
          <a:xfrm>
            <a:off x="440522" y="1328322"/>
            <a:ext cx="11149580" cy="4276950"/>
          </a:xfrm>
        </p:spPr>
        <p:txBody>
          <a:bodyPr/>
          <a:lstStyle/>
          <a:p>
            <a:pPr lvl="1"/>
            <a:r>
              <a:rPr lang="en-US"/>
              <a:t>To assist in the determination and selection of a client’s appropriate Social Security payment schedule, an additional question, </a:t>
            </a:r>
            <a:r>
              <a:rPr lang="en-US" b="1" i="1">
                <a:solidFill>
                  <a:srgbClr val="1D2550"/>
                </a:solidFill>
              </a:rPr>
              <a:t>“Do any of these uncommon situations apply to your client?” </a:t>
            </a:r>
            <a:r>
              <a:rPr lang="en-US"/>
              <a:t>will be asked. </a:t>
            </a:r>
          </a:p>
          <a:p>
            <a:pPr lvl="2"/>
            <a:r>
              <a:rPr lang="en-US"/>
              <a:t>Based on the client’s response to the question, a recommended payment schedule will be presented. </a:t>
            </a:r>
          </a:p>
          <a:p>
            <a:pPr lvl="2"/>
            <a:r>
              <a:rPr lang="en-US"/>
              <a:t>You and your client can choose to accept or override the recommended payment schedule.</a:t>
            </a:r>
          </a:p>
          <a:p>
            <a:pPr lvl="2"/>
            <a:endParaRPr lang="en-US"/>
          </a:p>
        </p:txBody>
      </p:sp>
      <p:sp>
        <p:nvSpPr>
          <p:cNvPr id="5" name="Slide Number Placeholder 4">
            <a:extLst>
              <a:ext uri="{FF2B5EF4-FFF2-40B4-BE49-F238E27FC236}">
                <a16:creationId xmlns:a16="http://schemas.microsoft.com/office/drawing/2014/main" id="{B28DCD33-2C50-DA21-8A16-51F7D8847CB9}"/>
              </a:ext>
            </a:extLst>
          </p:cNvPr>
          <p:cNvSpPr>
            <a:spLocks noGrp="1"/>
          </p:cNvSpPr>
          <p:nvPr>
            <p:ph type="sldNum" sz="quarter" idx="18"/>
          </p:nvPr>
        </p:nvSpPr>
        <p:spPr/>
        <p:txBody>
          <a:bodyPr/>
          <a:lstStyle/>
          <a:p>
            <a:fld id="{1C1606C5-D483-4832-A0E9-CF578A9B5883}" type="slidenum">
              <a:rPr lang="en-US" smtClean="0"/>
              <a:pPr/>
              <a:t>34</a:t>
            </a:fld>
            <a:endParaRPr lang="en-US"/>
          </a:p>
        </p:txBody>
      </p:sp>
      <p:sp>
        <p:nvSpPr>
          <p:cNvPr id="103" name="Title 15">
            <a:extLst>
              <a:ext uri="{FF2B5EF4-FFF2-40B4-BE49-F238E27FC236}">
                <a16:creationId xmlns:a16="http://schemas.microsoft.com/office/drawing/2014/main" id="{9A3C5BFD-E001-797F-2691-F55844A021B3}"/>
              </a:ext>
            </a:extLst>
          </p:cNvPr>
          <p:cNvSpPr>
            <a:spLocks noGrp="1"/>
          </p:cNvSpPr>
          <p:nvPr>
            <p:ph type="title"/>
          </p:nvPr>
        </p:nvSpPr>
        <p:spPr>
          <a:xfrm>
            <a:off x="518098" y="37406"/>
            <a:ext cx="11149580" cy="889109"/>
          </a:xfrm>
        </p:spPr>
        <p:txBody>
          <a:bodyPr vert="horz" anchor="b" anchorCtr="0"/>
          <a:lstStyle/>
          <a:p>
            <a:r>
              <a:rPr lang="en-US">
                <a:solidFill>
                  <a:srgbClr val="1D2550"/>
                </a:solidFill>
              </a:rPr>
              <a:t>Payment Improvements</a:t>
            </a:r>
          </a:p>
        </p:txBody>
      </p:sp>
      <p:pic>
        <p:nvPicPr>
          <p:cNvPr id="8" name="Picture 7">
            <a:extLst>
              <a:ext uri="{FF2B5EF4-FFF2-40B4-BE49-F238E27FC236}">
                <a16:creationId xmlns:a16="http://schemas.microsoft.com/office/drawing/2014/main" id="{18A59D74-1901-7BCC-C63F-27272BCC99C1}"/>
              </a:ext>
            </a:extLst>
          </p:cNvPr>
          <p:cNvPicPr>
            <a:picLocks noChangeAspect="1"/>
          </p:cNvPicPr>
          <p:nvPr/>
        </p:nvPicPr>
        <p:blipFill>
          <a:blip r:embed="rId4"/>
          <a:srcRect/>
          <a:stretch/>
        </p:blipFill>
        <p:spPr>
          <a:xfrm>
            <a:off x="1300027" y="2704634"/>
            <a:ext cx="8087464" cy="3451880"/>
          </a:xfrm>
          <a:prstGeom prst="rect">
            <a:avLst/>
          </a:prstGeom>
        </p:spPr>
      </p:pic>
      <p:sp>
        <p:nvSpPr>
          <p:cNvPr id="2" name="Text Placeholder 6">
            <a:extLst>
              <a:ext uri="{FF2B5EF4-FFF2-40B4-BE49-F238E27FC236}">
                <a16:creationId xmlns:a16="http://schemas.microsoft.com/office/drawing/2014/main" id="{49767D7D-24DF-783E-0935-6C32F1587C04}"/>
              </a:ext>
            </a:extLst>
          </p:cNvPr>
          <p:cNvSpPr>
            <a:spLocks noGrp="1"/>
          </p:cNvSpPr>
          <p:nvPr>
            <p:ph type="body" sz="quarter" idx="16"/>
          </p:nvPr>
        </p:nvSpPr>
        <p:spPr>
          <a:xfrm>
            <a:off x="518098" y="949286"/>
            <a:ext cx="11149580" cy="358482"/>
          </a:xfrm>
        </p:spPr>
        <p:txBody>
          <a:bodyPr/>
          <a:lstStyle/>
          <a:p>
            <a:r>
              <a:rPr lang="en-US"/>
              <a:t>Enhanced Social Security Billing Recommendations</a:t>
            </a:r>
          </a:p>
        </p:txBody>
      </p:sp>
      <p:sp>
        <p:nvSpPr>
          <p:cNvPr id="3" name="Text Placeholder 3">
            <a:extLst>
              <a:ext uri="{FF2B5EF4-FFF2-40B4-BE49-F238E27FC236}">
                <a16:creationId xmlns:a16="http://schemas.microsoft.com/office/drawing/2014/main" id="{330ABF80-A2C6-44E7-054D-D02AC3184911}"/>
              </a:ext>
            </a:extLst>
          </p:cNvPr>
          <p:cNvSpPr>
            <a:spLocks noGrp="1"/>
          </p:cNvSpPr>
          <p:nvPr>
            <p:ph type="body" sz="quarter" idx="14"/>
          </p:nvPr>
        </p:nvSpPr>
        <p:spPr>
          <a:xfrm>
            <a:off x="806402" y="6049950"/>
            <a:ext cx="5289593" cy="808050"/>
          </a:xfrm>
        </p:spPr>
        <p:txBody>
          <a:bodyPr/>
          <a:lstStyle/>
          <a:p>
            <a:r>
              <a:rPr lang="en-US"/>
              <a:t>Agent Use Only. Not For Public Use.</a:t>
            </a:r>
          </a:p>
        </p:txBody>
      </p:sp>
    </p:spTree>
    <p:custDataLst>
      <p:tags r:id="rId1"/>
    </p:custDataLst>
    <p:extLst>
      <p:ext uri="{BB962C8B-B14F-4D97-AF65-F5344CB8AC3E}">
        <p14:creationId xmlns:p14="http://schemas.microsoft.com/office/powerpoint/2010/main" val="221022204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1C4D46-E9B7-E0F8-E2A2-B10E3BCC5EA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AC30A6E-69AE-7B2B-C3DF-C189381BB771}"/>
              </a:ext>
            </a:extLst>
          </p:cNvPr>
          <p:cNvSpPr>
            <a:spLocks noGrp="1"/>
          </p:cNvSpPr>
          <p:nvPr>
            <p:ph type="title"/>
          </p:nvPr>
        </p:nvSpPr>
        <p:spPr/>
        <p:txBody>
          <a:bodyPr/>
          <a:lstStyle/>
          <a:p>
            <a:r>
              <a:rPr lang="en-US" sz="2400">
                <a:latin typeface="+mn-lt"/>
              </a:rPr>
              <a:t>Transamerica FE Express Solution</a:t>
            </a:r>
            <a:r>
              <a:rPr lang="en-US" sz="2400">
                <a:latin typeface="Calibri" panose="020F0502020204030204" pitchFamily="34" charset="0"/>
                <a:ea typeface="Calibri" panose="020F0502020204030204" pitchFamily="34" charset="0"/>
                <a:cs typeface="Calibri" panose="020F0502020204030204" pitchFamily="34" charset="0"/>
              </a:rPr>
              <a:t>℠</a:t>
            </a:r>
            <a:br>
              <a:rPr lang="en-US"/>
            </a:br>
            <a:r>
              <a:rPr lang="en-US"/>
              <a:t>Agent Sync and Resources Page</a:t>
            </a:r>
          </a:p>
        </p:txBody>
      </p:sp>
      <p:sp>
        <p:nvSpPr>
          <p:cNvPr id="4" name="Slide Number Placeholder 3">
            <a:extLst>
              <a:ext uri="{FF2B5EF4-FFF2-40B4-BE49-F238E27FC236}">
                <a16:creationId xmlns:a16="http://schemas.microsoft.com/office/drawing/2014/main" id="{0D09655C-EFCE-24BB-CE6C-C24B5DA93A6F}"/>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1606C5-D483-4832-A0E9-CF578A9B588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Text Placeholder 8">
            <a:extLst>
              <a:ext uri="{FF2B5EF4-FFF2-40B4-BE49-F238E27FC236}">
                <a16:creationId xmlns:a16="http://schemas.microsoft.com/office/drawing/2014/main" id="{B053826F-0A8C-DDAA-B780-3838DE64D0A2}"/>
              </a:ext>
            </a:extLst>
          </p:cNvPr>
          <p:cNvSpPr txBox="1">
            <a:spLocks/>
          </p:cNvSpPr>
          <p:nvPr/>
        </p:nvSpPr>
        <p:spPr>
          <a:xfrm>
            <a:off x="7404946" y="6352974"/>
            <a:ext cx="2504282" cy="291176"/>
          </a:xfrm>
          <a:prstGeom prst="rect">
            <a:avLst/>
          </a:prstGeom>
          <a:solidFill>
            <a:srgbClr val="1D2550"/>
          </a:solidFill>
        </p:spPr>
        <p:txBody>
          <a:bodyPr vert="horz" wrap="none" lIns="75600" tIns="75600" rIns="75600" bIns="75600" rtlCol="0" anchor="b" anchorCtr="0">
            <a:spAutoFit/>
          </a:bodyPr>
          <a:lstStyle>
            <a:lvl1pPr marL="228600" indent="-228600" algn="l" defTabSz="914400" rtl="0" eaLnBrk="1" latinLnBrk="0" hangingPunct="1">
              <a:lnSpc>
                <a:spcPct val="90000"/>
              </a:lnSpc>
              <a:spcBef>
                <a:spcPts val="0"/>
              </a:spcBef>
              <a:buFont typeface="Arial" panose="020B0604020202020204" pitchFamily="34" charset="0"/>
              <a:buChar char="•"/>
              <a:defRPr sz="1000" kern="1200">
                <a:solidFill>
                  <a:schemeClr val="bg1"/>
                </a:solidFill>
                <a:latin typeface="Open Sans Condensed Condensed" pitchFamily="2" charset="0"/>
                <a:ea typeface="Open Sans Condensed Condensed" pitchFamily="2" charset="0"/>
                <a:cs typeface="Open Sans Condensed Condensed"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Open Sans Condensed Condensed" pitchFamily="2" charset="0"/>
                <a:ea typeface="Open Sans Condensed Condensed" pitchFamily="2" charset="0"/>
                <a:cs typeface="Open Sans Condensed Condensed" pitchFamily="2" charset="0"/>
              </a:rPr>
              <a:t>Internal Use Only. Not for Public Use.</a:t>
            </a:r>
          </a:p>
        </p:txBody>
      </p:sp>
      <p:sp>
        <p:nvSpPr>
          <p:cNvPr id="7" name="Text Placeholder 6">
            <a:extLst>
              <a:ext uri="{FF2B5EF4-FFF2-40B4-BE49-F238E27FC236}">
                <a16:creationId xmlns:a16="http://schemas.microsoft.com/office/drawing/2014/main" id="{7038E231-4846-C9AE-9ADC-4CA705250F20}"/>
              </a:ext>
            </a:extLst>
          </p:cNvPr>
          <p:cNvSpPr>
            <a:spLocks noGrp="1"/>
          </p:cNvSpPr>
          <p:nvPr>
            <p:ph type="body" sz="quarter" idx="13"/>
          </p:nvPr>
        </p:nvSpPr>
        <p:spPr/>
        <p:txBody>
          <a:bodyPr/>
          <a:lstStyle/>
          <a:p>
            <a:endParaRPr lang="en-US"/>
          </a:p>
        </p:txBody>
      </p:sp>
    </p:spTree>
    <p:custDataLst>
      <p:tags r:id="rId1"/>
    </p:custDataLst>
    <p:extLst>
      <p:ext uri="{BB962C8B-B14F-4D97-AF65-F5344CB8AC3E}">
        <p14:creationId xmlns:p14="http://schemas.microsoft.com/office/powerpoint/2010/main" val="44165162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94FCBF-D2CE-AD46-E37D-8C83FB1D8B6E}"/>
            </a:ext>
          </a:extLst>
        </p:cNvPr>
        <p:cNvGrpSpPr/>
        <p:nvPr/>
      </p:nvGrpSpPr>
      <p:grpSpPr>
        <a:xfrm>
          <a:off x="0" y="0"/>
          <a:ext cx="0" cy="0"/>
          <a:chOff x="0" y="0"/>
          <a:chExt cx="0" cy="0"/>
        </a:xfrm>
      </p:grpSpPr>
      <p:sp>
        <p:nvSpPr>
          <p:cNvPr id="92" name="Content Placeholder 91">
            <a:extLst>
              <a:ext uri="{FF2B5EF4-FFF2-40B4-BE49-F238E27FC236}">
                <a16:creationId xmlns:a16="http://schemas.microsoft.com/office/drawing/2014/main" id="{E627576B-30D7-0B85-AF7E-9DCFD611A61D}"/>
              </a:ext>
            </a:extLst>
          </p:cNvPr>
          <p:cNvSpPr>
            <a:spLocks noGrp="1"/>
          </p:cNvSpPr>
          <p:nvPr>
            <p:ph idx="1"/>
          </p:nvPr>
        </p:nvSpPr>
        <p:spPr>
          <a:xfrm>
            <a:off x="521208" y="1361551"/>
            <a:ext cx="11149580" cy="4276950"/>
          </a:xfrm>
        </p:spPr>
        <p:txBody>
          <a:bodyPr/>
          <a:lstStyle/>
          <a:p>
            <a:endParaRPr lang="en-US"/>
          </a:p>
          <a:p>
            <a:pPr lvl="1"/>
            <a:r>
              <a:rPr lang="en-US" b="1">
                <a:solidFill>
                  <a:srgbClr val="1D2550"/>
                </a:solidFill>
              </a:rPr>
              <a:t>Agent Sync</a:t>
            </a:r>
          </a:p>
          <a:p>
            <a:pPr lvl="2"/>
            <a:r>
              <a:rPr lang="en-US"/>
              <a:t> </a:t>
            </a:r>
            <a:r>
              <a:rPr lang="en-US" sz="1800" kern="100">
                <a:effectLst/>
                <a:latin typeface="Aptos" panose="020B0004020202020204" pitchFamily="34" charset="0"/>
                <a:ea typeface="Aptos" panose="020B0004020202020204" pitchFamily="34" charset="0"/>
                <a:cs typeface="Times New Roman" panose="02020603050405020304" pitchFamily="18" charset="0"/>
              </a:rPr>
              <a:t>The National Insurance Producer Registry, NIPR, is a third party that provides Transamerica, via </a:t>
            </a:r>
            <a:r>
              <a:rPr lang="en-US" sz="1800" b="1" kern="100">
                <a:solidFill>
                  <a:srgbClr val="1D2550"/>
                </a:solidFill>
                <a:effectLst/>
                <a:latin typeface="Aptos" panose="020B0004020202020204" pitchFamily="34" charset="0"/>
                <a:ea typeface="Aptos" panose="020B0004020202020204" pitchFamily="34" charset="0"/>
                <a:cs typeface="Times New Roman" panose="02020603050405020304" pitchFamily="18" charset="0"/>
              </a:rPr>
              <a:t>Agent Sync</a:t>
            </a:r>
            <a:r>
              <a:rPr lang="en-US" sz="1800" kern="100">
                <a:effectLst/>
                <a:latin typeface="Aptos" panose="020B0004020202020204" pitchFamily="34" charset="0"/>
                <a:ea typeface="Aptos" panose="020B0004020202020204" pitchFamily="34" charset="0"/>
                <a:cs typeface="Times New Roman" panose="02020603050405020304" pitchFamily="18" charset="0"/>
              </a:rPr>
              <a:t>, with daily license and agent appointment updates. </a:t>
            </a:r>
            <a:endParaRPr lang="en-US"/>
          </a:p>
          <a:p>
            <a:pPr lvl="1"/>
            <a:r>
              <a:rPr lang="en-US" b="1">
                <a:solidFill>
                  <a:srgbClr val="1D2550"/>
                </a:solidFill>
              </a:rPr>
              <a:t>Resources Page</a:t>
            </a:r>
          </a:p>
          <a:p>
            <a:pPr lvl="2"/>
            <a:r>
              <a:rPr lang="en-US"/>
              <a:t>Easily navigate to on-demand training material directly from the Agent Dashboard.</a:t>
            </a:r>
          </a:p>
          <a:p>
            <a:pPr marL="180000" lvl="2" indent="0">
              <a:buNone/>
            </a:pPr>
            <a:endParaRPr lang="en-US"/>
          </a:p>
          <a:p>
            <a:endParaRPr lang="en-US"/>
          </a:p>
        </p:txBody>
      </p:sp>
      <p:sp>
        <p:nvSpPr>
          <p:cNvPr id="5" name="Slide Number Placeholder 4">
            <a:extLst>
              <a:ext uri="{FF2B5EF4-FFF2-40B4-BE49-F238E27FC236}">
                <a16:creationId xmlns:a16="http://schemas.microsoft.com/office/drawing/2014/main" id="{EC47DFAB-7488-298C-6A83-0FCD65E4F99F}"/>
              </a:ext>
            </a:extLst>
          </p:cNvPr>
          <p:cNvSpPr>
            <a:spLocks noGrp="1"/>
          </p:cNvSpPr>
          <p:nvPr>
            <p:ph type="sldNum" sz="quarter" idx="18"/>
          </p:nvPr>
        </p:nvSpPr>
        <p:spPr/>
        <p:txBody>
          <a:bodyPr/>
          <a:lstStyle/>
          <a:p>
            <a:fld id="{1C1606C5-D483-4832-A0E9-CF578A9B5883}" type="slidenum">
              <a:rPr lang="en-US" smtClean="0"/>
              <a:pPr/>
              <a:t>36</a:t>
            </a:fld>
            <a:endParaRPr lang="en-US"/>
          </a:p>
        </p:txBody>
      </p:sp>
      <p:sp>
        <p:nvSpPr>
          <p:cNvPr id="103" name="Title 15">
            <a:extLst>
              <a:ext uri="{FF2B5EF4-FFF2-40B4-BE49-F238E27FC236}">
                <a16:creationId xmlns:a16="http://schemas.microsoft.com/office/drawing/2014/main" id="{96673E79-20E8-6092-E038-9E9B736693BC}"/>
              </a:ext>
            </a:extLst>
          </p:cNvPr>
          <p:cNvSpPr>
            <a:spLocks noGrp="1"/>
          </p:cNvSpPr>
          <p:nvPr>
            <p:ph type="title"/>
          </p:nvPr>
        </p:nvSpPr>
        <p:spPr>
          <a:xfrm>
            <a:off x="521208" y="324362"/>
            <a:ext cx="11149580" cy="889109"/>
          </a:xfrm>
        </p:spPr>
        <p:txBody>
          <a:bodyPr vert="horz" anchor="b" anchorCtr="0"/>
          <a:lstStyle/>
          <a:p>
            <a:r>
              <a:rPr lang="en-US">
                <a:solidFill>
                  <a:srgbClr val="1D2550"/>
                </a:solidFill>
              </a:rPr>
              <a:t>Agent Sync and Resources Page</a:t>
            </a:r>
          </a:p>
        </p:txBody>
      </p:sp>
      <p:sp>
        <p:nvSpPr>
          <p:cNvPr id="2" name="Text Placeholder 3">
            <a:extLst>
              <a:ext uri="{FF2B5EF4-FFF2-40B4-BE49-F238E27FC236}">
                <a16:creationId xmlns:a16="http://schemas.microsoft.com/office/drawing/2014/main" id="{F1F15FF6-3504-86B6-1683-5BBCDED55FFA}"/>
              </a:ext>
            </a:extLst>
          </p:cNvPr>
          <p:cNvSpPr txBox="1">
            <a:spLocks/>
          </p:cNvSpPr>
          <p:nvPr/>
        </p:nvSpPr>
        <p:spPr>
          <a:xfrm>
            <a:off x="806402" y="6049950"/>
            <a:ext cx="5289593" cy="808050"/>
          </a:xfrm>
          <a:prstGeom prst="rect">
            <a:avLst/>
          </a:prstGeom>
        </p:spPr>
        <p:txBody>
          <a:bodyPr vert="horz" lIns="0" tIns="0" rIns="0" bIns="309600" rtlCol="0" anchor="b" anchorCtr="0">
            <a:noAutofit/>
          </a:bodyPr>
          <a:lstStyle>
            <a:lvl1pPr marL="0" indent="0" algn="l" defTabSz="914400" rtl="0" eaLnBrk="1" latinLnBrk="0" hangingPunct="1">
              <a:lnSpc>
                <a:spcPct val="90000"/>
              </a:lnSpc>
              <a:spcBef>
                <a:spcPts val="0"/>
              </a:spcBef>
              <a:buClr>
                <a:srgbClr val="281805"/>
              </a:buClr>
              <a:buFont typeface="Arial" panose="020B0604020202020204" pitchFamily="34" charset="0"/>
              <a:buChar char="​"/>
              <a:defRPr sz="1000" b="0" i="0" kern="100" spc="-30" baseline="0">
                <a:solidFill>
                  <a:schemeClr val="tx1"/>
                </a:solidFill>
                <a:latin typeface="Open Sans Condensed Condensed" pitchFamily="2" charset="0"/>
                <a:ea typeface="Open Sans Condensed Condensed" pitchFamily="2" charset="0"/>
                <a:cs typeface="Open Sans Condensed Condensed" pitchFamily="2" charset="0"/>
              </a:defRPr>
            </a:lvl1pPr>
            <a:lvl2pPr marL="180000" indent="-180000" algn="l" defTabSz="914400" rtl="0" eaLnBrk="1" latinLnBrk="0" hangingPunct="1">
              <a:lnSpc>
                <a:spcPct val="95000"/>
              </a:lnSpc>
              <a:spcBef>
                <a:spcPts val="0"/>
              </a:spcBef>
              <a:buClrTx/>
              <a:buFont typeface="Wingdings" pitchFamily="2" charset="2"/>
              <a:buChar char="§"/>
              <a:defRPr sz="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0"/>
              </a:spcBef>
              <a:buClrTx/>
              <a:buSzPct val="100000"/>
              <a:buFont typeface="Arial" panose="020E0502030303020204" pitchFamily="34" charset="0"/>
              <a:buChar char="–"/>
              <a:defRPr sz="8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a:t>Agent Use Only. Not For Public Use.</a:t>
            </a:r>
          </a:p>
        </p:txBody>
      </p:sp>
    </p:spTree>
    <p:custDataLst>
      <p:tags r:id="rId1"/>
    </p:custDataLst>
    <p:extLst>
      <p:ext uri="{BB962C8B-B14F-4D97-AF65-F5344CB8AC3E}">
        <p14:creationId xmlns:p14="http://schemas.microsoft.com/office/powerpoint/2010/main" val="233079260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B571CE-B1C6-655D-D8FE-FF7675204B34}"/>
            </a:ext>
          </a:extLst>
        </p:cNvPr>
        <p:cNvGrpSpPr/>
        <p:nvPr/>
      </p:nvGrpSpPr>
      <p:grpSpPr>
        <a:xfrm>
          <a:off x="0" y="0"/>
          <a:ext cx="0" cy="0"/>
          <a:chOff x="0" y="0"/>
          <a:chExt cx="0" cy="0"/>
        </a:xfrm>
      </p:grpSpPr>
      <p:sp>
        <p:nvSpPr>
          <p:cNvPr id="92" name="Content Placeholder 91">
            <a:extLst>
              <a:ext uri="{FF2B5EF4-FFF2-40B4-BE49-F238E27FC236}">
                <a16:creationId xmlns:a16="http://schemas.microsoft.com/office/drawing/2014/main" id="{F41C6EAA-AB4A-CFA9-929C-C6D109586560}"/>
              </a:ext>
            </a:extLst>
          </p:cNvPr>
          <p:cNvSpPr>
            <a:spLocks noGrp="1"/>
          </p:cNvSpPr>
          <p:nvPr>
            <p:ph idx="1"/>
          </p:nvPr>
        </p:nvSpPr>
        <p:spPr>
          <a:xfrm>
            <a:off x="531545" y="990600"/>
            <a:ext cx="6493678" cy="2329278"/>
          </a:xfrm>
        </p:spPr>
        <p:txBody>
          <a:bodyPr/>
          <a:lstStyle/>
          <a:p>
            <a:pPr marL="0" marR="0">
              <a:lnSpc>
                <a:spcPct val="115000"/>
              </a:lnSpc>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Agent Sync allows Transamerica to update agent license and appointment information </a:t>
            </a:r>
            <a:r>
              <a:rPr lang="en-US" sz="1800" b="1" i="1" kern="100">
                <a:solidFill>
                  <a:srgbClr val="1D2550"/>
                </a:solidFill>
                <a:effectLst/>
                <a:latin typeface="Aptos" panose="020B0004020202020204" pitchFamily="34" charset="0"/>
                <a:ea typeface="Aptos" panose="020B0004020202020204" pitchFamily="34" charset="0"/>
                <a:cs typeface="Times New Roman" panose="02020603050405020304" pitchFamily="18" charset="0"/>
              </a:rPr>
              <a:t>automatically</a:t>
            </a:r>
            <a:r>
              <a:rPr lang="en-US" sz="1800" kern="100">
                <a:effectLst/>
                <a:latin typeface="Aptos" panose="020B0004020202020204" pitchFamily="34" charset="0"/>
                <a:ea typeface="Aptos" panose="020B0004020202020204" pitchFamily="34" charset="0"/>
                <a:cs typeface="Times New Roman" panose="02020603050405020304" pitchFamily="18" charset="0"/>
              </a:rPr>
              <a:t>, thus allowing agents and clients to benefit from real-time policy decisions and eliminate delays caused by false or outdated holds due to licensing and appointment issues. </a:t>
            </a:r>
            <a:endParaRPr lang="en-US"/>
          </a:p>
          <a:p>
            <a:pPr lvl="1"/>
            <a:r>
              <a:rPr lang="en-US" sz="1600"/>
              <a:t>The Agent Dashboard provides the date and time of the most recent License sync directly under the agent’s name. </a:t>
            </a:r>
          </a:p>
          <a:p>
            <a:pPr lvl="1"/>
            <a:r>
              <a:rPr lang="en-US" sz="1600"/>
              <a:t>Eliminates the need for agents to directly notify the Transamerica Commissions and Licensing team when adding or updating licenses.</a:t>
            </a:r>
          </a:p>
          <a:p>
            <a:pPr lvl="1"/>
            <a:r>
              <a:rPr lang="en-US" sz="1600"/>
              <a:t> Reduces agent holds and delays due to outdated licensing and appointment data by an estimated 50%, allowing these policies to be placed without delay.</a:t>
            </a:r>
          </a:p>
          <a:p>
            <a:pPr lvl="1"/>
            <a:r>
              <a:rPr lang="en-US" sz="1600"/>
              <a:t>Enables FE Express Solution applications </a:t>
            </a:r>
            <a:r>
              <a:rPr lang="en-US" sz="1600" b="1"/>
              <a:t>and</a:t>
            </a:r>
            <a:r>
              <a:rPr lang="en-US" sz="1600"/>
              <a:t> future instant issue products to process without delay.</a:t>
            </a:r>
          </a:p>
          <a:p>
            <a:pPr lvl="3"/>
            <a:endParaRPr lang="en-US"/>
          </a:p>
          <a:p>
            <a:pPr lvl="2"/>
            <a:endParaRPr lang="en-US"/>
          </a:p>
          <a:p>
            <a:pPr lvl="2"/>
            <a:endParaRPr lang="en-US"/>
          </a:p>
        </p:txBody>
      </p:sp>
      <p:sp>
        <p:nvSpPr>
          <p:cNvPr id="5" name="Slide Number Placeholder 4">
            <a:extLst>
              <a:ext uri="{FF2B5EF4-FFF2-40B4-BE49-F238E27FC236}">
                <a16:creationId xmlns:a16="http://schemas.microsoft.com/office/drawing/2014/main" id="{3E0EAF77-7EF3-FAB8-9BC7-2F0834FDB3BD}"/>
              </a:ext>
            </a:extLst>
          </p:cNvPr>
          <p:cNvSpPr>
            <a:spLocks noGrp="1"/>
          </p:cNvSpPr>
          <p:nvPr>
            <p:ph type="sldNum" sz="quarter" idx="18"/>
          </p:nvPr>
        </p:nvSpPr>
        <p:spPr/>
        <p:txBody>
          <a:bodyPr/>
          <a:lstStyle/>
          <a:p>
            <a:fld id="{1C1606C5-D483-4832-A0E9-CF578A9B5883}" type="slidenum">
              <a:rPr lang="en-US" smtClean="0"/>
              <a:pPr/>
              <a:t>37</a:t>
            </a:fld>
            <a:endParaRPr lang="en-US"/>
          </a:p>
        </p:txBody>
      </p:sp>
      <p:sp>
        <p:nvSpPr>
          <p:cNvPr id="103" name="Title 15">
            <a:extLst>
              <a:ext uri="{FF2B5EF4-FFF2-40B4-BE49-F238E27FC236}">
                <a16:creationId xmlns:a16="http://schemas.microsoft.com/office/drawing/2014/main" id="{D58F8F72-AA78-089A-2FA5-FB5AC17A237C}"/>
              </a:ext>
            </a:extLst>
          </p:cNvPr>
          <p:cNvSpPr>
            <a:spLocks noGrp="1"/>
          </p:cNvSpPr>
          <p:nvPr>
            <p:ph type="title"/>
          </p:nvPr>
        </p:nvSpPr>
        <p:spPr>
          <a:xfrm>
            <a:off x="518098" y="37406"/>
            <a:ext cx="11149580" cy="889109"/>
          </a:xfrm>
        </p:spPr>
        <p:txBody>
          <a:bodyPr vert="horz" anchor="b" anchorCtr="0"/>
          <a:lstStyle/>
          <a:p>
            <a:r>
              <a:rPr lang="en-US">
                <a:solidFill>
                  <a:srgbClr val="1D2550"/>
                </a:solidFill>
              </a:rPr>
              <a:t>Agent Sync</a:t>
            </a:r>
          </a:p>
        </p:txBody>
      </p:sp>
      <p:pic>
        <p:nvPicPr>
          <p:cNvPr id="6" name="Picture 5">
            <a:extLst>
              <a:ext uri="{FF2B5EF4-FFF2-40B4-BE49-F238E27FC236}">
                <a16:creationId xmlns:a16="http://schemas.microsoft.com/office/drawing/2014/main" id="{62178F9F-5575-74BE-AA9F-099EAE0B981A}"/>
              </a:ext>
            </a:extLst>
          </p:cNvPr>
          <p:cNvPicPr>
            <a:picLocks noChangeAspect="1"/>
          </p:cNvPicPr>
          <p:nvPr/>
        </p:nvPicPr>
        <p:blipFill>
          <a:blip r:embed="rId4"/>
          <a:stretch>
            <a:fillRect/>
          </a:stretch>
        </p:blipFill>
        <p:spPr>
          <a:xfrm>
            <a:off x="7620000" y="2286000"/>
            <a:ext cx="4177196" cy="1695450"/>
          </a:xfrm>
          <a:prstGeom prst="rect">
            <a:avLst/>
          </a:prstGeom>
          <a:ln>
            <a:noFill/>
          </a:ln>
          <a:effectLst>
            <a:outerShdw blurRad="292100" dist="139700" dir="2700000" algn="tl" rotWithShape="0">
              <a:srgbClr val="333333">
                <a:alpha val="65000"/>
              </a:srgbClr>
            </a:outerShdw>
          </a:effectLst>
        </p:spPr>
      </p:pic>
      <p:sp>
        <p:nvSpPr>
          <p:cNvPr id="9" name="Arrow: Right 8">
            <a:extLst>
              <a:ext uri="{FF2B5EF4-FFF2-40B4-BE49-F238E27FC236}">
                <a16:creationId xmlns:a16="http://schemas.microsoft.com/office/drawing/2014/main" id="{F5E0D859-0480-18AA-A7D1-D54BB41AC95F}"/>
              </a:ext>
            </a:extLst>
          </p:cNvPr>
          <p:cNvSpPr/>
          <p:nvPr/>
        </p:nvSpPr>
        <p:spPr>
          <a:xfrm>
            <a:off x="7772400" y="3657600"/>
            <a:ext cx="609600" cy="121919"/>
          </a:xfrm>
          <a:prstGeom prst="rightArrow">
            <a:avLst/>
          </a:prstGeom>
          <a:solidFill>
            <a:srgbClr val="CF0000"/>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3">
            <a:extLst>
              <a:ext uri="{FF2B5EF4-FFF2-40B4-BE49-F238E27FC236}">
                <a16:creationId xmlns:a16="http://schemas.microsoft.com/office/drawing/2014/main" id="{B461AF3D-3D05-9DC0-0889-80246BABC8AE}"/>
              </a:ext>
            </a:extLst>
          </p:cNvPr>
          <p:cNvSpPr txBox="1">
            <a:spLocks/>
          </p:cNvSpPr>
          <p:nvPr/>
        </p:nvSpPr>
        <p:spPr>
          <a:xfrm>
            <a:off x="806402" y="6049950"/>
            <a:ext cx="5289593" cy="808050"/>
          </a:xfrm>
          <a:prstGeom prst="rect">
            <a:avLst/>
          </a:prstGeom>
        </p:spPr>
        <p:txBody>
          <a:bodyPr vert="horz" lIns="0" tIns="0" rIns="0" bIns="309600" rtlCol="0" anchor="b" anchorCtr="0">
            <a:noAutofit/>
          </a:bodyPr>
          <a:lstStyle>
            <a:lvl1pPr marL="0" indent="0" algn="l" defTabSz="914400" rtl="0" eaLnBrk="1" latinLnBrk="0" hangingPunct="1">
              <a:lnSpc>
                <a:spcPct val="90000"/>
              </a:lnSpc>
              <a:spcBef>
                <a:spcPts val="0"/>
              </a:spcBef>
              <a:buClr>
                <a:srgbClr val="281805"/>
              </a:buClr>
              <a:buFont typeface="Arial" panose="020B0604020202020204" pitchFamily="34" charset="0"/>
              <a:buChar char="​"/>
              <a:defRPr sz="1000" b="0" i="0" kern="100" spc="-30" baseline="0">
                <a:solidFill>
                  <a:schemeClr val="tx1"/>
                </a:solidFill>
                <a:latin typeface="Open Sans Condensed Condensed" pitchFamily="2" charset="0"/>
                <a:ea typeface="Open Sans Condensed Condensed" pitchFamily="2" charset="0"/>
                <a:cs typeface="Open Sans Condensed Condensed" pitchFamily="2" charset="0"/>
              </a:defRPr>
            </a:lvl1pPr>
            <a:lvl2pPr marL="180000" indent="-180000" algn="l" defTabSz="914400" rtl="0" eaLnBrk="1" latinLnBrk="0" hangingPunct="1">
              <a:lnSpc>
                <a:spcPct val="95000"/>
              </a:lnSpc>
              <a:spcBef>
                <a:spcPts val="0"/>
              </a:spcBef>
              <a:buClrTx/>
              <a:buFont typeface="Wingdings" pitchFamily="2" charset="2"/>
              <a:buChar char="§"/>
              <a:defRPr sz="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0"/>
              </a:spcBef>
              <a:buClrTx/>
              <a:buSzPct val="100000"/>
              <a:buFont typeface="Arial" panose="020E0502030303020204" pitchFamily="34" charset="0"/>
              <a:buChar char="–"/>
              <a:defRPr sz="8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a:t>Agent Use Only. Not For Public Use.</a:t>
            </a:r>
          </a:p>
        </p:txBody>
      </p:sp>
    </p:spTree>
    <p:custDataLst>
      <p:tags r:id="rId1"/>
    </p:custDataLst>
    <p:extLst>
      <p:ext uri="{BB962C8B-B14F-4D97-AF65-F5344CB8AC3E}">
        <p14:creationId xmlns:p14="http://schemas.microsoft.com/office/powerpoint/2010/main" val="117033252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2F4134-A7BD-EBC0-E6EC-0A74D879A24B}"/>
            </a:ext>
          </a:extLst>
        </p:cNvPr>
        <p:cNvGrpSpPr/>
        <p:nvPr/>
      </p:nvGrpSpPr>
      <p:grpSpPr>
        <a:xfrm>
          <a:off x="0" y="0"/>
          <a:ext cx="0" cy="0"/>
          <a:chOff x="0" y="0"/>
          <a:chExt cx="0" cy="0"/>
        </a:xfrm>
      </p:grpSpPr>
      <p:sp>
        <p:nvSpPr>
          <p:cNvPr id="92" name="Content Placeholder 91">
            <a:extLst>
              <a:ext uri="{FF2B5EF4-FFF2-40B4-BE49-F238E27FC236}">
                <a16:creationId xmlns:a16="http://schemas.microsoft.com/office/drawing/2014/main" id="{558E4DDA-1203-587F-4078-9CB7833D84FA}"/>
              </a:ext>
            </a:extLst>
          </p:cNvPr>
          <p:cNvSpPr>
            <a:spLocks noGrp="1"/>
          </p:cNvSpPr>
          <p:nvPr>
            <p:ph idx="1"/>
          </p:nvPr>
        </p:nvSpPr>
        <p:spPr>
          <a:xfrm>
            <a:off x="403200" y="1476876"/>
            <a:ext cx="6493678" cy="2329278"/>
          </a:xfrm>
        </p:spPr>
        <p:txBody>
          <a:bodyPr/>
          <a:lstStyle/>
          <a:p>
            <a:pPr marL="180000" lvl="2" indent="0">
              <a:buNone/>
            </a:pPr>
            <a:r>
              <a:rPr lang="en-US" sz="1800"/>
              <a:t>Easily navigate to on-demand product and learning materials directly from the Agent Dashboard by hovering over the “?” symbol and clicking “Agent Resources Page.”</a:t>
            </a:r>
          </a:p>
          <a:p>
            <a:pPr marL="360000" lvl="3" indent="0">
              <a:buNone/>
            </a:pPr>
            <a:endParaRPr lang="en-US"/>
          </a:p>
          <a:p>
            <a:pPr lvl="2"/>
            <a:endParaRPr lang="en-US"/>
          </a:p>
          <a:p>
            <a:pPr marL="180000" lvl="2" indent="0">
              <a:buNone/>
            </a:pPr>
            <a:endParaRPr lang="en-US"/>
          </a:p>
        </p:txBody>
      </p:sp>
      <p:sp>
        <p:nvSpPr>
          <p:cNvPr id="5" name="Slide Number Placeholder 4">
            <a:extLst>
              <a:ext uri="{FF2B5EF4-FFF2-40B4-BE49-F238E27FC236}">
                <a16:creationId xmlns:a16="http://schemas.microsoft.com/office/drawing/2014/main" id="{1F70A0CD-1626-9356-B8C6-2932B708EE67}"/>
              </a:ext>
            </a:extLst>
          </p:cNvPr>
          <p:cNvSpPr>
            <a:spLocks noGrp="1"/>
          </p:cNvSpPr>
          <p:nvPr>
            <p:ph type="sldNum" sz="quarter" idx="18"/>
          </p:nvPr>
        </p:nvSpPr>
        <p:spPr/>
        <p:txBody>
          <a:bodyPr/>
          <a:lstStyle/>
          <a:p>
            <a:fld id="{1C1606C5-D483-4832-A0E9-CF578A9B5883}" type="slidenum">
              <a:rPr lang="en-US" smtClean="0"/>
              <a:pPr/>
              <a:t>38</a:t>
            </a:fld>
            <a:endParaRPr lang="en-US"/>
          </a:p>
        </p:txBody>
      </p:sp>
      <p:sp>
        <p:nvSpPr>
          <p:cNvPr id="103" name="Title 15">
            <a:extLst>
              <a:ext uri="{FF2B5EF4-FFF2-40B4-BE49-F238E27FC236}">
                <a16:creationId xmlns:a16="http://schemas.microsoft.com/office/drawing/2014/main" id="{52CCF110-02AB-8DBD-49F1-E2B31A873573}"/>
              </a:ext>
            </a:extLst>
          </p:cNvPr>
          <p:cNvSpPr>
            <a:spLocks noGrp="1"/>
          </p:cNvSpPr>
          <p:nvPr>
            <p:ph type="title"/>
          </p:nvPr>
        </p:nvSpPr>
        <p:spPr>
          <a:xfrm>
            <a:off x="518098" y="37406"/>
            <a:ext cx="11149580" cy="889109"/>
          </a:xfrm>
        </p:spPr>
        <p:txBody>
          <a:bodyPr vert="horz" anchor="b" anchorCtr="0"/>
          <a:lstStyle/>
          <a:p>
            <a:r>
              <a:rPr lang="en-US">
                <a:solidFill>
                  <a:srgbClr val="1D2550"/>
                </a:solidFill>
              </a:rPr>
              <a:t>Agent Resources Page</a:t>
            </a:r>
          </a:p>
        </p:txBody>
      </p:sp>
      <p:sp>
        <p:nvSpPr>
          <p:cNvPr id="2" name="Text Placeholder 6">
            <a:extLst>
              <a:ext uri="{FF2B5EF4-FFF2-40B4-BE49-F238E27FC236}">
                <a16:creationId xmlns:a16="http://schemas.microsoft.com/office/drawing/2014/main" id="{945566A6-ED68-FD2F-FE8C-F27743A07031}"/>
              </a:ext>
            </a:extLst>
          </p:cNvPr>
          <p:cNvSpPr>
            <a:spLocks noGrp="1"/>
          </p:cNvSpPr>
          <p:nvPr>
            <p:ph type="body" sz="quarter" idx="16"/>
          </p:nvPr>
        </p:nvSpPr>
        <p:spPr>
          <a:xfrm>
            <a:off x="518098" y="949286"/>
            <a:ext cx="11149580" cy="358482"/>
          </a:xfrm>
        </p:spPr>
        <p:txBody>
          <a:bodyPr/>
          <a:lstStyle/>
          <a:p>
            <a:r>
              <a:rPr lang="en-US"/>
              <a:t>Need Help? </a:t>
            </a:r>
          </a:p>
        </p:txBody>
      </p:sp>
      <p:pic>
        <p:nvPicPr>
          <p:cNvPr id="10" name="Picture 9">
            <a:extLst>
              <a:ext uri="{FF2B5EF4-FFF2-40B4-BE49-F238E27FC236}">
                <a16:creationId xmlns:a16="http://schemas.microsoft.com/office/drawing/2014/main" id="{76A346FF-A3BD-F107-6A2F-3367FDFA34FC}"/>
              </a:ext>
            </a:extLst>
          </p:cNvPr>
          <p:cNvPicPr>
            <a:picLocks noChangeAspect="1"/>
          </p:cNvPicPr>
          <p:nvPr/>
        </p:nvPicPr>
        <p:blipFill>
          <a:blip r:embed="rId4"/>
          <a:stretch>
            <a:fillRect/>
          </a:stretch>
        </p:blipFill>
        <p:spPr>
          <a:xfrm>
            <a:off x="377800" y="3170311"/>
            <a:ext cx="8897243" cy="1638045"/>
          </a:xfrm>
          <a:prstGeom prst="rect">
            <a:avLst/>
          </a:prstGeom>
          <a:ln>
            <a:noFill/>
          </a:ln>
          <a:effectLst>
            <a:outerShdw blurRad="292100" dist="139700" dir="2700000" algn="tl" rotWithShape="0">
              <a:srgbClr val="333333">
                <a:alpha val="65000"/>
              </a:srgbClr>
            </a:outerShdw>
          </a:effectLst>
        </p:spPr>
      </p:pic>
      <p:pic>
        <p:nvPicPr>
          <p:cNvPr id="12" name="Picture 11">
            <a:extLst>
              <a:ext uri="{FF2B5EF4-FFF2-40B4-BE49-F238E27FC236}">
                <a16:creationId xmlns:a16="http://schemas.microsoft.com/office/drawing/2014/main" id="{9551BD0F-2F76-CDF8-9970-66149D4C6D1D}"/>
              </a:ext>
            </a:extLst>
          </p:cNvPr>
          <p:cNvPicPr>
            <a:picLocks noChangeAspect="1"/>
          </p:cNvPicPr>
          <p:nvPr/>
        </p:nvPicPr>
        <p:blipFill>
          <a:blip r:embed="rId5"/>
          <a:stretch>
            <a:fillRect/>
          </a:stretch>
        </p:blipFill>
        <p:spPr>
          <a:xfrm>
            <a:off x="7839636" y="269989"/>
            <a:ext cx="4057183" cy="2449804"/>
          </a:xfrm>
          <a:prstGeom prst="rect">
            <a:avLst/>
          </a:prstGeom>
          <a:solidFill>
            <a:srgbClr val="FFFFFF">
              <a:shade val="85000"/>
            </a:srgbClr>
          </a:solidFill>
          <a:ln w="190500" cap="rnd">
            <a:solidFill>
              <a:srgbClr val="FFFFFF"/>
            </a:solidFill>
          </a:ln>
          <a:effectLst>
            <a:outerShdw blurRad="36195" dist="12700" dir="11400000" algn="tl" rotWithShape="0">
              <a:srgbClr val="000000">
                <a:alpha val="33000"/>
              </a:srgbClr>
            </a:outerShdw>
          </a:effectLst>
          <a:scene3d>
            <a:camera prst="perspectiveContrastingLeftFacing">
              <a:rot lat="540000" lon="2100000" rev="0"/>
            </a:camera>
            <a:lightRig rig="soft" dir="t"/>
          </a:scene3d>
          <a:sp3d contourW="12700" prstMaterial="matte">
            <a:bevelT w="63500" h="50800"/>
            <a:contourClr>
              <a:srgbClr val="C0C0C0"/>
            </a:contourClr>
          </a:sp3d>
        </p:spPr>
      </p:pic>
      <p:sp>
        <p:nvSpPr>
          <p:cNvPr id="3" name="Text Placeholder 3">
            <a:extLst>
              <a:ext uri="{FF2B5EF4-FFF2-40B4-BE49-F238E27FC236}">
                <a16:creationId xmlns:a16="http://schemas.microsoft.com/office/drawing/2014/main" id="{1B770FA6-2BD2-7BFB-89D8-1F71BE42497B}"/>
              </a:ext>
            </a:extLst>
          </p:cNvPr>
          <p:cNvSpPr>
            <a:spLocks noGrp="1"/>
          </p:cNvSpPr>
          <p:nvPr>
            <p:ph type="body" sz="quarter" idx="14"/>
          </p:nvPr>
        </p:nvSpPr>
        <p:spPr>
          <a:xfrm>
            <a:off x="806402" y="6049950"/>
            <a:ext cx="5289593" cy="808050"/>
          </a:xfrm>
        </p:spPr>
        <p:txBody>
          <a:bodyPr/>
          <a:lstStyle/>
          <a:p>
            <a:r>
              <a:rPr lang="en-US"/>
              <a:t>Agent Use Only. Not For Public Use.</a:t>
            </a:r>
          </a:p>
        </p:txBody>
      </p:sp>
      <p:sp>
        <p:nvSpPr>
          <p:cNvPr id="7" name="Rectangle: Rounded Corners 6">
            <a:extLst>
              <a:ext uri="{FF2B5EF4-FFF2-40B4-BE49-F238E27FC236}">
                <a16:creationId xmlns:a16="http://schemas.microsoft.com/office/drawing/2014/main" id="{4FE496AC-A460-C4BC-BDD1-F9F45CE70201}"/>
              </a:ext>
            </a:extLst>
          </p:cNvPr>
          <p:cNvSpPr/>
          <p:nvPr/>
        </p:nvSpPr>
        <p:spPr>
          <a:xfrm>
            <a:off x="6936133" y="3390900"/>
            <a:ext cx="2338910" cy="571500"/>
          </a:xfrm>
          <a:prstGeom prst="roundRect">
            <a:avLst>
              <a:gd name="adj" fmla="val 3240"/>
            </a:avLst>
          </a:prstGeom>
          <a:noFill/>
          <a:ln w="57150">
            <a:solidFill>
              <a:srgbClr val="4CD300"/>
            </a:solid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custDataLst>
      <p:tags r:id="rId1"/>
    </p:custDataLst>
    <p:extLst>
      <p:ext uri="{BB962C8B-B14F-4D97-AF65-F5344CB8AC3E}">
        <p14:creationId xmlns:p14="http://schemas.microsoft.com/office/powerpoint/2010/main" val="410367097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39BD7E-3FFB-DF4F-69F0-14BEACF1808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C025B41-9264-6D62-C50B-F59F33C4D469}"/>
              </a:ext>
            </a:extLst>
          </p:cNvPr>
          <p:cNvSpPr>
            <a:spLocks noGrp="1"/>
          </p:cNvSpPr>
          <p:nvPr>
            <p:ph type="title"/>
          </p:nvPr>
        </p:nvSpPr>
        <p:spPr/>
        <p:txBody>
          <a:bodyPr/>
          <a:lstStyle/>
          <a:p>
            <a:r>
              <a:rPr lang="en-US" sz="2400">
                <a:latin typeface="+mn-lt"/>
              </a:rPr>
              <a:t>Transamerica FE Express Solution</a:t>
            </a:r>
            <a:r>
              <a:rPr lang="en-US" sz="2400">
                <a:latin typeface="Calibri" panose="020F0502020204030204" pitchFamily="34" charset="0"/>
                <a:ea typeface="Calibri" panose="020F0502020204030204" pitchFamily="34" charset="0"/>
                <a:cs typeface="Calibri" panose="020F0502020204030204" pitchFamily="34" charset="0"/>
              </a:rPr>
              <a:t>℠</a:t>
            </a:r>
            <a:br>
              <a:rPr lang="en-US"/>
            </a:br>
            <a:r>
              <a:rPr lang="en-US"/>
              <a:t>Underwriting Enhancements</a:t>
            </a:r>
          </a:p>
        </p:txBody>
      </p:sp>
      <p:sp>
        <p:nvSpPr>
          <p:cNvPr id="4" name="Slide Number Placeholder 3">
            <a:extLst>
              <a:ext uri="{FF2B5EF4-FFF2-40B4-BE49-F238E27FC236}">
                <a16:creationId xmlns:a16="http://schemas.microsoft.com/office/drawing/2014/main" id="{65F8461C-946C-14BF-6313-062C2C3A6F85}"/>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1606C5-D483-4832-A0E9-CF578A9B588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Text Placeholder 8">
            <a:extLst>
              <a:ext uri="{FF2B5EF4-FFF2-40B4-BE49-F238E27FC236}">
                <a16:creationId xmlns:a16="http://schemas.microsoft.com/office/drawing/2014/main" id="{FA173CAD-3FD0-2369-A8A5-1C26D4F73C5F}"/>
              </a:ext>
            </a:extLst>
          </p:cNvPr>
          <p:cNvSpPr txBox="1">
            <a:spLocks/>
          </p:cNvSpPr>
          <p:nvPr/>
        </p:nvSpPr>
        <p:spPr>
          <a:xfrm>
            <a:off x="7404946" y="6352974"/>
            <a:ext cx="2504282" cy="291176"/>
          </a:xfrm>
          <a:prstGeom prst="rect">
            <a:avLst/>
          </a:prstGeom>
          <a:solidFill>
            <a:srgbClr val="1D2550"/>
          </a:solidFill>
        </p:spPr>
        <p:txBody>
          <a:bodyPr vert="horz" wrap="none" lIns="75600" tIns="75600" rIns="75600" bIns="75600" rtlCol="0" anchor="b" anchorCtr="0">
            <a:spAutoFit/>
          </a:bodyPr>
          <a:lstStyle>
            <a:lvl1pPr marL="228600" indent="-228600" algn="l" defTabSz="914400" rtl="0" eaLnBrk="1" latinLnBrk="0" hangingPunct="1">
              <a:lnSpc>
                <a:spcPct val="90000"/>
              </a:lnSpc>
              <a:spcBef>
                <a:spcPts val="0"/>
              </a:spcBef>
              <a:buFont typeface="Arial" panose="020B0604020202020204" pitchFamily="34" charset="0"/>
              <a:buChar char="•"/>
              <a:defRPr sz="1000" kern="1200">
                <a:solidFill>
                  <a:schemeClr val="bg1"/>
                </a:solidFill>
                <a:latin typeface="Open Sans Condensed Condensed" pitchFamily="2" charset="0"/>
                <a:ea typeface="Open Sans Condensed Condensed" pitchFamily="2" charset="0"/>
                <a:cs typeface="Open Sans Condensed Condensed"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Open Sans Condensed Condensed" pitchFamily="2" charset="0"/>
                <a:ea typeface="Open Sans Condensed Condensed" pitchFamily="2" charset="0"/>
                <a:cs typeface="Open Sans Condensed Condensed" pitchFamily="2" charset="0"/>
              </a:rPr>
              <a:t>Internal Use Only. Not for Public Use.</a:t>
            </a:r>
          </a:p>
        </p:txBody>
      </p:sp>
      <p:sp>
        <p:nvSpPr>
          <p:cNvPr id="7" name="Text Placeholder 6">
            <a:extLst>
              <a:ext uri="{FF2B5EF4-FFF2-40B4-BE49-F238E27FC236}">
                <a16:creationId xmlns:a16="http://schemas.microsoft.com/office/drawing/2014/main" id="{E729DAB4-05C0-AF03-BE07-D167A891D936}"/>
              </a:ext>
            </a:extLst>
          </p:cNvPr>
          <p:cNvSpPr>
            <a:spLocks noGrp="1"/>
          </p:cNvSpPr>
          <p:nvPr>
            <p:ph type="body" sz="quarter" idx="13"/>
          </p:nvPr>
        </p:nvSpPr>
        <p:spPr/>
        <p:txBody>
          <a:bodyPr/>
          <a:lstStyle/>
          <a:p>
            <a:endParaRPr lang="en-US"/>
          </a:p>
        </p:txBody>
      </p:sp>
    </p:spTree>
    <p:custDataLst>
      <p:tags r:id="rId1"/>
    </p:custDataLst>
    <p:extLst>
      <p:ext uri="{BB962C8B-B14F-4D97-AF65-F5344CB8AC3E}">
        <p14:creationId xmlns:p14="http://schemas.microsoft.com/office/powerpoint/2010/main" val="24967278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FA5622-9282-E829-C29A-FC5ECED65A9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7ABE54E-6F1E-7020-42D2-0B1D96A2D64E}"/>
              </a:ext>
            </a:extLst>
          </p:cNvPr>
          <p:cNvSpPr>
            <a:spLocks noGrp="1"/>
          </p:cNvSpPr>
          <p:nvPr>
            <p:ph type="title"/>
          </p:nvPr>
        </p:nvSpPr>
        <p:spPr>
          <a:xfrm>
            <a:off x="521208" y="1269000"/>
            <a:ext cx="5574792" cy="4320000"/>
          </a:xfrm>
        </p:spPr>
        <p:txBody>
          <a:bodyPr/>
          <a:lstStyle/>
          <a:p>
            <a:r>
              <a:rPr lang="en-US" sz="2400" dirty="0">
                <a:latin typeface="+mn-lt"/>
              </a:rPr>
              <a:t>Transamerica FE Express Solution</a:t>
            </a:r>
            <a:r>
              <a:rPr lang="en-US" sz="2400" dirty="0">
                <a:latin typeface="Calibri" panose="020F0502020204030204" pitchFamily="34" charset="0"/>
                <a:ea typeface="Calibri" panose="020F0502020204030204" pitchFamily="34" charset="0"/>
                <a:cs typeface="Calibri" panose="020F0502020204030204" pitchFamily="34" charset="0"/>
              </a:rPr>
              <a:t>℠</a:t>
            </a:r>
            <a:br>
              <a:rPr lang="en-US" dirty="0"/>
            </a:br>
            <a:r>
              <a:rPr lang="en-US" dirty="0"/>
              <a:t>Additional documents now available </a:t>
            </a:r>
          </a:p>
        </p:txBody>
      </p:sp>
      <p:sp>
        <p:nvSpPr>
          <p:cNvPr id="4" name="Slide Number Placeholder 3">
            <a:extLst>
              <a:ext uri="{FF2B5EF4-FFF2-40B4-BE49-F238E27FC236}">
                <a16:creationId xmlns:a16="http://schemas.microsoft.com/office/drawing/2014/main" id="{B803F722-0782-750C-2934-93BAB3A67F01}"/>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1606C5-D483-4832-A0E9-CF578A9B588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Text Placeholder 8">
            <a:extLst>
              <a:ext uri="{FF2B5EF4-FFF2-40B4-BE49-F238E27FC236}">
                <a16:creationId xmlns:a16="http://schemas.microsoft.com/office/drawing/2014/main" id="{C68F596D-7CEB-01AC-079A-35C1B0C11646}"/>
              </a:ext>
            </a:extLst>
          </p:cNvPr>
          <p:cNvSpPr txBox="1">
            <a:spLocks/>
          </p:cNvSpPr>
          <p:nvPr/>
        </p:nvSpPr>
        <p:spPr>
          <a:xfrm>
            <a:off x="7404946" y="6352974"/>
            <a:ext cx="2411308" cy="291176"/>
          </a:xfrm>
          <a:prstGeom prst="rect">
            <a:avLst/>
          </a:prstGeom>
          <a:solidFill>
            <a:srgbClr val="1D2550"/>
          </a:solidFill>
        </p:spPr>
        <p:txBody>
          <a:bodyPr vert="horz" wrap="none" lIns="75600" tIns="75600" rIns="75600" bIns="75600" rtlCol="0" anchor="b" anchorCtr="0">
            <a:spAutoFit/>
          </a:bodyPr>
          <a:lstStyle>
            <a:lvl1pPr marL="228600" indent="-228600" algn="l" defTabSz="914400" rtl="0" eaLnBrk="1" latinLnBrk="0" hangingPunct="1">
              <a:lnSpc>
                <a:spcPct val="90000"/>
              </a:lnSpc>
              <a:spcBef>
                <a:spcPts val="0"/>
              </a:spcBef>
              <a:buFont typeface="Arial" panose="020B0604020202020204" pitchFamily="34" charset="0"/>
              <a:buChar char="•"/>
              <a:defRPr sz="1000" kern="1200">
                <a:solidFill>
                  <a:schemeClr val="bg1"/>
                </a:solidFill>
                <a:latin typeface="Open Sans Condensed Condensed" pitchFamily="2" charset="0"/>
                <a:ea typeface="Open Sans Condensed Condensed" pitchFamily="2" charset="0"/>
                <a:cs typeface="Open Sans Condensed Condensed"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Open Sans Condensed Condensed" pitchFamily="2" charset="0"/>
                <a:ea typeface="Open Sans Condensed Condensed" pitchFamily="2" charset="0"/>
                <a:cs typeface="Open Sans Condensed Condensed" pitchFamily="2" charset="0"/>
              </a:rPr>
              <a:t>Agent Use Only. Not for Public Use.</a:t>
            </a:r>
          </a:p>
        </p:txBody>
      </p:sp>
      <p:sp>
        <p:nvSpPr>
          <p:cNvPr id="3" name="Text Placeholder 22">
            <a:extLst>
              <a:ext uri="{FF2B5EF4-FFF2-40B4-BE49-F238E27FC236}">
                <a16:creationId xmlns:a16="http://schemas.microsoft.com/office/drawing/2014/main" id="{0120EF51-74B5-5436-6026-25C6316C2EEE}"/>
              </a:ext>
            </a:extLst>
          </p:cNvPr>
          <p:cNvSpPr>
            <a:spLocks noGrp="1"/>
          </p:cNvSpPr>
          <p:nvPr>
            <p:ph type="body" sz="quarter" idx="13"/>
          </p:nvPr>
        </p:nvSpPr>
        <p:spPr>
          <a:xfrm>
            <a:off x="521208" y="4145475"/>
            <a:ext cx="7878792" cy="252000"/>
          </a:xfrm>
        </p:spPr>
        <p:txBody>
          <a:bodyPr vert="horz" lIns="91440" tIns="45720" rIns="91440" bIns="45720" rtlCol="0" anchor="t">
            <a:noAutofit/>
          </a:bodyPr>
          <a:lstStyle/>
          <a:p>
            <a:r>
              <a:rPr lang="en-US" sz="1800" dirty="0">
                <a:solidFill>
                  <a:schemeClr val="tx1"/>
                </a:solidFill>
              </a:rPr>
              <a:t>Effective December 2025</a:t>
            </a:r>
          </a:p>
        </p:txBody>
      </p:sp>
    </p:spTree>
    <p:custDataLst>
      <p:tags r:id="rId1"/>
    </p:custDataLst>
    <p:extLst>
      <p:ext uri="{BB962C8B-B14F-4D97-AF65-F5344CB8AC3E}">
        <p14:creationId xmlns:p14="http://schemas.microsoft.com/office/powerpoint/2010/main" val="423013948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A25CC4-C3D4-07AD-0F81-66CB0D92129E}"/>
            </a:ext>
          </a:extLst>
        </p:cNvPr>
        <p:cNvGrpSpPr/>
        <p:nvPr/>
      </p:nvGrpSpPr>
      <p:grpSpPr>
        <a:xfrm>
          <a:off x="0" y="0"/>
          <a:ext cx="0" cy="0"/>
          <a:chOff x="0" y="0"/>
          <a:chExt cx="0" cy="0"/>
        </a:xfrm>
      </p:grpSpPr>
      <p:sp>
        <p:nvSpPr>
          <p:cNvPr id="92" name="Content Placeholder 91">
            <a:extLst>
              <a:ext uri="{FF2B5EF4-FFF2-40B4-BE49-F238E27FC236}">
                <a16:creationId xmlns:a16="http://schemas.microsoft.com/office/drawing/2014/main" id="{72D87E64-B3C1-0766-88DC-6F01F15B91AC}"/>
              </a:ext>
            </a:extLst>
          </p:cNvPr>
          <p:cNvSpPr>
            <a:spLocks noGrp="1"/>
          </p:cNvSpPr>
          <p:nvPr>
            <p:ph idx="1"/>
          </p:nvPr>
        </p:nvSpPr>
        <p:spPr>
          <a:xfrm>
            <a:off x="521208" y="1361551"/>
            <a:ext cx="11149580" cy="4276950"/>
          </a:xfrm>
        </p:spPr>
        <p:txBody>
          <a:bodyPr/>
          <a:lstStyle/>
          <a:p>
            <a:r>
              <a:rPr lang="en-US"/>
              <a:t>Our underwriting philosophy on </a:t>
            </a:r>
            <a:r>
              <a:rPr lang="en-US" err="1"/>
              <a:t>comorbids</a:t>
            </a:r>
            <a:r>
              <a:rPr lang="en-US"/>
              <a:t> is relaxing. </a:t>
            </a:r>
          </a:p>
          <a:p>
            <a:endParaRPr lang="en-US"/>
          </a:p>
          <a:p>
            <a:pPr lvl="1"/>
            <a:r>
              <a:rPr lang="en-US" b="1">
                <a:solidFill>
                  <a:srgbClr val="1D2550"/>
                </a:solidFill>
              </a:rPr>
              <a:t>What’s Changing?</a:t>
            </a:r>
          </a:p>
          <a:p>
            <a:pPr lvl="2"/>
            <a:r>
              <a:rPr lang="en-US"/>
              <a:t>We will remove independent </a:t>
            </a:r>
            <a:r>
              <a:rPr lang="en-US" err="1"/>
              <a:t>comorbids</a:t>
            </a:r>
            <a:r>
              <a:rPr lang="en-US"/>
              <a:t> (Ex. Diabetes and Kidney Failure)</a:t>
            </a:r>
          </a:p>
          <a:p>
            <a:pPr lvl="2"/>
            <a:r>
              <a:rPr lang="en-US"/>
              <a:t>Removing irregular heartbeat, chest pain, and CAD as a comorbid.</a:t>
            </a:r>
          </a:p>
          <a:p>
            <a:pPr marL="180000" lvl="2" indent="0">
              <a:buNone/>
            </a:pPr>
            <a:endParaRPr lang="en-US"/>
          </a:p>
          <a:p>
            <a:pPr lvl="1"/>
            <a:r>
              <a:rPr lang="en-US" b="1">
                <a:solidFill>
                  <a:srgbClr val="1D2550"/>
                </a:solidFill>
              </a:rPr>
              <a:t>What Does This Mean?</a:t>
            </a:r>
          </a:p>
          <a:p>
            <a:pPr lvl="2"/>
            <a:r>
              <a:rPr lang="en-US"/>
              <a:t>Instead of 2 conditions, we will now only consider comorbid risk cases that have 3 or more comorbidities.</a:t>
            </a:r>
          </a:p>
          <a:p>
            <a:pPr lvl="3"/>
            <a:r>
              <a:rPr lang="en-US"/>
              <a:t>Ex. Irregular heartbeat, CHF, and stroke are no longer considered comorbidity.</a:t>
            </a:r>
          </a:p>
          <a:p>
            <a:pPr lvl="2"/>
            <a:r>
              <a:rPr lang="en-US"/>
              <a:t>Because Irregular heartbeat is no longer considered a condition classified as a comorbid, and a comorbid requires 3 conditions.</a:t>
            </a:r>
          </a:p>
          <a:p>
            <a:pPr lvl="3"/>
            <a:r>
              <a:rPr lang="en-US"/>
              <a:t>Ex. Stroke &amp; CHF is now Select instead of Decline.</a:t>
            </a:r>
          </a:p>
          <a:p>
            <a:pPr marL="360000" lvl="3" indent="0">
              <a:buNone/>
            </a:pPr>
            <a:endParaRPr lang="en-US"/>
          </a:p>
          <a:p>
            <a:pPr lvl="1"/>
            <a:r>
              <a:rPr lang="en-US" b="1">
                <a:solidFill>
                  <a:srgbClr val="1D2550"/>
                </a:solidFill>
              </a:rPr>
              <a:t>Production Date:</a:t>
            </a:r>
          </a:p>
          <a:p>
            <a:pPr lvl="2"/>
            <a:r>
              <a:rPr lang="en-US">
                <a:latin typeface="+mn-lt"/>
                <a:cs typeface="Times New Roman" panose="02020603050405020304" pitchFamily="18" charset="0"/>
              </a:rPr>
              <a:t>02/19/2025</a:t>
            </a:r>
            <a:endParaRPr lang="en-US"/>
          </a:p>
        </p:txBody>
      </p:sp>
      <p:sp>
        <p:nvSpPr>
          <p:cNvPr id="5" name="Slide Number Placeholder 4">
            <a:extLst>
              <a:ext uri="{FF2B5EF4-FFF2-40B4-BE49-F238E27FC236}">
                <a16:creationId xmlns:a16="http://schemas.microsoft.com/office/drawing/2014/main" id="{1E99199D-9124-3729-B228-5E769A81EF8C}"/>
              </a:ext>
            </a:extLst>
          </p:cNvPr>
          <p:cNvSpPr>
            <a:spLocks noGrp="1"/>
          </p:cNvSpPr>
          <p:nvPr>
            <p:ph type="sldNum" sz="quarter" idx="18"/>
          </p:nvPr>
        </p:nvSpPr>
        <p:spPr/>
        <p:txBody>
          <a:bodyPr/>
          <a:lstStyle/>
          <a:p>
            <a:fld id="{1C1606C5-D483-4832-A0E9-CF578A9B5883}" type="slidenum">
              <a:rPr lang="en-US" smtClean="0"/>
              <a:pPr/>
              <a:t>40</a:t>
            </a:fld>
            <a:endParaRPr lang="en-US"/>
          </a:p>
        </p:txBody>
      </p:sp>
      <p:sp>
        <p:nvSpPr>
          <p:cNvPr id="103" name="Title 15">
            <a:extLst>
              <a:ext uri="{FF2B5EF4-FFF2-40B4-BE49-F238E27FC236}">
                <a16:creationId xmlns:a16="http://schemas.microsoft.com/office/drawing/2014/main" id="{C1BAFF66-D032-4C01-5016-7115C5B36CF3}"/>
              </a:ext>
            </a:extLst>
          </p:cNvPr>
          <p:cNvSpPr>
            <a:spLocks noGrp="1"/>
          </p:cNvSpPr>
          <p:nvPr>
            <p:ph type="title"/>
          </p:nvPr>
        </p:nvSpPr>
        <p:spPr>
          <a:xfrm>
            <a:off x="521208" y="324362"/>
            <a:ext cx="11149580" cy="889109"/>
          </a:xfrm>
        </p:spPr>
        <p:txBody>
          <a:bodyPr vert="horz" anchor="b" anchorCtr="0"/>
          <a:lstStyle/>
          <a:p>
            <a:r>
              <a:rPr lang="en-US" err="1">
                <a:solidFill>
                  <a:srgbClr val="1D2550"/>
                </a:solidFill>
              </a:rPr>
              <a:t>Comorbids</a:t>
            </a:r>
            <a:endParaRPr lang="en-US">
              <a:solidFill>
                <a:srgbClr val="1D2550"/>
              </a:solidFill>
            </a:endParaRPr>
          </a:p>
        </p:txBody>
      </p:sp>
      <p:sp>
        <p:nvSpPr>
          <p:cNvPr id="2" name="Text Placeholder 3">
            <a:extLst>
              <a:ext uri="{FF2B5EF4-FFF2-40B4-BE49-F238E27FC236}">
                <a16:creationId xmlns:a16="http://schemas.microsoft.com/office/drawing/2014/main" id="{739D84F5-F495-9837-2F2D-58254AD270C4}"/>
              </a:ext>
            </a:extLst>
          </p:cNvPr>
          <p:cNvSpPr txBox="1">
            <a:spLocks/>
          </p:cNvSpPr>
          <p:nvPr/>
        </p:nvSpPr>
        <p:spPr>
          <a:xfrm>
            <a:off x="806402" y="6049950"/>
            <a:ext cx="5289593" cy="808050"/>
          </a:xfrm>
          <a:prstGeom prst="rect">
            <a:avLst/>
          </a:prstGeom>
        </p:spPr>
        <p:txBody>
          <a:bodyPr vert="horz" lIns="0" tIns="0" rIns="0" bIns="309600" rtlCol="0" anchor="b" anchorCtr="0">
            <a:noAutofit/>
          </a:bodyPr>
          <a:lstStyle>
            <a:lvl1pPr marL="0" indent="0" algn="l" defTabSz="914400" rtl="0" eaLnBrk="1" latinLnBrk="0" hangingPunct="1">
              <a:lnSpc>
                <a:spcPct val="90000"/>
              </a:lnSpc>
              <a:spcBef>
                <a:spcPts val="0"/>
              </a:spcBef>
              <a:buClr>
                <a:srgbClr val="281805"/>
              </a:buClr>
              <a:buFont typeface="Arial" panose="020B0604020202020204" pitchFamily="34" charset="0"/>
              <a:buChar char="​"/>
              <a:defRPr sz="1000" b="0" i="0" kern="100" spc="-30" baseline="0">
                <a:solidFill>
                  <a:schemeClr val="tx1"/>
                </a:solidFill>
                <a:latin typeface="Open Sans Condensed Condensed" pitchFamily="2" charset="0"/>
                <a:ea typeface="Open Sans Condensed Condensed" pitchFamily="2" charset="0"/>
                <a:cs typeface="Open Sans Condensed Condensed" pitchFamily="2" charset="0"/>
              </a:defRPr>
            </a:lvl1pPr>
            <a:lvl2pPr marL="180000" indent="-180000" algn="l" defTabSz="914400" rtl="0" eaLnBrk="1" latinLnBrk="0" hangingPunct="1">
              <a:lnSpc>
                <a:spcPct val="95000"/>
              </a:lnSpc>
              <a:spcBef>
                <a:spcPts val="0"/>
              </a:spcBef>
              <a:buClrTx/>
              <a:buFont typeface="Wingdings" pitchFamily="2" charset="2"/>
              <a:buChar char="§"/>
              <a:defRPr sz="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0"/>
              </a:spcBef>
              <a:buClrTx/>
              <a:buSzPct val="100000"/>
              <a:buFont typeface="Arial" panose="020E0502030303020204" pitchFamily="34" charset="0"/>
              <a:buChar char="–"/>
              <a:defRPr sz="8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a:t>Agent Use Only. Not For Public Use.</a:t>
            </a:r>
          </a:p>
        </p:txBody>
      </p:sp>
    </p:spTree>
    <p:custDataLst>
      <p:tags r:id="rId1"/>
    </p:custDataLst>
    <p:extLst>
      <p:ext uri="{BB962C8B-B14F-4D97-AF65-F5344CB8AC3E}">
        <p14:creationId xmlns:p14="http://schemas.microsoft.com/office/powerpoint/2010/main" val="237842360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C908A3-07C5-3B43-D6A7-780F1C82F1AD}"/>
            </a:ext>
          </a:extLst>
        </p:cNvPr>
        <p:cNvGrpSpPr/>
        <p:nvPr/>
      </p:nvGrpSpPr>
      <p:grpSpPr>
        <a:xfrm>
          <a:off x="0" y="0"/>
          <a:ext cx="0" cy="0"/>
          <a:chOff x="0" y="0"/>
          <a:chExt cx="0" cy="0"/>
        </a:xfrm>
      </p:grpSpPr>
      <p:sp>
        <p:nvSpPr>
          <p:cNvPr id="92" name="Content Placeholder 91">
            <a:extLst>
              <a:ext uri="{FF2B5EF4-FFF2-40B4-BE49-F238E27FC236}">
                <a16:creationId xmlns:a16="http://schemas.microsoft.com/office/drawing/2014/main" id="{9BFC5D21-14D7-6D24-03DE-EE36A8E8281A}"/>
              </a:ext>
            </a:extLst>
          </p:cNvPr>
          <p:cNvSpPr>
            <a:spLocks noGrp="1"/>
          </p:cNvSpPr>
          <p:nvPr>
            <p:ph idx="1"/>
          </p:nvPr>
        </p:nvSpPr>
        <p:spPr>
          <a:xfrm>
            <a:off x="521208" y="1361551"/>
            <a:ext cx="11149580" cy="4276950"/>
          </a:xfrm>
        </p:spPr>
        <p:txBody>
          <a:bodyPr/>
          <a:lstStyle/>
          <a:p>
            <a:r>
              <a:rPr lang="en-US"/>
              <a:t>Our underwriting philosophy around hospitalizations is changing. </a:t>
            </a:r>
          </a:p>
          <a:p>
            <a:endParaRPr lang="en-US"/>
          </a:p>
          <a:p>
            <a:pPr lvl="1"/>
            <a:r>
              <a:rPr lang="en-US" b="1">
                <a:solidFill>
                  <a:srgbClr val="1D2550"/>
                </a:solidFill>
              </a:rPr>
              <a:t>What’s Changing?</a:t>
            </a:r>
          </a:p>
          <a:p>
            <a:pPr lvl="2"/>
            <a:r>
              <a:rPr lang="en-US" kern="100">
                <a:effectLst/>
                <a:latin typeface="+mn-lt"/>
                <a:ea typeface="Aptos" panose="020B0004020202020204" pitchFamily="34" charset="0"/>
                <a:cs typeface="Times New Roman" panose="02020603050405020304" pitchFamily="18" charset="0"/>
              </a:rPr>
              <a:t>Currently, we do not allow individuals who have spent </a:t>
            </a:r>
            <a:r>
              <a:rPr lang="en-US">
                <a:latin typeface="+mn-lt"/>
                <a:ea typeface="Aptos" panose="020B0004020202020204" pitchFamily="34" charset="0"/>
                <a:cs typeface="Times New Roman" panose="02020603050405020304" pitchFamily="18" charset="0"/>
              </a:rPr>
              <a:t>two or more consecutive nights</a:t>
            </a:r>
            <a:r>
              <a:rPr lang="en-US" kern="100">
                <a:effectLst/>
                <a:latin typeface="+mn-lt"/>
                <a:ea typeface="Aptos" panose="020B0004020202020204" pitchFamily="34" charset="0"/>
                <a:cs typeface="Times New Roman" panose="02020603050405020304" pitchFamily="18" charset="0"/>
              </a:rPr>
              <a:t> in a hospital to continue. Now, we will allow "yes" responses to continue, but we will verify against the overall risk score to ensure they are acceptable. </a:t>
            </a:r>
          </a:p>
          <a:p>
            <a:pPr marL="180000" lvl="2" indent="0">
              <a:buNone/>
            </a:pPr>
            <a:endParaRPr lang="en-US" kern="100">
              <a:effectLst/>
              <a:latin typeface="+mn-lt"/>
              <a:ea typeface="Aptos" panose="020B0004020202020204" pitchFamily="34" charset="0"/>
              <a:cs typeface="Times New Roman" panose="02020603050405020304" pitchFamily="18" charset="0"/>
            </a:endParaRPr>
          </a:p>
          <a:p>
            <a:pPr lvl="1"/>
            <a:r>
              <a:rPr lang="en-US" b="1">
                <a:solidFill>
                  <a:srgbClr val="1D2550"/>
                </a:solidFill>
              </a:rPr>
              <a:t>What Does This Mean?</a:t>
            </a:r>
          </a:p>
          <a:p>
            <a:pPr lvl="2"/>
            <a:r>
              <a:rPr lang="en-US">
                <a:latin typeface="+mn-lt"/>
                <a:ea typeface="Aptos" panose="020B0004020202020204" pitchFamily="34" charset="0"/>
                <a:cs typeface="Times New Roman" panose="02020603050405020304" pitchFamily="18" charset="0"/>
              </a:rPr>
              <a:t>We </a:t>
            </a:r>
            <a:r>
              <a:rPr lang="en-US" kern="100">
                <a:effectLst/>
                <a:latin typeface="+mn-lt"/>
                <a:ea typeface="Aptos" panose="020B0004020202020204" pitchFamily="34" charset="0"/>
                <a:cs typeface="Times New Roman" panose="02020603050405020304" pitchFamily="18" charset="0"/>
              </a:rPr>
              <a:t>are now utilizing </a:t>
            </a:r>
            <a:r>
              <a:rPr lang="en-US" b="1" kern="100">
                <a:solidFill>
                  <a:srgbClr val="1D2550"/>
                </a:solidFill>
                <a:effectLst/>
                <a:latin typeface="+mn-lt"/>
                <a:ea typeface="Aptos" panose="020B0004020202020204" pitchFamily="34" charset="0"/>
                <a:cs typeface="Times New Roman" panose="02020603050405020304" pitchFamily="18" charset="0"/>
              </a:rPr>
              <a:t>two</a:t>
            </a:r>
            <a:r>
              <a:rPr lang="en-US" kern="100">
                <a:effectLst/>
                <a:latin typeface="+mn-lt"/>
                <a:ea typeface="Aptos" panose="020B0004020202020204" pitchFamily="34" charset="0"/>
                <a:cs typeface="Times New Roman" panose="02020603050405020304" pitchFamily="18" charset="0"/>
              </a:rPr>
              <a:t> decision points instead of declining after only one indicator.</a:t>
            </a:r>
          </a:p>
          <a:p>
            <a:pPr lvl="2"/>
            <a:endParaRPr lang="en-US"/>
          </a:p>
          <a:p>
            <a:pPr lvl="1"/>
            <a:r>
              <a:rPr lang="en-US" b="1">
                <a:solidFill>
                  <a:srgbClr val="1D2550"/>
                </a:solidFill>
              </a:rPr>
              <a:t>Production Date:</a:t>
            </a:r>
          </a:p>
          <a:p>
            <a:pPr lvl="2"/>
            <a:r>
              <a:rPr lang="en-US">
                <a:latin typeface="+mn-lt"/>
                <a:cs typeface="Times New Roman" panose="02020603050405020304" pitchFamily="18" charset="0"/>
              </a:rPr>
              <a:t>02/18/2025</a:t>
            </a:r>
            <a:endParaRPr lang="en-US"/>
          </a:p>
          <a:p>
            <a:pPr lvl="2"/>
            <a:endParaRPr lang="en-US"/>
          </a:p>
          <a:p>
            <a:endParaRPr lang="en-US"/>
          </a:p>
        </p:txBody>
      </p:sp>
      <p:sp>
        <p:nvSpPr>
          <p:cNvPr id="5" name="Slide Number Placeholder 4">
            <a:extLst>
              <a:ext uri="{FF2B5EF4-FFF2-40B4-BE49-F238E27FC236}">
                <a16:creationId xmlns:a16="http://schemas.microsoft.com/office/drawing/2014/main" id="{4C18E1BB-84CE-A740-2E01-CF254E8FD8E8}"/>
              </a:ext>
            </a:extLst>
          </p:cNvPr>
          <p:cNvSpPr>
            <a:spLocks noGrp="1"/>
          </p:cNvSpPr>
          <p:nvPr>
            <p:ph type="sldNum" sz="quarter" idx="18"/>
          </p:nvPr>
        </p:nvSpPr>
        <p:spPr/>
        <p:txBody>
          <a:bodyPr/>
          <a:lstStyle/>
          <a:p>
            <a:fld id="{1C1606C5-D483-4832-A0E9-CF578A9B5883}" type="slidenum">
              <a:rPr lang="en-US" smtClean="0"/>
              <a:pPr/>
              <a:t>41</a:t>
            </a:fld>
            <a:endParaRPr lang="en-US"/>
          </a:p>
        </p:txBody>
      </p:sp>
      <p:sp>
        <p:nvSpPr>
          <p:cNvPr id="103" name="Title 15">
            <a:extLst>
              <a:ext uri="{FF2B5EF4-FFF2-40B4-BE49-F238E27FC236}">
                <a16:creationId xmlns:a16="http://schemas.microsoft.com/office/drawing/2014/main" id="{DA20F51A-97D0-7204-37CC-5A053D8784AC}"/>
              </a:ext>
            </a:extLst>
          </p:cNvPr>
          <p:cNvSpPr>
            <a:spLocks noGrp="1"/>
          </p:cNvSpPr>
          <p:nvPr>
            <p:ph type="title"/>
          </p:nvPr>
        </p:nvSpPr>
        <p:spPr>
          <a:xfrm>
            <a:off x="521208" y="324362"/>
            <a:ext cx="11149580" cy="889109"/>
          </a:xfrm>
        </p:spPr>
        <p:txBody>
          <a:bodyPr vert="horz" anchor="b" anchorCtr="0"/>
          <a:lstStyle/>
          <a:p>
            <a:r>
              <a:rPr lang="en-US">
                <a:solidFill>
                  <a:srgbClr val="1D2550"/>
                </a:solidFill>
              </a:rPr>
              <a:t>Hospitalization</a:t>
            </a:r>
          </a:p>
        </p:txBody>
      </p:sp>
      <p:sp>
        <p:nvSpPr>
          <p:cNvPr id="2" name="Text Placeholder 3">
            <a:extLst>
              <a:ext uri="{FF2B5EF4-FFF2-40B4-BE49-F238E27FC236}">
                <a16:creationId xmlns:a16="http://schemas.microsoft.com/office/drawing/2014/main" id="{28F5113C-DA0E-D5BD-39DC-85C16C4FCBEB}"/>
              </a:ext>
            </a:extLst>
          </p:cNvPr>
          <p:cNvSpPr txBox="1">
            <a:spLocks/>
          </p:cNvSpPr>
          <p:nvPr/>
        </p:nvSpPr>
        <p:spPr>
          <a:xfrm>
            <a:off x="806402" y="6049950"/>
            <a:ext cx="5289593" cy="808050"/>
          </a:xfrm>
          <a:prstGeom prst="rect">
            <a:avLst/>
          </a:prstGeom>
        </p:spPr>
        <p:txBody>
          <a:bodyPr vert="horz" lIns="0" tIns="0" rIns="0" bIns="309600" rtlCol="0" anchor="b" anchorCtr="0">
            <a:noAutofit/>
          </a:bodyPr>
          <a:lstStyle>
            <a:lvl1pPr marL="0" indent="0" algn="l" defTabSz="914400" rtl="0" eaLnBrk="1" latinLnBrk="0" hangingPunct="1">
              <a:lnSpc>
                <a:spcPct val="90000"/>
              </a:lnSpc>
              <a:spcBef>
                <a:spcPts val="0"/>
              </a:spcBef>
              <a:buClr>
                <a:srgbClr val="281805"/>
              </a:buClr>
              <a:buFont typeface="Arial" panose="020B0604020202020204" pitchFamily="34" charset="0"/>
              <a:buChar char="​"/>
              <a:defRPr sz="1000" b="0" i="0" kern="100" spc="-30" baseline="0">
                <a:solidFill>
                  <a:schemeClr val="tx1"/>
                </a:solidFill>
                <a:latin typeface="Open Sans Condensed Condensed" pitchFamily="2" charset="0"/>
                <a:ea typeface="Open Sans Condensed Condensed" pitchFamily="2" charset="0"/>
                <a:cs typeface="Open Sans Condensed Condensed" pitchFamily="2" charset="0"/>
              </a:defRPr>
            </a:lvl1pPr>
            <a:lvl2pPr marL="180000" indent="-180000" algn="l" defTabSz="914400" rtl="0" eaLnBrk="1" latinLnBrk="0" hangingPunct="1">
              <a:lnSpc>
                <a:spcPct val="95000"/>
              </a:lnSpc>
              <a:spcBef>
                <a:spcPts val="0"/>
              </a:spcBef>
              <a:buClrTx/>
              <a:buFont typeface="Wingdings" pitchFamily="2" charset="2"/>
              <a:buChar char="§"/>
              <a:defRPr sz="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0"/>
              </a:spcBef>
              <a:buClrTx/>
              <a:buSzPct val="100000"/>
              <a:buFont typeface="Arial" panose="020E0502030303020204" pitchFamily="34" charset="0"/>
              <a:buChar char="–"/>
              <a:defRPr sz="8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a:t>Agent Use Only. Not For Public Use.</a:t>
            </a:r>
          </a:p>
        </p:txBody>
      </p:sp>
    </p:spTree>
    <p:custDataLst>
      <p:tags r:id="rId1"/>
    </p:custDataLst>
    <p:extLst>
      <p:ext uri="{BB962C8B-B14F-4D97-AF65-F5344CB8AC3E}">
        <p14:creationId xmlns:p14="http://schemas.microsoft.com/office/powerpoint/2010/main" val="159333780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56A3EB-DAE9-A94C-6F30-6FC25E2FC09F}"/>
            </a:ext>
          </a:extLst>
        </p:cNvPr>
        <p:cNvGrpSpPr/>
        <p:nvPr/>
      </p:nvGrpSpPr>
      <p:grpSpPr>
        <a:xfrm>
          <a:off x="0" y="0"/>
          <a:ext cx="0" cy="0"/>
          <a:chOff x="0" y="0"/>
          <a:chExt cx="0" cy="0"/>
        </a:xfrm>
      </p:grpSpPr>
      <p:sp>
        <p:nvSpPr>
          <p:cNvPr id="92" name="Content Placeholder 91">
            <a:extLst>
              <a:ext uri="{FF2B5EF4-FFF2-40B4-BE49-F238E27FC236}">
                <a16:creationId xmlns:a16="http://schemas.microsoft.com/office/drawing/2014/main" id="{1F7E6536-F10D-6E53-D90A-9E498DCDFC57}"/>
              </a:ext>
            </a:extLst>
          </p:cNvPr>
          <p:cNvSpPr>
            <a:spLocks noGrp="1"/>
          </p:cNvSpPr>
          <p:nvPr>
            <p:ph idx="1"/>
          </p:nvPr>
        </p:nvSpPr>
        <p:spPr>
          <a:xfrm>
            <a:off x="521208" y="1361551"/>
            <a:ext cx="11149580" cy="4276950"/>
          </a:xfrm>
        </p:spPr>
        <p:txBody>
          <a:bodyPr/>
          <a:lstStyle/>
          <a:p>
            <a:r>
              <a:rPr lang="en-US"/>
              <a:t>Our underwriting philosophy around memory loss is changing. </a:t>
            </a:r>
          </a:p>
          <a:p>
            <a:endParaRPr lang="en-US"/>
          </a:p>
          <a:p>
            <a:pPr lvl="1"/>
            <a:r>
              <a:rPr lang="en-US" b="1">
                <a:solidFill>
                  <a:srgbClr val="1D2550"/>
                </a:solidFill>
              </a:rPr>
              <a:t>What’s Changing?</a:t>
            </a:r>
          </a:p>
          <a:p>
            <a:pPr lvl="2"/>
            <a:r>
              <a:rPr lang="en-US">
                <a:latin typeface="+mn-lt"/>
                <a:ea typeface="Aptos" panose="020B0004020202020204" pitchFamily="34" charset="0"/>
                <a:cs typeface="Times New Roman" panose="02020603050405020304" pitchFamily="18" charset="0"/>
              </a:rPr>
              <a:t>We will only decline for chronic memory or memory loss within the last 2 years.</a:t>
            </a:r>
          </a:p>
          <a:p>
            <a:pPr marL="180000" lvl="2" indent="0">
              <a:buNone/>
            </a:pPr>
            <a:endParaRPr lang="en-US" kern="100">
              <a:effectLst/>
              <a:latin typeface="+mn-lt"/>
              <a:ea typeface="Aptos" panose="020B0004020202020204" pitchFamily="34" charset="0"/>
              <a:cs typeface="Times New Roman" panose="02020603050405020304" pitchFamily="18" charset="0"/>
            </a:endParaRPr>
          </a:p>
          <a:p>
            <a:pPr lvl="1"/>
            <a:r>
              <a:rPr lang="en-US" b="1">
                <a:solidFill>
                  <a:srgbClr val="1D2550"/>
                </a:solidFill>
              </a:rPr>
              <a:t>What Does This Mean?</a:t>
            </a:r>
          </a:p>
          <a:p>
            <a:pPr lvl="2"/>
            <a:r>
              <a:rPr lang="en-US">
                <a:latin typeface="+mn-lt"/>
                <a:ea typeface="Aptos" panose="020B0004020202020204" pitchFamily="34" charset="0"/>
                <a:cs typeface="Times New Roman" panose="02020603050405020304" pitchFamily="18" charset="0"/>
              </a:rPr>
              <a:t>We will no longer decline for memory loss diagnosed “ever”, only within the last 2 years.</a:t>
            </a:r>
          </a:p>
          <a:p>
            <a:pPr lvl="2"/>
            <a:endParaRPr lang="en-US">
              <a:latin typeface="+mn-lt"/>
              <a:cs typeface="Times New Roman" panose="02020603050405020304" pitchFamily="18" charset="0"/>
            </a:endParaRPr>
          </a:p>
          <a:p>
            <a:pPr lvl="1"/>
            <a:r>
              <a:rPr lang="en-US" b="1">
                <a:solidFill>
                  <a:srgbClr val="1D2550"/>
                </a:solidFill>
              </a:rPr>
              <a:t>Production Date:</a:t>
            </a:r>
          </a:p>
          <a:p>
            <a:pPr lvl="2"/>
            <a:r>
              <a:rPr lang="en-US">
                <a:latin typeface="+mn-lt"/>
                <a:ea typeface="Aptos" panose="020B0004020202020204" pitchFamily="34" charset="0"/>
                <a:cs typeface="Times New Roman" panose="02020603050405020304" pitchFamily="18" charset="0"/>
              </a:rPr>
              <a:t>02/04/2025</a:t>
            </a:r>
            <a:endParaRPr lang="en-US"/>
          </a:p>
          <a:p>
            <a:pPr lvl="2"/>
            <a:endParaRPr lang="en-US"/>
          </a:p>
          <a:p>
            <a:pPr marL="0" lvl="1" indent="0">
              <a:buNone/>
            </a:pPr>
            <a:endParaRPr lang="en-US" b="1">
              <a:solidFill>
                <a:srgbClr val="1D2550"/>
              </a:solidFill>
            </a:endParaRPr>
          </a:p>
          <a:p>
            <a:pPr lvl="2"/>
            <a:endParaRPr lang="en-US"/>
          </a:p>
          <a:p>
            <a:endParaRPr lang="en-US"/>
          </a:p>
        </p:txBody>
      </p:sp>
      <p:sp>
        <p:nvSpPr>
          <p:cNvPr id="5" name="Slide Number Placeholder 4">
            <a:extLst>
              <a:ext uri="{FF2B5EF4-FFF2-40B4-BE49-F238E27FC236}">
                <a16:creationId xmlns:a16="http://schemas.microsoft.com/office/drawing/2014/main" id="{A6FAF4C6-155C-BBCF-C3DF-8CD19A3A8FFD}"/>
              </a:ext>
            </a:extLst>
          </p:cNvPr>
          <p:cNvSpPr>
            <a:spLocks noGrp="1"/>
          </p:cNvSpPr>
          <p:nvPr>
            <p:ph type="sldNum" sz="quarter" idx="18"/>
          </p:nvPr>
        </p:nvSpPr>
        <p:spPr/>
        <p:txBody>
          <a:bodyPr/>
          <a:lstStyle/>
          <a:p>
            <a:fld id="{1C1606C5-D483-4832-A0E9-CF578A9B5883}" type="slidenum">
              <a:rPr lang="en-US" smtClean="0"/>
              <a:pPr/>
              <a:t>42</a:t>
            </a:fld>
            <a:endParaRPr lang="en-US"/>
          </a:p>
        </p:txBody>
      </p:sp>
      <p:sp>
        <p:nvSpPr>
          <p:cNvPr id="103" name="Title 15">
            <a:extLst>
              <a:ext uri="{FF2B5EF4-FFF2-40B4-BE49-F238E27FC236}">
                <a16:creationId xmlns:a16="http://schemas.microsoft.com/office/drawing/2014/main" id="{35D40EEA-393C-7F20-638E-AD12C0D0616D}"/>
              </a:ext>
            </a:extLst>
          </p:cNvPr>
          <p:cNvSpPr>
            <a:spLocks noGrp="1"/>
          </p:cNvSpPr>
          <p:nvPr>
            <p:ph type="title"/>
          </p:nvPr>
        </p:nvSpPr>
        <p:spPr>
          <a:xfrm>
            <a:off x="521208" y="324362"/>
            <a:ext cx="11149580" cy="889109"/>
          </a:xfrm>
        </p:spPr>
        <p:txBody>
          <a:bodyPr vert="horz" anchor="b" anchorCtr="0"/>
          <a:lstStyle/>
          <a:p>
            <a:r>
              <a:rPr lang="en-US">
                <a:solidFill>
                  <a:srgbClr val="1D2550"/>
                </a:solidFill>
              </a:rPr>
              <a:t>Memory Loss</a:t>
            </a:r>
          </a:p>
        </p:txBody>
      </p:sp>
      <p:sp>
        <p:nvSpPr>
          <p:cNvPr id="2" name="Text Placeholder 3">
            <a:extLst>
              <a:ext uri="{FF2B5EF4-FFF2-40B4-BE49-F238E27FC236}">
                <a16:creationId xmlns:a16="http://schemas.microsoft.com/office/drawing/2014/main" id="{C97CEC8C-1BE5-5A6A-A852-1162F394E808}"/>
              </a:ext>
            </a:extLst>
          </p:cNvPr>
          <p:cNvSpPr txBox="1">
            <a:spLocks/>
          </p:cNvSpPr>
          <p:nvPr/>
        </p:nvSpPr>
        <p:spPr>
          <a:xfrm>
            <a:off x="806402" y="6049950"/>
            <a:ext cx="5289593" cy="808050"/>
          </a:xfrm>
          <a:prstGeom prst="rect">
            <a:avLst/>
          </a:prstGeom>
        </p:spPr>
        <p:txBody>
          <a:bodyPr vert="horz" lIns="0" tIns="0" rIns="0" bIns="309600" rtlCol="0" anchor="b" anchorCtr="0">
            <a:noAutofit/>
          </a:bodyPr>
          <a:lstStyle>
            <a:lvl1pPr marL="0" indent="0" algn="l" defTabSz="914400" rtl="0" eaLnBrk="1" latinLnBrk="0" hangingPunct="1">
              <a:lnSpc>
                <a:spcPct val="90000"/>
              </a:lnSpc>
              <a:spcBef>
                <a:spcPts val="0"/>
              </a:spcBef>
              <a:buClr>
                <a:srgbClr val="281805"/>
              </a:buClr>
              <a:buFont typeface="Arial" panose="020B0604020202020204" pitchFamily="34" charset="0"/>
              <a:buChar char="​"/>
              <a:defRPr sz="1000" b="0" i="0" kern="100" spc="-30" baseline="0">
                <a:solidFill>
                  <a:schemeClr val="tx1"/>
                </a:solidFill>
                <a:latin typeface="Open Sans Condensed Condensed" pitchFamily="2" charset="0"/>
                <a:ea typeface="Open Sans Condensed Condensed" pitchFamily="2" charset="0"/>
                <a:cs typeface="Open Sans Condensed Condensed" pitchFamily="2" charset="0"/>
              </a:defRPr>
            </a:lvl1pPr>
            <a:lvl2pPr marL="180000" indent="-180000" algn="l" defTabSz="914400" rtl="0" eaLnBrk="1" latinLnBrk="0" hangingPunct="1">
              <a:lnSpc>
                <a:spcPct val="95000"/>
              </a:lnSpc>
              <a:spcBef>
                <a:spcPts val="0"/>
              </a:spcBef>
              <a:buClrTx/>
              <a:buFont typeface="Wingdings" pitchFamily="2" charset="2"/>
              <a:buChar char="§"/>
              <a:defRPr sz="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0"/>
              </a:spcBef>
              <a:buClrTx/>
              <a:buSzPct val="100000"/>
              <a:buFont typeface="Arial" panose="020E0502030303020204" pitchFamily="34" charset="0"/>
              <a:buChar char="–"/>
              <a:defRPr sz="8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a:t>Agent Use Only. Not For Public Use.</a:t>
            </a:r>
          </a:p>
        </p:txBody>
      </p:sp>
    </p:spTree>
    <p:custDataLst>
      <p:tags r:id="rId1"/>
    </p:custDataLst>
    <p:extLst>
      <p:ext uri="{BB962C8B-B14F-4D97-AF65-F5344CB8AC3E}">
        <p14:creationId xmlns:p14="http://schemas.microsoft.com/office/powerpoint/2010/main" val="335297694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3FBC7C-F6C5-E40C-3DB7-85AFC0F6107A}"/>
            </a:ext>
          </a:extLst>
        </p:cNvPr>
        <p:cNvGrpSpPr/>
        <p:nvPr/>
      </p:nvGrpSpPr>
      <p:grpSpPr>
        <a:xfrm>
          <a:off x="0" y="0"/>
          <a:ext cx="0" cy="0"/>
          <a:chOff x="0" y="0"/>
          <a:chExt cx="0" cy="0"/>
        </a:xfrm>
      </p:grpSpPr>
      <p:sp>
        <p:nvSpPr>
          <p:cNvPr id="92" name="Content Placeholder 91">
            <a:extLst>
              <a:ext uri="{FF2B5EF4-FFF2-40B4-BE49-F238E27FC236}">
                <a16:creationId xmlns:a16="http://schemas.microsoft.com/office/drawing/2014/main" id="{54A754F8-77C6-A05B-FBA1-A2B2028A1CE1}"/>
              </a:ext>
            </a:extLst>
          </p:cNvPr>
          <p:cNvSpPr>
            <a:spLocks noGrp="1"/>
          </p:cNvSpPr>
          <p:nvPr>
            <p:ph idx="1"/>
          </p:nvPr>
        </p:nvSpPr>
        <p:spPr>
          <a:xfrm>
            <a:off x="521208" y="1361551"/>
            <a:ext cx="11149580" cy="4276950"/>
          </a:xfrm>
        </p:spPr>
        <p:txBody>
          <a:bodyPr/>
          <a:lstStyle/>
          <a:p>
            <a:r>
              <a:rPr lang="en-US"/>
              <a:t>Our underwriting philosophy around declining for a single Milliman code is changing. </a:t>
            </a:r>
          </a:p>
          <a:p>
            <a:endParaRPr lang="en-US"/>
          </a:p>
          <a:p>
            <a:pPr lvl="1"/>
            <a:r>
              <a:rPr lang="en-US" b="1">
                <a:solidFill>
                  <a:srgbClr val="1D2550"/>
                </a:solidFill>
              </a:rPr>
              <a:t>What’s Changing?</a:t>
            </a:r>
          </a:p>
          <a:p>
            <a:pPr lvl="2"/>
            <a:r>
              <a:rPr lang="en-US">
                <a:latin typeface="+mn-lt"/>
                <a:ea typeface="Aptos" panose="020B0004020202020204" pitchFamily="34" charset="0"/>
                <a:cs typeface="Times New Roman" panose="02020603050405020304" pitchFamily="18" charset="0"/>
              </a:rPr>
              <a:t>We will only decline a policy for a single Milliman condition or prescription that </a:t>
            </a:r>
            <a:r>
              <a:rPr lang="en-US" b="1" u="sng">
                <a:solidFill>
                  <a:srgbClr val="1D2550"/>
                </a:solidFill>
                <a:latin typeface="+mn-lt"/>
                <a:ea typeface="Aptos" panose="020B0004020202020204" pitchFamily="34" charset="0"/>
                <a:cs typeface="Times New Roman" panose="02020603050405020304" pitchFamily="18" charset="0"/>
              </a:rPr>
              <a:t>also</a:t>
            </a:r>
            <a:r>
              <a:rPr lang="en-US">
                <a:latin typeface="+mn-lt"/>
                <a:ea typeface="Aptos" panose="020B0004020202020204" pitchFamily="34" charset="0"/>
                <a:cs typeface="Times New Roman" panose="02020603050405020304" pitchFamily="18" charset="0"/>
              </a:rPr>
              <a:t> has a higher overall risk score.</a:t>
            </a:r>
          </a:p>
          <a:p>
            <a:pPr marL="180000" lvl="2" indent="0">
              <a:buNone/>
            </a:pPr>
            <a:endParaRPr lang="en-US" kern="100">
              <a:effectLst/>
              <a:latin typeface="+mn-lt"/>
              <a:ea typeface="Aptos" panose="020B0004020202020204" pitchFamily="34" charset="0"/>
              <a:cs typeface="Times New Roman" panose="02020603050405020304" pitchFamily="18" charset="0"/>
            </a:endParaRPr>
          </a:p>
          <a:p>
            <a:pPr lvl="1"/>
            <a:r>
              <a:rPr lang="en-US" b="1">
                <a:solidFill>
                  <a:srgbClr val="1D2550"/>
                </a:solidFill>
              </a:rPr>
              <a:t>What Does This Mean?</a:t>
            </a:r>
          </a:p>
          <a:p>
            <a:pPr lvl="2"/>
            <a:r>
              <a:rPr lang="en-US">
                <a:latin typeface="+mn-lt"/>
                <a:ea typeface="Aptos" panose="020B0004020202020204" pitchFamily="34" charset="0"/>
                <a:cs typeface="Times New Roman" panose="02020603050405020304" pitchFamily="18" charset="0"/>
              </a:rPr>
              <a:t> We will no longer decline a single Milliman condition by itself. </a:t>
            </a:r>
          </a:p>
          <a:p>
            <a:pPr lvl="3"/>
            <a:r>
              <a:rPr lang="en-US">
                <a:latin typeface="+mn-lt"/>
                <a:ea typeface="Aptos" panose="020B0004020202020204" pitchFamily="34" charset="0"/>
                <a:cs typeface="Times New Roman" panose="02020603050405020304" pitchFamily="18" charset="0"/>
              </a:rPr>
              <a:t>Ex. If a Milliman condition or prescription would result in a decline on its own, we will then review the overall risk score to determine if we can offer a policy.</a:t>
            </a:r>
          </a:p>
          <a:p>
            <a:pPr lvl="2"/>
            <a:endParaRPr lang="en-US">
              <a:latin typeface="+mn-lt"/>
              <a:cs typeface="Times New Roman" panose="02020603050405020304" pitchFamily="18" charset="0"/>
            </a:endParaRPr>
          </a:p>
          <a:p>
            <a:pPr lvl="1"/>
            <a:r>
              <a:rPr lang="en-US" b="1">
                <a:solidFill>
                  <a:srgbClr val="1D2550"/>
                </a:solidFill>
              </a:rPr>
              <a:t>Production Date:</a:t>
            </a:r>
          </a:p>
          <a:p>
            <a:pPr lvl="2"/>
            <a:r>
              <a:rPr lang="en-US">
                <a:latin typeface="+mn-lt"/>
                <a:ea typeface="Aptos" panose="020B0004020202020204" pitchFamily="34" charset="0"/>
                <a:cs typeface="Times New Roman" panose="02020603050405020304" pitchFamily="18" charset="0"/>
              </a:rPr>
              <a:t>03/07/2025</a:t>
            </a:r>
            <a:endParaRPr lang="en-US"/>
          </a:p>
          <a:p>
            <a:pPr lvl="2"/>
            <a:endParaRPr lang="en-US"/>
          </a:p>
          <a:p>
            <a:pPr marL="0" lvl="1" indent="0">
              <a:buNone/>
            </a:pPr>
            <a:endParaRPr lang="en-US" b="1">
              <a:solidFill>
                <a:srgbClr val="1D2550"/>
              </a:solidFill>
            </a:endParaRPr>
          </a:p>
          <a:p>
            <a:pPr lvl="2"/>
            <a:endParaRPr lang="en-US"/>
          </a:p>
          <a:p>
            <a:endParaRPr lang="en-US"/>
          </a:p>
        </p:txBody>
      </p:sp>
      <p:sp>
        <p:nvSpPr>
          <p:cNvPr id="5" name="Slide Number Placeholder 4">
            <a:extLst>
              <a:ext uri="{FF2B5EF4-FFF2-40B4-BE49-F238E27FC236}">
                <a16:creationId xmlns:a16="http://schemas.microsoft.com/office/drawing/2014/main" id="{4942988D-48FF-287B-975A-80A7DEBD1EF2}"/>
              </a:ext>
            </a:extLst>
          </p:cNvPr>
          <p:cNvSpPr>
            <a:spLocks noGrp="1"/>
          </p:cNvSpPr>
          <p:nvPr>
            <p:ph type="sldNum" sz="quarter" idx="18"/>
          </p:nvPr>
        </p:nvSpPr>
        <p:spPr/>
        <p:txBody>
          <a:bodyPr/>
          <a:lstStyle/>
          <a:p>
            <a:fld id="{1C1606C5-D483-4832-A0E9-CF578A9B5883}" type="slidenum">
              <a:rPr lang="en-US" smtClean="0"/>
              <a:pPr/>
              <a:t>43</a:t>
            </a:fld>
            <a:endParaRPr lang="en-US"/>
          </a:p>
        </p:txBody>
      </p:sp>
      <p:sp>
        <p:nvSpPr>
          <p:cNvPr id="103" name="Title 15">
            <a:extLst>
              <a:ext uri="{FF2B5EF4-FFF2-40B4-BE49-F238E27FC236}">
                <a16:creationId xmlns:a16="http://schemas.microsoft.com/office/drawing/2014/main" id="{1009230D-F4B8-1E86-4783-32C39A3FC6A4}"/>
              </a:ext>
            </a:extLst>
          </p:cNvPr>
          <p:cNvSpPr>
            <a:spLocks noGrp="1"/>
          </p:cNvSpPr>
          <p:nvPr>
            <p:ph type="title"/>
          </p:nvPr>
        </p:nvSpPr>
        <p:spPr>
          <a:xfrm>
            <a:off x="521208" y="324362"/>
            <a:ext cx="11149580" cy="889109"/>
          </a:xfrm>
        </p:spPr>
        <p:txBody>
          <a:bodyPr vert="horz" anchor="b" anchorCtr="0"/>
          <a:lstStyle/>
          <a:p>
            <a:r>
              <a:rPr lang="en-US">
                <a:solidFill>
                  <a:srgbClr val="1D2550"/>
                </a:solidFill>
              </a:rPr>
              <a:t>Milliman</a:t>
            </a:r>
          </a:p>
        </p:txBody>
      </p:sp>
      <p:sp>
        <p:nvSpPr>
          <p:cNvPr id="2" name="Text Placeholder 3">
            <a:extLst>
              <a:ext uri="{FF2B5EF4-FFF2-40B4-BE49-F238E27FC236}">
                <a16:creationId xmlns:a16="http://schemas.microsoft.com/office/drawing/2014/main" id="{E68E3C66-0C66-4F34-8B4C-41FAB191962B}"/>
              </a:ext>
            </a:extLst>
          </p:cNvPr>
          <p:cNvSpPr txBox="1">
            <a:spLocks/>
          </p:cNvSpPr>
          <p:nvPr/>
        </p:nvSpPr>
        <p:spPr>
          <a:xfrm>
            <a:off x="806402" y="6049950"/>
            <a:ext cx="5289593" cy="808050"/>
          </a:xfrm>
          <a:prstGeom prst="rect">
            <a:avLst/>
          </a:prstGeom>
        </p:spPr>
        <p:txBody>
          <a:bodyPr vert="horz" lIns="0" tIns="0" rIns="0" bIns="309600" rtlCol="0" anchor="b" anchorCtr="0">
            <a:noAutofit/>
          </a:bodyPr>
          <a:lstStyle>
            <a:lvl1pPr marL="0" indent="0" algn="l" defTabSz="914400" rtl="0" eaLnBrk="1" latinLnBrk="0" hangingPunct="1">
              <a:lnSpc>
                <a:spcPct val="90000"/>
              </a:lnSpc>
              <a:spcBef>
                <a:spcPts val="0"/>
              </a:spcBef>
              <a:buClr>
                <a:srgbClr val="281805"/>
              </a:buClr>
              <a:buFont typeface="Arial" panose="020B0604020202020204" pitchFamily="34" charset="0"/>
              <a:buChar char="​"/>
              <a:defRPr sz="1000" b="0" i="0" kern="100" spc="-30" baseline="0">
                <a:solidFill>
                  <a:schemeClr val="tx1"/>
                </a:solidFill>
                <a:latin typeface="Open Sans Condensed Condensed" pitchFamily="2" charset="0"/>
                <a:ea typeface="Open Sans Condensed Condensed" pitchFamily="2" charset="0"/>
                <a:cs typeface="Open Sans Condensed Condensed" pitchFamily="2" charset="0"/>
              </a:defRPr>
            </a:lvl1pPr>
            <a:lvl2pPr marL="180000" indent="-180000" algn="l" defTabSz="914400" rtl="0" eaLnBrk="1" latinLnBrk="0" hangingPunct="1">
              <a:lnSpc>
                <a:spcPct val="95000"/>
              </a:lnSpc>
              <a:spcBef>
                <a:spcPts val="0"/>
              </a:spcBef>
              <a:buClrTx/>
              <a:buFont typeface="Wingdings" pitchFamily="2" charset="2"/>
              <a:buChar char="§"/>
              <a:defRPr sz="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0"/>
              </a:spcBef>
              <a:buClrTx/>
              <a:buSzPct val="100000"/>
              <a:buFont typeface="Arial" panose="020E0502030303020204" pitchFamily="34" charset="0"/>
              <a:buChar char="–"/>
              <a:defRPr sz="8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a:t>Agent Use Only. Not For Public Use.</a:t>
            </a:r>
          </a:p>
        </p:txBody>
      </p:sp>
    </p:spTree>
    <p:custDataLst>
      <p:tags r:id="rId1"/>
    </p:custDataLst>
    <p:extLst>
      <p:ext uri="{BB962C8B-B14F-4D97-AF65-F5344CB8AC3E}">
        <p14:creationId xmlns:p14="http://schemas.microsoft.com/office/powerpoint/2010/main" val="331124901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1D255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B039D4-4BA2-2680-AF52-5DDF6B9C9BC4}"/>
              </a:ext>
            </a:extLst>
          </p:cNvPr>
          <p:cNvSpPr>
            <a:spLocks noGrp="1"/>
          </p:cNvSpPr>
          <p:nvPr>
            <p:ph type="title"/>
          </p:nvPr>
        </p:nvSpPr>
        <p:spPr/>
        <p:txBody>
          <a:bodyPr/>
          <a:lstStyle/>
          <a:p>
            <a:r>
              <a:rPr lang="en-US">
                <a:solidFill>
                  <a:srgbClr val="FFFFFF"/>
                </a:solidFill>
              </a:rPr>
              <a:t>In Summary</a:t>
            </a:r>
          </a:p>
        </p:txBody>
      </p:sp>
      <p:sp>
        <p:nvSpPr>
          <p:cNvPr id="3" name="Text Placeholder 2">
            <a:extLst>
              <a:ext uri="{FF2B5EF4-FFF2-40B4-BE49-F238E27FC236}">
                <a16:creationId xmlns:a16="http://schemas.microsoft.com/office/drawing/2014/main" id="{BD6B037C-B8E0-A44F-4A27-666C4E71325F}"/>
              </a:ext>
            </a:extLst>
          </p:cNvPr>
          <p:cNvSpPr>
            <a:spLocks noGrp="1"/>
          </p:cNvSpPr>
          <p:nvPr>
            <p:ph type="body" sz="quarter" idx="13"/>
          </p:nvPr>
        </p:nvSpPr>
        <p:spPr/>
        <p:txBody>
          <a:bodyPr/>
          <a:lstStyle/>
          <a:p>
            <a:pPr marL="285750" indent="-285750">
              <a:buFont typeface="Wingdings" panose="05000000000000000000" pitchFamily="2" charset="2"/>
              <a:buChar char="§"/>
            </a:pPr>
            <a:r>
              <a:rPr lang="en-US"/>
              <a:t>4 Very impactful changes that will contribute to an overall reduction in declines by 5-10%. </a:t>
            </a:r>
          </a:p>
        </p:txBody>
      </p:sp>
      <p:sp>
        <p:nvSpPr>
          <p:cNvPr id="4" name="Slide Number Placeholder 3">
            <a:extLst>
              <a:ext uri="{FF2B5EF4-FFF2-40B4-BE49-F238E27FC236}">
                <a16:creationId xmlns:a16="http://schemas.microsoft.com/office/drawing/2014/main" id="{CE987944-215D-BD4A-4396-B68329E9563A}"/>
              </a:ext>
            </a:extLst>
          </p:cNvPr>
          <p:cNvSpPr>
            <a:spLocks noGrp="1"/>
          </p:cNvSpPr>
          <p:nvPr>
            <p:ph type="sldNum" sz="quarter" idx="14"/>
          </p:nvPr>
        </p:nvSpPr>
        <p:spPr/>
        <p:txBody>
          <a:bodyPr/>
          <a:lstStyle/>
          <a:p>
            <a:fld id="{1C1606C5-D483-4832-A0E9-CF578A9B5883}" type="slidenum">
              <a:rPr lang="en-US" smtClean="0"/>
              <a:pPr/>
              <a:t>44</a:t>
            </a:fld>
            <a:endParaRPr lang="en-US"/>
          </a:p>
        </p:txBody>
      </p:sp>
      <p:sp>
        <p:nvSpPr>
          <p:cNvPr id="5" name="Text Placeholder 4">
            <a:extLst>
              <a:ext uri="{FF2B5EF4-FFF2-40B4-BE49-F238E27FC236}">
                <a16:creationId xmlns:a16="http://schemas.microsoft.com/office/drawing/2014/main" id="{E957F1AC-32D0-51D8-1888-18B6C04838A2}"/>
              </a:ext>
            </a:extLst>
          </p:cNvPr>
          <p:cNvSpPr>
            <a:spLocks noGrp="1"/>
          </p:cNvSpPr>
          <p:nvPr>
            <p:ph type="body" sz="quarter" idx="15"/>
          </p:nvPr>
        </p:nvSpPr>
        <p:spPr/>
        <p:txBody>
          <a:bodyPr/>
          <a:lstStyle/>
          <a:p>
            <a:r>
              <a:rPr lang="en-US"/>
              <a:t> </a:t>
            </a:r>
          </a:p>
        </p:txBody>
      </p:sp>
      <p:sp>
        <p:nvSpPr>
          <p:cNvPr id="6" name="Text Placeholder 3">
            <a:extLst>
              <a:ext uri="{FF2B5EF4-FFF2-40B4-BE49-F238E27FC236}">
                <a16:creationId xmlns:a16="http://schemas.microsoft.com/office/drawing/2014/main" id="{5E7A144B-C002-8EB7-8A46-0B14B4984DD4}"/>
              </a:ext>
            </a:extLst>
          </p:cNvPr>
          <p:cNvSpPr txBox="1">
            <a:spLocks/>
          </p:cNvSpPr>
          <p:nvPr/>
        </p:nvSpPr>
        <p:spPr>
          <a:xfrm>
            <a:off x="806402" y="6049950"/>
            <a:ext cx="5289593" cy="808050"/>
          </a:xfrm>
          <a:prstGeom prst="rect">
            <a:avLst/>
          </a:prstGeom>
        </p:spPr>
        <p:txBody>
          <a:bodyPr vert="horz" lIns="518400" tIns="0" rIns="64800" bIns="309600" rtlCol="0" anchor="b" anchorCtr="0">
            <a:noAutofit/>
          </a:bodyPr>
          <a:lstStyle>
            <a:defPPr>
              <a:defRPr lang="en-US"/>
            </a:defPPr>
            <a:lvl1pPr marL="0" indent="0" algn="l" defTabSz="914400" rtl="0" eaLnBrk="1" latinLnBrk="0" hangingPunct="1">
              <a:lnSpc>
                <a:spcPct val="95000"/>
              </a:lnSpc>
              <a:spcBef>
                <a:spcPts val="600"/>
              </a:spcBef>
              <a:buClr>
                <a:srgbClr val="281805"/>
              </a:buClr>
              <a:buFont typeface="Arial" panose="020B0604020202020204" pitchFamily="34" charset="0"/>
              <a:buChar char="​"/>
              <a:defRPr sz="9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a:solidFill>
                  <a:schemeClr val="bg1"/>
                </a:solidFill>
              </a:rPr>
              <a:t>Agent Use Only. Not For Public Use</a:t>
            </a:r>
            <a:r>
              <a:rPr lang="en-US"/>
              <a:t>.</a:t>
            </a:r>
          </a:p>
        </p:txBody>
      </p:sp>
    </p:spTree>
    <p:custDataLst>
      <p:tags r:id="rId1"/>
    </p:custDataLst>
    <p:extLst>
      <p:ext uri="{BB962C8B-B14F-4D97-AF65-F5344CB8AC3E}">
        <p14:creationId xmlns:p14="http://schemas.microsoft.com/office/powerpoint/2010/main" val="339283246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64C28C-1B55-1C1C-5AD5-33A342577F4F}"/>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A731E4E-5EA3-99AC-DC31-81883579546B}"/>
              </a:ext>
            </a:extLst>
          </p:cNvPr>
          <p:cNvSpPr>
            <a:spLocks noGrp="1"/>
          </p:cNvSpPr>
          <p:nvPr>
            <p:ph type="sldNum" sz="quarter" idx="16"/>
          </p:nvPr>
        </p:nvSpPr>
        <p:spPr/>
        <p:txBody>
          <a:bodyPr/>
          <a:lstStyle/>
          <a:p>
            <a:fld id="{1C1606C5-D483-4832-A0E9-CF578A9B5883}" type="slidenum">
              <a:rPr lang="en-US" smtClean="0"/>
              <a:pPr/>
              <a:t>45</a:t>
            </a:fld>
            <a:endParaRPr lang="en-US"/>
          </a:p>
        </p:txBody>
      </p:sp>
      <p:sp>
        <p:nvSpPr>
          <p:cNvPr id="5" name="Text Placeholder 4">
            <a:extLst>
              <a:ext uri="{FF2B5EF4-FFF2-40B4-BE49-F238E27FC236}">
                <a16:creationId xmlns:a16="http://schemas.microsoft.com/office/drawing/2014/main" id="{D276A652-45BD-1E95-D4C6-A1AF2C9B41DE}"/>
              </a:ext>
            </a:extLst>
          </p:cNvPr>
          <p:cNvSpPr>
            <a:spLocks noGrp="1"/>
          </p:cNvSpPr>
          <p:nvPr>
            <p:ph type="body" sz="quarter" idx="14"/>
          </p:nvPr>
        </p:nvSpPr>
        <p:spPr/>
        <p:txBody>
          <a:bodyPr/>
          <a:lstStyle/>
          <a:p>
            <a:endParaRPr lang="en-US"/>
          </a:p>
        </p:txBody>
      </p:sp>
      <p:pic>
        <p:nvPicPr>
          <p:cNvPr id="8" name="Picture 7">
            <a:hlinkClick r:id="rId4"/>
            <a:extLst>
              <a:ext uri="{FF2B5EF4-FFF2-40B4-BE49-F238E27FC236}">
                <a16:creationId xmlns:a16="http://schemas.microsoft.com/office/drawing/2014/main" id="{B4DD6E66-9145-3D79-8F1D-22842AF86093}"/>
              </a:ext>
            </a:extLst>
          </p:cNvPr>
          <p:cNvPicPr>
            <a:picLocks noChangeAspect="1"/>
          </p:cNvPicPr>
          <p:nvPr/>
        </p:nvPicPr>
        <p:blipFill>
          <a:blip r:embed="rId5"/>
          <a:srcRect l="3306" t="9331" r="4999" b="7169"/>
          <a:stretch/>
        </p:blipFill>
        <p:spPr>
          <a:xfrm>
            <a:off x="4175098" y="1351060"/>
            <a:ext cx="6692849" cy="4226571"/>
          </a:xfrm>
          <a:prstGeom prst="rect">
            <a:avLst/>
          </a:prstGeom>
        </p:spPr>
      </p:pic>
      <p:pic>
        <p:nvPicPr>
          <p:cNvPr id="9" name="Content Placeholder 8" descr="A black screen with a black background&#10;&#10;AI-generated content may be incorrect.">
            <a:hlinkClick r:id="rId6"/>
            <a:extLst>
              <a:ext uri="{FF2B5EF4-FFF2-40B4-BE49-F238E27FC236}">
                <a16:creationId xmlns:a16="http://schemas.microsoft.com/office/drawing/2014/main" id="{E2FCCBFF-E8D7-F5EB-8F3B-0801F76A1642}"/>
              </a:ext>
            </a:extLst>
          </p:cNvPr>
          <p:cNvPicPr>
            <a:picLocks noGrp="1" noChangeAspect="1"/>
          </p:cNvPicPr>
          <p:nvPr>
            <p:ph idx="1"/>
          </p:nvPr>
        </p:nvPicPr>
        <p:blipFill>
          <a:blip r:embed="rId7">
            <a:extLst>
              <a:ext uri="{28A0092B-C50C-407E-A947-70E740481C1C}">
                <a14:useLocalDpi xmlns:a14="http://schemas.microsoft.com/office/drawing/2010/main" val="0"/>
              </a:ext>
            </a:extLst>
          </a:blip>
          <a:stretch>
            <a:fillRect/>
          </a:stretch>
        </p:blipFill>
        <p:spPr>
          <a:xfrm>
            <a:off x="2665917" y="717128"/>
            <a:ext cx="9812906" cy="5519759"/>
          </a:xfrm>
          <a:prstGeom prst="rect">
            <a:avLst/>
          </a:prstGeom>
        </p:spPr>
      </p:pic>
      <p:sp>
        <p:nvSpPr>
          <p:cNvPr id="14" name="Title 2">
            <a:extLst>
              <a:ext uri="{FF2B5EF4-FFF2-40B4-BE49-F238E27FC236}">
                <a16:creationId xmlns:a16="http://schemas.microsoft.com/office/drawing/2014/main" id="{3317708C-0C42-0BF9-7C2B-BC88FFF094C4}"/>
              </a:ext>
            </a:extLst>
          </p:cNvPr>
          <p:cNvSpPr>
            <a:spLocks noGrp="1"/>
          </p:cNvSpPr>
          <p:nvPr>
            <p:ph type="title"/>
          </p:nvPr>
        </p:nvSpPr>
        <p:spPr>
          <a:xfrm>
            <a:off x="437077" y="-227509"/>
            <a:ext cx="11392972" cy="944637"/>
          </a:xfrm>
        </p:spPr>
        <p:txBody>
          <a:bodyPr/>
          <a:lstStyle/>
          <a:p>
            <a:r>
              <a:rPr lang="en-US">
                <a:solidFill>
                  <a:srgbClr val="1D2550"/>
                </a:solidFill>
              </a:rPr>
              <a:t>Self Guided Demonstration Tool</a:t>
            </a:r>
          </a:p>
        </p:txBody>
      </p:sp>
      <p:sp>
        <p:nvSpPr>
          <p:cNvPr id="16" name="TextBox 15">
            <a:extLst>
              <a:ext uri="{FF2B5EF4-FFF2-40B4-BE49-F238E27FC236}">
                <a16:creationId xmlns:a16="http://schemas.microsoft.com/office/drawing/2014/main" id="{25E31490-D952-D84A-CB9E-CBE81D3C4B34}"/>
              </a:ext>
            </a:extLst>
          </p:cNvPr>
          <p:cNvSpPr txBox="1"/>
          <p:nvPr/>
        </p:nvSpPr>
        <p:spPr>
          <a:xfrm>
            <a:off x="437076" y="1914525"/>
            <a:ext cx="3258623" cy="1676400"/>
          </a:xfrm>
          <a:prstGeom prst="rect">
            <a:avLst/>
          </a:prstGeom>
        </p:spPr>
        <p:txBody>
          <a:bodyPr vert="horz" wrap="none" lIns="0" tIns="0" rIns="0" bIns="0" rtlCol="0">
            <a:noAutofit/>
          </a:bodyPr>
          <a:lstStyle/>
          <a:p>
            <a:pPr algn="l"/>
            <a:r>
              <a:rPr lang="en-US" sz="1600"/>
              <a:t>Want to try it out?</a:t>
            </a:r>
          </a:p>
          <a:p>
            <a:pPr algn="l"/>
            <a:endParaRPr lang="en-US" sz="1600"/>
          </a:p>
          <a:p>
            <a:pPr marL="285750" indent="-285750">
              <a:buFont typeface="Wingdings" panose="05000000000000000000" pitchFamily="2" charset="2"/>
              <a:buChar char="§"/>
            </a:pPr>
            <a:r>
              <a:rPr lang="en-US" sz="1600"/>
              <a:t>Click anywhere on the</a:t>
            </a:r>
          </a:p>
          <a:p>
            <a:r>
              <a:rPr lang="en-US" sz="1600"/>
              <a:t> image to open the self-guided</a:t>
            </a:r>
          </a:p>
          <a:p>
            <a:r>
              <a:rPr lang="en-US" sz="1600"/>
              <a:t>demonstration tool.</a:t>
            </a:r>
          </a:p>
        </p:txBody>
      </p:sp>
    </p:spTree>
    <p:custDataLst>
      <p:tags r:id="rId1"/>
    </p:custDataLst>
    <p:extLst>
      <p:ext uri="{BB962C8B-B14F-4D97-AF65-F5344CB8AC3E}">
        <p14:creationId xmlns:p14="http://schemas.microsoft.com/office/powerpoint/2010/main" val="73148518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69545C-F309-C6F2-83EC-C6A465B152C6}"/>
              </a:ext>
            </a:extLst>
          </p:cNvPr>
          <p:cNvSpPr>
            <a:spLocks noGrp="1"/>
          </p:cNvSpPr>
          <p:nvPr>
            <p:ph type="ctrTitle"/>
          </p:nvPr>
        </p:nvSpPr>
        <p:spPr>
          <a:xfrm>
            <a:off x="521208" y="1559052"/>
            <a:ext cx="5573592" cy="3739896"/>
          </a:xfrm>
        </p:spPr>
        <p:txBody>
          <a:bodyPr/>
          <a:lstStyle/>
          <a:p>
            <a:r>
              <a:rPr lang="en-US" dirty="0"/>
              <a:t>Thank you</a:t>
            </a:r>
          </a:p>
        </p:txBody>
      </p:sp>
      <p:pic>
        <p:nvPicPr>
          <p:cNvPr id="6" name="Picture 2" descr="Roadtrip_hands_on_stearingwheel_oldtimer_Car_Grand_Canyon">
            <a:extLst>
              <a:ext uri="{FF2B5EF4-FFF2-40B4-BE49-F238E27FC236}">
                <a16:creationId xmlns:a16="http://schemas.microsoft.com/office/drawing/2014/main" id="{6F2E621E-0844-E9F8-DAF4-B98FD9250AF7}"/>
              </a:ext>
            </a:extLst>
          </p:cNvPr>
          <p:cNvPicPr>
            <a:picLocks noGrp="1" noChangeAspect="1" noChangeArrowheads="1"/>
          </p:cNvPicPr>
          <p:nvPr>
            <p:ph type="pic" sz="quarter" idx="19"/>
          </p:nvPr>
        </p:nvPicPr>
        <p:blipFill rotWithShape="1">
          <a:blip r:embed="rId4" cstate="hqprint">
            <a:extLst>
              <a:ext uri="{28A0092B-C50C-407E-A947-70E740481C1C}">
                <a14:useLocalDpi xmlns:a14="http://schemas.microsoft.com/office/drawing/2010/main"/>
              </a:ext>
            </a:extLst>
          </a:blip>
          <a:srcRect l="39" r="39"/>
          <a:stretch/>
        </p:blipFill>
        <p:spPr>
          <a:xfrm>
            <a:off x="6327600" y="0"/>
            <a:ext cx="5864400" cy="6858000"/>
          </a:xfrm>
        </p:spPr>
      </p:pic>
      <p:sp>
        <p:nvSpPr>
          <p:cNvPr id="5" name="Text Placeholder 4">
            <a:extLst>
              <a:ext uri="{FF2B5EF4-FFF2-40B4-BE49-F238E27FC236}">
                <a16:creationId xmlns:a16="http://schemas.microsoft.com/office/drawing/2014/main" id="{0280570E-B761-7B50-B2DA-B7F99BF316A4}"/>
              </a:ext>
            </a:extLst>
          </p:cNvPr>
          <p:cNvSpPr>
            <a:spLocks noGrp="1"/>
          </p:cNvSpPr>
          <p:nvPr>
            <p:ph type="body" sz="quarter" idx="14"/>
          </p:nvPr>
        </p:nvSpPr>
        <p:spPr>
          <a:xfrm>
            <a:off x="521209" y="5554454"/>
            <a:ext cx="5696711" cy="1303545"/>
          </a:xfrm>
        </p:spPr>
        <p:txBody>
          <a:bodyPr/>
          <a:lstStyle/>
          <a:p>
            <a:pPr lvl="0"/>
            <a:r>
              <a:rPr lang="en-US" dirty="0"/>
              <a:t>Transamerica FE Express Solution, Policy Form # ICC23 TPWL14IC-0123 and Transamerica Graded FE Express Solution, Policy Form # ICC23 TPWL15IC-0123 are whole</a:t>
            </a:r>
          </a:p>
          <a:p>
            <a:pPr lvl="0"/>
            <a:r>
              <a:rPr lang="en-US" dirty="0"/>
              <a:t>life insurance policies issued by Transamerica Life Insurance Company, Cedar Rapids, IA 52499.</a:t>
            </a:r>
          </a:p>
          <a:p>
            <a:pPr lvl="0"/>
            <a:r>
              <a:rPr lang="en-US" dirty="0"/>
              <a:t> </a:t>
            </a:r>
          </a:p>
          <a:p>
            <a:pPr lvl="0"/>
            <a:r>
              <a:rPr lang="en-US" dirty="0"/>
              <a:t>Not available in New York.</a:t>
            </a:r>
          </a:p>
          <a:p>
            <a:pPr lvl="0"/>
            <a:endParaRPr lang="en-US" dirty="0"/>
          </a:p>
          <a:p>
            <a:pPr lvl="0"/>
            <a:r>
              <a:rPr lang="en-US" dirty="0"/>
              <a:t>4865974R2</a:t>
            </a:r>
          </a:p>
          <a:p>
            <a:pPr lvl="0"/>
            <a:endParaRPr lang="en-US" dirty="0"/>
          </a:p>
          <a:p>
            <a:pPr lvl="0"/>
            <a:r>
              <a:rPr lang="en-US" dirty="0"/>
              <a:t>©2025 Transamerica Corporation. All Rights Reserved.</a:t>
            </a:r>
          </a:p>
        </p:txBody>
      </p:sp>
      <p:sp>
        <p:nvSpPr>
          <p:cNvPr id="7" name="Text Placeholder 6">
            <a:extLst>
              <a:ext uri="{FF2B5EF4-FFF2-40B4-BE49-F238E27FC236}">
                <a16:creationId xmlns:a16="http://schemas.microsoft.com/office/drawing/2014/main" id="{475E141A-3C46-6057-9677-52AFCDDD959D}"/>
              </a:ext>
            </a:extLst>
          </p:cNvPr>
          <p:cNvSpPr>
            <a:spLocks noGrp="1"/>
          </p:cNvSpPr>
          <p:nvPr>
            <p:ph type="body" sz="quarter" idx="20"/>
          </p:nvPr>
        </p:nvSpPr>
        <p:spPr>
          <a:xfrm>
            <a:off x="11430000" y="6248400"/>
            <a:ext cx="609600" cy="609600"/>
          </a:xfrm>
        </p:spPr>
        <p:txBody>
          <a:bodyPr/>
          <a:lstStyle/>
          <a:p>
            <a:r>
              <a:rPr lang="en-US"/>
              <a:t>01/25</a:t>
            </a:r>
          </a:p>
        </p:txBody>
      </p:sp>
      <p:sp>
        <p:nvSpPr>
          <p:cNvPr id="4" name="Text Placeholder 3">
            <a:extLst>
              <a:ext uri="{FF2B5EF4-FFF2-40B4-BE49-F238E27FC236}">
                <a16:creationId xmlns:a16="http://schemas.microsoft.com/office/drawing/2014/main" id="{EA2597BC-B345-5D55-50E6-74460BDF24D8}"/>
              </a:ext>
            </a:extLst>
          </p:cNvPr>
          <p:cNvSpPr txBox="1">
            <a:spLocks/>
          </p:cNvSpPr>
          <p:nvPr/>
        </p:nvSpPr>
        <p:spPr>
          <a:xfrm>
            <a:off x="520700" y="6206226"/>
            <a:ext cx="5289593" cy="808050"/>
          </a:xfrm>
          <a:prstGeom prst="rect">
            <a:avLst/>
          </a:prstGeom>
        </p:spPr>
        <p:txBody>
          <a:bodyPr vert="horz" lIns="0" tIns="0" rIns="0" bIns="309600" rtlCol="0" anchor="b" anchorCtr="0">
            <a:noAutofit/>
          </a:bodyPr>
          <a:lstStyle>
            <a:lvl1pPr marL="0" indent="0" algn="l" defTabSz="914400" rtl="0" eaLnBrk="1" latinLnBrk="0" hangingPunct="1">
              <a:lnSpc>
                <a:spcPct val="90000"/>
              </a:lnSpc>
              <a:spcBef>
                <a:spcPts val="0"/>
              </a:spcBef>
              <a:buClr>
                <a:srgbClr val="281805"/>
              </a:buClr>
              <a:buFont typeface="Arial" panose="020B0604020202020204" pitchFamily="34" charset="0"/>
              <a:buNone/>
              <a:defRPr sz="1000" b="0" i="0" kern="100" spc="-30" baseline="0">
                <a:solidFill>
                  <a:schemeClr val="tx1"/>
                </a:solidFill>
                <a:latin typeface="Open Sans Condensed Condensed" pitchFamily="2" charset="0"/>
                <a:ea typeface="Open Sans Condensed Condensed" pitchFamily="2" charset="0"/>
                <a:cs typeface="Open Sans Condensed Condensed" pitchFamily="2" charset="0"/>
              </a:defRPr>
            </a:lvl1pPr>
            <a:lvl2pPr marL="180000" indent="-180000" algn="l" defTabSz="914400" rtl="0" eaLnBrk="1" latinLnBrk="0" hangingPunct="1">
              <a:lnSpc>
                <a:spcPct val="95000"/>
              </a:lnSpc>
              <a:spcBef>
                <a:spcPts val="0"/>
              </a:spcBef>
              <a:buClrTx/>
              <a:buFont typeface="Wingdings" pitchFamily="2" charset="2"/>
              <a:buChar char="§"/>
              <a:defRPr sz="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0"/>
              </a:spcBef>
              <a:buClrTx/>
              <a:buFont typeface="Arial" panose="020B0604020202020204" pitchFamily="34" charset="0"/>
              <a:buChar char="◦"/>
              <a:defRPr sz="8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0"/>
              </a:spcBef>
              <a:buClrTx/>
              <a:buSzPct val="100000"/>
              <a:buFont typeface="Arial" panose="020E0502030303020204" pitchFamily="34" charset="0"/>
              <a:buChar char="–"/>
              <a:defRPr sz="8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a:t>Agent Use Only. Not For Public Use.</a:t>
            </a:r>
          </a:p>
        </p:txBody>
      </p:sp>
    </p:spTree>
    <p:custDataLst>
      <p:tags r:id="rId1"/>
    </p:custDataLst>
    <p:extLst>
      <p:ext uri="{BB962C8B-B14F-4D97-AF65-F5344CB8AC3E}">
        <p14:creationId xmlns:p14="http://schemas.microsoft.com/office/powerpoint/2010/main" val="33260244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EF4E53-47F3-F2A9-6C93-CA0B6D67D35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301BEED-6C14-6C20-23AC-D59FF70286E8}"/>
              </a:ext>
            </a:extLst>
          </p:cNvPr>
          <p:cNvSpPr>
            <a:spLocks noGrp="1"/>
          </p:cNvSpPr>
          <p:nvPr>
            <p:ph type="title"/>
          </p:nvPr>
        </p:nvSpPr>
        <p:spPr>
          <a:xfrm>
            <a:off x="521205" y="325881"/>
            <a:ext cx="11149580" cy="944637"/>
          </a:xfrm>
        </p:spPr>
        <p:txBody>
          <a:bodyPr/>
          <a:lstStyle/>
          <a:p>
            <a:r>
              <a:rPr lang="en-US" dirty="0">
                <a:solidFill>
                  <a:srgbClr val="1D2550"/>
                </a:solidFill>
              </a:rPr>
              <a:t>Transamerica FE Express Solution</a:t>
            </a:r>
            <a:r>
              <a:rPr lang="en-US" dirty="0">
                <a:solidFill>
                  <a:srgbClr val="1D2550"/>
                </a:solidFill>
                <a:latin typeface="Calibri" panose="020F0502020204030204" pitchFamily="34" charset="0"/>
                <a:ea typeface="Calibri" panose="020F0502020204030204" pitchFamily="34" charset="0"/>
                <a:cs typeface="Calibri" panose="020F0502020204030204" pitchFamily="34" charset="0"/>
              </a:rPr>
              <a:t>℠</a:t>
            </a:r>
            <a:endParaRPr lang="en-US" dirty="0">
              <a:solidFill>
                <a:srgbClr val="1D2550"/>
              </a:solidFill>
            </a:endParaRPr>
          </a:p>
        </p:txBody>
      </p:sp>
      <p:sp>
        <p:nvSpPr>
          <p:cNvPr id="3" name="Text Placeholder 2">
            <a:extLst>
              <a:ext uri="{FF2B5EF4-FFF2-40B4-BE49-F238E27FC236}">
                <a16:creationId xmlns:a16="http://schemas.microsoft.com/office/drawing/2014/main" id="{87DAD1AE-AC77-8F12-3144-9055CE2AAACF}"/>
              </a:ext>
            </a:extLst>
          </p:cNvPr>
          <p:cNvSpPr>
            <a:spLocks noGrp="1"/>
          </p:cNvSpPr>
          <p:nvPr>
            <p:ph type="body" sz="quarter" idx="16"/>
          </p:nvPr>
        </p:nvSpPr>
        <p:spPr>
          <a:xfrm>
            <a:off x="619531" y="1270518"/>
            <a:ext cx="11149580" cy="358482"/>
          </a:xfrm>
        </p:spPr>
        <p:txBody>
          <a:bodyPr/>
          <a:lstStyle/>
          <a:p>
            <a:r>
              <a:rPr lang="en-US" dirty="0"/>
              <a:t>Additional documents are now available from the Policy Promise page</a:t>
            </a:r>
          </a:p>
        </p:txBody>
      </p:sp>
      <p:sp>
        <p:nvSpPr>
          <p:cNvPr id="4" name="Content Placeholder 3">
            <a:extLst>
              <a:ext uri="{FF2B5EF4-FFF2-40B4-BE49-F238E27FC236}">
                <a16:creationId xmlns:a16="http://schemas.microsoft.com/office/drawing/2014/main" id="{9061D8EE-16D8-A03C-F7F5-413511A19B79}"/>
              </a:ext>
            </a:extLst>
          </p:cNvPr>
          <p:cNvSpPr>
            <a:spLocks noGrp="1"/>
          </p:cNvSpPr>
          <p:nvPr>
            <p:ph idx="1"/>
          </p:nvPr>
        </p:nvSpPr>
        <p:spPr>
          <a:xfrm>
            <a:off x="521206" y="1996448"/>
            <a:ext cx="4448630" cy="4276950"/>
          </a:xfrm>
        </p:spPr>
        <p:txBody>
          <a:bodyPr/>
          <a:lstStyle/>
          <a:p>
            <a:r>
              <a:rPr lang="en-US" dirty="0">
                <a:latin typeface="Forever Forma Body Text" panose="00000000000000090000" pitchFamily="50" charset="0"/>
                <a:ea typeface="Calibri" panose="020F0502020204030204" pitchFamily="34" charset="0"/>
                <a:cs typeface="Calibri" panose="020F0502020204030204" pitchFamily="34" charset="0"/>
              </a:rPr>
              <a:t>In addition to the Policy Promise, agents can now download additional documents for their records. </a:t>
            </a:r>
          </a:p>
          <a:p>
            <a:endParaRPr lang="en-US" dirty="0">
              <a:latin typeface="+mn-lt"/>
              <a:ea typeface="Calibri" panose="020F0502020204030204" pitchFamily="34" charset="0"/>
              <a:cs typeface="Calibri" panose="020F0502020204030204" pitchFamily="34" charset="0"/>
            </a:endParaRPr>
          </a:p>
          <a:p>
            <a:pPr marL="0" lvl="1" indent="0">
              <a:buNone/>
            </a:pPr>
            <a:r>
              <a:rPr lang="en-US" b="1" dirty="0">
                <a:solidFill>
                  <a:srgbClr val="1D2550"/>
                </a:solidFill>
              </a:rPr>
              <a:t>Additional documents available</a:t>
            </a:r>
          </a:p>
          <a:p>
            <a:pPr lvl="1"/>
            <a:r>
              <a:rPr lang="en-US" dirty="0"/>
              <a:t>Application- Part A</a:t>
            </a:r>
          </a:p>
          <a:p>
            <a:pPr lvl="1"/>
            <a:r>
              <a:rPr lang="en-US" dirty="0"/>
              <a:t>Application- Part B</a:t>
            </a:r>
          </a:p>
          <a:p>
            <a:pPr lvl="1"/>
            <a:r>
              <a:rPr lang="en-US" dirty="0"/>
              <a:t>Agent Report</a:t>
            </a:r>
          </a:p>
          <a:p>
            <a:pPr marL="360000" lvl="3" indent="0">
              <a:buNone/>
            </a:pPr>
            <a:endParaRPr lang="en-US" dirty="0"/>
          </a:p>
          <a:p>
            <a:pPr marL="360000" lvl="3" indent="0">
              <a:buNone/>
            </a:pPr>
            <a:endParaRPr lang="en-US" dirty="0"/>
          </a:p>
          <a:p>
            <a:pPr marL="285750" indent="-285750"/>
            <a:endParaRPr lang="en-US" dirty="0">
              <a:latin typeface="+mn-lt"/>
            </a:endParaRPr>
          </a:p>
        </p:txBody>
      </p:sp>
      <p:sp>
        <p:nvSpPr>
          <p:cNvPr id="5" name="Slide Number Placeholder 4">
            <a:extLst>
              <a:ext uri="{FF2B5EF4-FFF2-40B4-BE49-F238E27FC236}">
                <a16:creationId xmlns:a16="http://schemas.microsoft.com/office/drawing/2014/main" id="{69971D30-3522-1AAC-C875-216C965B8518}"/>
              </a:ext>
            </a:extLst>
          </p:cNvPr>
          <p:cNvSpPr>
            <a:spLocks noGrp="1"/>
          </p:cNvSpPr>
          <p:nvPr>
            <p:ph type="sldNum" sz="quarter" idx="18"/>
          </p:nvPr>
        </p:nvSpPr>
        <p:spPr/>
        <p:txBody>
          <a:bodyPr/>
          <a:lstStyle/>
          <a:p>
            <a:fld id="{1C1606C5-D483-4832-A0E9-CF578A9B5883}" type="slidenum">
              <a:rPr lang="en-US" smtClean="0"/>
              <a:pPr/>
              <a:t>5</a:t>
            </a:fld>
            <a:endParaRPr lang="en-US"/>
          </a:p>
        </p:txBody>
      </p:sp>
      <p:sp>
        <p:nvSpPr>
          <p:cNvPr id="6" name="Text Placeholder 5">
            <a:extLst>
              <a:ext uri="{FF2B5EF4-FFF2-40B4-BE49-F238E27FC236}">
                <a16:creationId xmlns:a16="http://schemas.microsoft.com/office/drawing/2014/main" id="{5CE1B5CA-8C9D-208B-0FB1-3B01DF5F56C7}"/>
              </a:ext>
            </a:extLst>
          </p:cNvPr>
          <p:cNvSpPr>
            <a:spLocks noGrp="1"/>
          </p:cNvSpPr>
          <p:nvPr>
            <p:ph type="body" sz="quarter" idx="14"/>
          </p:nvPr>
        </p:nvSpPr>
        <p:spPr>
          <a:xfrm>
            <a:off x="806400" y="6236821"/>
            <a:ext cx="5289593" cy="808050"/>
          </a:xfrm>
        </p:spPr>
        <p:txBody>
          <a:bodyPr/>
          <a:lstStyle/>
          <a:p>
            <a:r>
              <a:rPr lang="en-US" dirty="0"/>
              <a:t>Agent Use Only. Not for public use.</a:t>
            </a:r>
          </a:p>
          <a:p>
            <a:endParaRPr lang="en-US" dirty="0"/>
          </a:p>
        </p:txBody>
      </p:sp>
      <p:pic>
        <p:nvPicPr>
          <p:cNvPr id="13" name="Picture 12">
            <a:extLst>
              <a:ext uri="{FF2B5EF4-FFF2-40B4-BE49-F238E27FC236}">
                <a16:creationId xmlns:a16="http://schemas.microsoft.com/office/drawing/2014/main" id="{138B9501-FAAB-35CF-281A-6F462AAB16B7}"/>
              </a:ext>
            </a:extLst>
          </p:cNvPr>
          <p:cNvPicPr>
            <a:picLocks noChangeAspect="1"/>
          </p:cNvPicPr>
          <p:nvPr/>
        </p:nvPicPr>
        <p:blipFill>
          <a:blip r:embed="rId4"/>
          <a:stretch>
            <a:fillRect/>
          </a:stretch>
        </p:blipFill>
        <p:spPr>
          <a:xfrm>
            <a:off x="6194321" y="2087888"/>
            <a:ext cx="4832172" cy="3381201"/>
          </a:xfrm>
          <a:prstGeom prst="rect">
            <a:avLst/>
          </a:prstGeom>
        </p:spPr>
      </p:pic>
      <p:pic>
        <p:nvPicPr>
          <p:cNvPr id="14" name="Picture 13" descr="A close-up of a computer&#10;&#10;AI-generated content may be incorrect.">
            <a:extLst>
              <a:ext uri="{FF2B5EF4-FFF2-40B4-BE49-F238E27FC236}">
                <a16:creationId xmlns:a16="http://schemas.microsoft.com/office/drawing/2014/main" id="{C22F2045-B3A1-F102-41F6-40C8E06CD33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69835" y="1815871"/>
            <a:ext cx="7222165" cy="4062468"/>
          </a:xfrm>
          <a:prstGeom prst="rect">
            <a:avLst/>
          </a:prstGeom>
        </p:spPr>
      </p:pic>
      <p:sp>
        <p:nvSpPr>
          <p:cNvPr id="15" name="Rectangle 14">
            <a:extLst>
              <a:ext uri="{FF2B5EF4-FFF2-40B4-BE49-F238E27FC236}">
                <a16:creationId xmlns:a16="http://schemas.microsoft.com/office/drawing/2014/main" id="{D838F56F-DAF1-1293-7647-648096B0C573}"/>
              </a:ext>
            </a:extLst>
          </p:cNvPr>
          <p:cNvSpPr/>
          <p:nvPr/>
        </p:nvSpPr>
        <p:spPr>
          <a:xfrm>
            <a:off x="6339840" y="4292018"/>
            <a:ext cx="1574800" cy="1102941"/>
          </a:xfrm>
          <a:prstGeom prst="rect">
            <a:avLst/>
          </a:prstGeom>
          <a:noFill/>
          <a:ln w="38100">
            <a:solidFill>
              <a:srgbClr val="4CD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custDataLst>
      <p:tags r:id="rId1"/>
    </p:custDataLst>
    <p:extLst>
      <p:ext uri="{BB962C8B-B14F-4D97-AF65-F5344CB8AC3E}">
        <p14:creationId xmlns:p14="http://schemas.microsoft.com/office/powerpoint/2010/main" val="29030011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98868A-D0E5-AA24-1DC4-90363059A1A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E6D291C-001F-F569-8F06-62156D336D6B}"/>
              </a:ext>
            </a:extLst>
          </p:cNvPr>
          <p:cNvSpPr>
            <a:spLocks noGrp="1"/>
          </p:cNvSpPr>
          <p:nvPr>
            <p:ph type="title"/>
          </p:nvPr>
        </p:nvSpPr>
        <p:spPr/>
        <p:txBody>
          <a:bodyPr/>
          <a:lstStyle/>
          <a:p>
            <a:r>
              <a:rPr lang="en-US" sz="2400">
                <a:latin typeface="+mn-lt"/>
              </a:rPr>
              <a:t>Transamerica FE Express Solution</a:t>
            </a:r>
            <a:r>
              <a:rPr lang="en-US" sz="2400">
                <a:latin typeface="Calibri" panose="020F0502020204030204" pitchFamily="34" charset="0"/>
                <a:ea typeface="Calibri" panose="020F0502020204030204" pitchFamily="34" charset="0"/>
                <a:cs typeface="Calibri" panose="020F0502020204030204" pitchFamily="34" charset="0"/>
              </a:rPr>
              <a:t>℠</a:t>
            </a:r>
            <a:br>
              <a:rPr lang="en-US"/>
            </a:br>
            <a:r>
              <a:rPr lang="en-US"/>
              <a:t>Third-Party Payor</a:t>
            </a:r>
          </a:p>
        </p:txBody>
      </p:sp>
      <p:sp>
        <p:nvSpPr>
          <p:cNvPr id="4" name="Slide Number Placeholder 3">
            <a:extLst>
              <a:ext uri="{FF2B5EF4-FFF2-40B4-BE49-F238E27FC236}">
                <a16:creationId xmlns:a16="http://schemas.microsoft.com/office/drawing/2014/main" id="{9A8B5679-185E-2608-A091-E3B9A04B1FB4}"/>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1606C5-D483-4832-A0E9-CF578A9B588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Text Placeholder 8">
            <a:extLst>
              <a:ext uri="{FF2B5EF4-FFF2-40B4-BE49-F238E27FC236}">
                <a16:creationId xmlns:a16="http://schemas.microsoft.com/office/drawing/2014/main" id="{4B787025-7AC4-067B-D27B-BC1A5977A6D5}"/>
              </a:ext>
            </a:extLst>
          </p:cNvPr>
          <p:cNvSpPr txBox="1">
            <a:spLocks/>
          </p:cNvSpPr>
          <p:nvPr/>
        </p:nvSpPr>
        <p:spPr>
          <a:xfrm>
            <a:off x="7404946" y="6352974"/>
            <a:ext cx="2411308" cy="291176"/>
          </a:xfrm>
          <a:prstGeom prst="rect">
            <a:avLst/>
          </a:prstGeom>
          <a:solidFill>
            <a:srgbClr val="1D2550"/>
          </a:solidFill>
        </p:spPr>
        <p:txBody>
          <a:bodyPr vert="horz" wrap="none" lIns="75600" tIns="75600" rIns="75600" bIns="75600" rtlCol="0" anchor="b" anchorCtr="0">
            <a:spAutoFit/>
          </a:bodyPr>
          <a:lstStyle>
            <a:lvl1pPr marL="228600" indent="-228600" algn="l" defTabSz="914400" rtl="0" eaLnBrk="1" latinLnBrk="0" hangingPunct="1">
              <a:lnSpc>
                <a:spcPct val="90000"/>
              </a:lnSpc>
              <a:spcBef>
                <a:spcPts val="0"/>
              </a:spcBef>
              <a:buFont typeface="Arial" panose="020B0604020202020204" pitchFamily="34" charset="0"/>
              <a:buChar char="•"/>
              <a:defRPr sz="1000" kern="1200">
                <a:solidFill>
                  <a:schemeClr val="bg1"/>
                </a:solidFill>
                <a:latin typeface="Open Sans Condensed Condensed" pitchFamily="2" charset="0"/>
                <a:ea typeface="Open Sans Condensed Condensed" pitchFamily="2" charset="0"/>
                <a:cs typeface="Open Sans Condensed Condensed"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Open Sans Condensed Condensed" pitchFamily="2" charset="0"/>
                <a:ea typeface="Open Sans Condensed Condensed" pitchFamily="2" charset="0"/>
                <a:cs typeface="Open Sans Condensed Condensed" pitchFamily="2" charset="0"/>
              </a:rPr>
              <a:t>Agent Use Only. Not for Public Use.</a:t>
            </a:r>
          </a:p>
        </p:txBody>
      </p:sp>
      <p:sp>
        <p:nvSpPr>
          <p:cNvPr id="3" name="Text Placeholder 22">
            <a:extLst>
              <a:ext uri="{FF2B5EF4-FFF2-40B4-BE49-F238E27FC236}">
                <a16:creationId xmlns:a16="http://schemas.microsoft.com/office/drawing/2014/main" id="{DFBD2EC4-CB25-EB01-D90F-744C1CCB05E7}"/>
              </a:ext>
            </a:extLst>
          </p:cNvPr>
          <p:cNvSpPr>
            <a:spLocks noGrp="1"/>
          </p:cNvSpPr>
          <p:nvPr>
            <p:ph type="body" sz="quarter" idx="13"/>
          </p:nvPr>
        </p:nvSpPr>
        <p:spPr>
          <a:xfrm>
            <a:off x="521208" y="4145475"/>
            <a:ext cx="7878792" cy="252000"/>
          </a:xfrm>
        </p:spPr>
        <p:txBody>
          <a:bodyPr vert="horz" lIns="91440" tIns="45720" rIns="91440" bIns="45720" rtlCol="0" anchor="t">
            <a:noAutofit/>
          </a:bodyPr>
          <a:lstStyle/>
          <a:p>
            <a:r>
              <a:rPr lang="en-US" sz="1800">
                <a:solidFill>
                  <a:schemeClr val="tx1"/>
                </a:solidFill>
              </a:rPr>
              <a:t>Effective October 16, 2025</a:t>
            </a:r>
          </a:p>
        </p:txBody>
      </p:sp>
    </p:spTree>
    <p:custDataLst>
      <p:tags r:id="rId1"/>
    </p:custDataLst>
    <p:extLst>
      <p:ext uri="{BB962C8B-B14F-4D97-AF65-F5344CB8AC3E}">
        <p14:creationId xmlns:p14="http://schemas.microsoft.com/office/powerpoint/2010/main" val="25746197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650164-6762-1210-081F-09E0171F15CD}"/>
              </a:ext>
            </a:extLst>
          </p:cNvPr>
          <p:cNvSpPr>
            <a:spLocks noGrp="1"/>
          </p:cNvSpPr>
          <p:nvPr>
            <p:ph type="title"/>
          </p:nvPr>
        </p:nvSpPr>
        <p:spPr/>
        <p:txBody>
          <a:bodyPr/>
          <a:lstStyle/>
          <a:p>
            <a:endParaRPr lang="en-US"/>
          </a:p>
        </p:txBody>
      </p:sp>
      <p:sp>
        <p:nvSpPr>
          <p:cNvPr id="3" name="Slide Number Placeholder 2">
            <a:extLst>
              <a:ext uri="{FF2B5EF4-FFF2-40B4-BE49-F238E27FC236}">
                <a16:creationId xmlns:a16="http://schemas.microsoft.com/office/drawing/2014/main" id="{F6EAB151-05E5-378A-45C2-B336A1D38CCA}"/>
              </a:ext>
            </a:extLst>
          </p:cNvPr>
          <p:cNvSpPr>
            <a:spLocks noGrp="1"/>
          </p:cNvSpPr>
          <p:nvPr>
            <p:ph type="sldNum"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C1606C5-D483-4832-A0E9-CF578A9B5883}" type="slidenum">
              <a:rPr kumimoji="0" lang="en-US" sz="900" b="0" i="0" u="none" strike="noStrike" kern="1200" cap="none" spc="0" normalizeH="0" baseline="0" noProof="0" smtClean="0">
                <a:ln>
                  <a:noFill/>
                </a:ln>
                <a:solidFill>
                  <a:srgbClr val="000000"/>
                </a:solidFill>
                <a:effectLst/>
                <a:uLnTx/>
                <a:uFillTx/>
                <a:latin typeface="Forever Forma Body Text"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US" sz="900" b="0" i="0" u="none" strike="noStrike" kern="1200" cap="none" spc="0" normalizeH="0" baseline="0" noProof="0">
              <a:ln>
                <a:noFill/>
              </a:ln>
              <a:solidFill>
                <a:srgbClr val="000000"/>
              </a:solidFill>
              <a:effectLst/>
              <a:uLnTx/>
              <a:uFillTx/>
              <a:latin typeface="Forever Forma Body Text" pitchFamily="2" charset="0"/>
              <a:ea typeface="+mn-ea"/>
              <a:cs typeface="+mn-cs"/>
            </a:endParaRPr>
          </a:p>
        </p:txBody>
      </p:sp>
      <p:sp>
        <p:nvSpPr>
          <p:cNvPr id="4" name="Text Placeholder 3">
            <a:extLst>
              <a:ext uri="{FF2B5EF4-FFF2-40B4-BE49-F238E27FC236}">
                <a16:creationId xmlns:a16="http://schemas.microsoft.com/office/drawing/2014/main" id="{528F918E-04FC-5825-EBBF-F31507F086E5}"/>
              </a:ext>
            </a:extLst>
          </p:cNvPr>
          <p:cNvSpPr>
            <a:spLocks noGrp="1"/>
          </p:cNvSpPr>
          <p:nvPr>
            <p:ph type="body" sz="quarter" idx="14"/>
          </p:nvPr>
        </p:nvSpPr>
        <p:spPr/>
        <p:txBody>
          <a:bodyPr/>
          <a:lstStyle/>
          <a:p>
            <a:r>
              <a:rPr lang="en-US" dirty="0"/>
              <a:t>Agent Use Only. Not for public use.</a:t>
            </a:r>
          </a:p>
        </p:txBody>
      </p:sp>
      <p:pic>
        <p:nvPicPr>
          <p:cNvPr id="6" name="Picture 5">
            <a:extLst>
              <a:ext uri="{FF2B5EF4-FFF2-40B4-BE49-F238E27FC236}">
                <a16:creationId xmlns:a16="http://schemas.microsoft.com/office/drawing/2014/main" id="{9C10D692-AB1D-1529-CF78-7C8C32FFCB45}"/>
              </a:ext>
            </a:extLst>
          </p:cNvPr>
          <p:cNvPicPr>
            <a:picLocks noChangeAspect="1"/>
          </p:cNvPicPr>
          <p:nvPr/>
        </p:nvPicPr>
        <p:blipFill>
          <a:blip r:embed="rId4"/>
          <a:stretch>
            <a:fillRect/>
          </a:stretch>
        </p:blipFill>
        <p:spPr>
          <a:xfrm>
            <a:off x="6095995" y="1685691"/>
            <a:ext cx="4477375" cy="3172268"/>
          </a:xfrm>
          <a:prstGeom prst="rect">
            <a:avLst/>
          </a:prstGeom>
        </p:spPr>
      </p:pic>
      <p:pic>
        <p:nvPicPr>
          <p:cNvPr id="7" name="Picture 6" descr="A close-up of a computer&#10;&#10;AI-generated content may be incorrect.">
            <a:extLst>
              <a:ext uri="{FF2B5EF4-FFF2-40B4-BE49-F238E27FC236}">
                <a16:creationId xmlns:a16="http://schemas.microsoft.com/office/drawing/2014/main" id="{359AA163-9041-4215-7799-9C3054BDB09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10000" y="1416466"/>
            <a:ext cx="8211206" cy="4618803"/>
          </a:xfrm>
          <a:prstGeom prst="rect">
            <a:avLst/>
          </a:prstGeom>
        </p:spPr>
      </p:pic>
      <p:sp>
        <p:nvSpPr>
          <p:cNvPr id="9" name="Rectangle: Rounded Corners 8">
            <a:extLst>
              <a:ext uri="{FF2B5EF4-FFF2-40B4-BE49-F238E27FC236}">
                <a16:creationId xmlns:a16="http://schemas.microsoft.com/office/drawing/2014/main" id="{5BF1DED7-52C2-92AC-2A27-A89564998E6B}"/>
              </a:ext>
            </a:extLst>
          </p:cNvPr>
          <p:cNvSpPr/>
          <p:nvPr/>
        </p:nvSpPr>
        <p:spPr>
          <a:xfrm>
            <a:off x="7226864" y="2972115"/>
            <a:ext cx="1002736" cy="380685"/>
          </a:xfrm>
          <a:prstGeom prst="roundRect">
            <a:avLst>
              <a:gd name="adj" fmla="val 0"/>
            </a:avLst>
          </a:prstGeom>
          <a:noFill/>
          <a:ln w="57150">
            <a:solidFill>
              <a:srgbClr val="4CD300"/>
            </a:solid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orever Forma Body Text"/>
              <a:ea typeface="+mn-ea"/>
              <a:cs typeface="+mn-cs"/>
            </a:endParaRPr>
          </a:p>
        </p:txBody>
      </p:sp>
      <p:sp>
        <p:nvSpPr>
          <p:cNvPr id="10" name="Rectangle: Rounded Corners 9">
            <a:extLst>
              <a:ext uri="{FF2B5EF4-FFF2-40B4-BE49-F238E27FC236}">
                <a16:creationId xmlns:a16="http://schemas.microsoft.com/office/drawing/2014/main" id="{11CC258D-7DBF-7CB0-BA63-4C70F92100EB}"/>
              </a:ext>
            </a:extLst>
          </p:cNvPr>
          <p:cNvSpPr/>
          <p:nvPr/>
        </p:nvSpPr>
        <p:spPr>
          <a:xfrm>
            <a:off x="9296400" y="3500315"/>
            <a:ext cx="902209" cy="451103"/>
          </a:xfrm>
          <a:prstGeom prst="roundRect">
            <a:avLst>
              <a:gd name="adj" fmla="val 10842"/>
            </a:avLst>
          </a:prstGeom>
          <a:noFill/>
          <a:ln w="57150">
            <a:solidFill>
              <a:srgbClr val="4CD300"/>
            </a:solid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orever Forma Body Text"/>
              <a:ea typeface="+mn-ea"/>
              <a:cs typeface="+mn-cs"/>
            </a:endParaRPr>
          </a:p>
        </p:txBody>
      </p:sp>
      <p:sp>
        <p:nvSpPr>
          <p:cNvPr id="11" name="TextBox 10">
            <a:extLst>
              <a:ext uri="{FF2B5EF4-FFF2-40B4-BE49-F238E27FC236}">
                <a16:creationId xmlns:a16="http://schemas.microsoft.com/office/drawing/2014/main" id="{1E8FFDD3-75BD-7837-E88B-26F52B8F70BB}"/>
              </a:ext>
            </a:extLst>
          </p:cNvPr>
          <p:cNvSpPr txBox="1"/>
          <p:nvPr/>
        </p:nvSpPr>
        <p:spPr>
          <a:xfrm>
            <a:off x="340854" y="1818247"/>
            <a:ext cx="3639940" cy="1661993"/>
          </a:xfrm>
          <a:prstGeom prst="rect">
            <a:avLst/>
          </a:prstGeom>
          <a:noFill/>
          <a:ln>
            <a:noFill/>
          </a:ln>
        </p:spPr>
        <p:txBody>
          <a:bodyPr wrap="square">
            <a:spAutoFit/>
          </a:bodyPr>
          <a:lstStyle/>
          <a:p>
            <a:pPr marL="285750" marR="0" indent="-285750">
              <a:lnSpc>
                <a:spcPct val="115000"/>
              </a:lnSpc>
              <a:spcAft>
                <a:spcPts val="800"/>
              </a:spcAft>
              <a:buFont typeface="Wingdings" panose="05000000000000000000" pitchFamily="2" charset="2"/>
              <a:buChar char="§"/>
            </a:pPr>
            <a:r>
              <a:rPr lang="en-US">
                <a:ea typeface="Aptos" panose="020B0004020202020204" pitchFamily="34" charset="0"/>
                <a:cs typeface="Times New Roman" panose="02020603050405020304" pitchFamily="18" charset="0"/>
              </a:rPr>
              <a:t>T</a:t>
            </a:r>
            <a:r>
              <a:rPr lang="en-US" sz="1800" b="0" kern="100">
                <a:effectLst/>
                <a:ea typeface="Aptos" panose="020B0004020202020204" pitchFamily="34" charset="0"/>
                <a:cs typeface="Times New Roman" panose="02020603050405020304" pitchFamily="18" charset="0"/>
              </a:rPr>
              <a:t>hird-party payors, </a:t>
            </a:r>
            <a:r>
              <a:rPr lang="en-US">
                <a:ea typeface="Aptos" panose="020B0004020202020204" pitchFamily="34" charset="0"/>
                <a:cs typeface="Times New Roman" panose="02020603050405020304" pitchFamily="18" charset="0"/>
              </a:rPr>
              <a:t>anyone </a:t>
            </a:r>
            <a:r>
              <a:rPr lang="en-US" sz="1800" b="0" kern="100">
                <a:effectLst/>
                <a:ea typeface="Aptos" panose="020B0004020202020204" pitchFamily="34" charset="0"/>
                <a:cs typeface="Times New Roman" panose="02020603050405020304" pitchFamily="18" charset="0"/>
              </a:rPr>
              <a:t>outside of the owner or the insured, </a:t>
            </a:r>
            <a:r>
              <a:rPr lang="en-US">
                <a:ea typeface="Aptos" panose="020B0004020202020204" pitchFamily="34" charset="0"/>
                <a:cs typeface="Times New Roman" panose="02020603050405020304" pitchFamily="18" charset="0"/>
              </a:rPr>
              <a:t>will follow </a:t>
            </a:r>
            <a:r>
              <a:rPr lang="en-US" sz="1800" b="0" kern="100">
                <a:effectLst/>
                <a:ea typeface="Aptos" panose="020B0004020202020204" pitchFamily="34" charset="0"/>
                <a:cs typeface="Times New Roman" panose="02020603050405020304" pitchFamily="18" charset="0"/>
              </a:rPr>
              <a:t>the PIN-to-Sign signature process for payor forms.</a:t>
            </a:r>
          </a:p>
        </p:txBody>
      </p:sp>
      <p:sp>
        <p:nvSpPr>
          <p:cNvPr id="12" name="Title 15">
            <a:extLst>
              <a:ext uri="{FF2B5EF4-FFF2-40B4-BE49-F238E27FC236}">
                <a16:creationId xmlns:a16="http://schemas.microsoft.com/office/drawing/2014/main" id="{EAD0CA86-BFE8-BDAD-A8AE-289898239577}"/>
              </a:ext>
            </a:extLst>
          </p:cNvPr>
          <p:cNvSpPr txBox="1">
            <a:spLocks/>
          </p:cNvSpPr>
          <p:nvPr/>
        </p:nvSpPr>
        <p:spPr>
          <a:xfrm>
            <a:off x="17318" y="-40884"/>
            <a:ext cx="11149580" cy="94463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a:ln>
                  <a:noFill/>
                </a:ln>
                <a:solidFill>
                  <a:srgbClr val="1D2550"/>
                </a:solidFill>
                <a:effectLst/>
                <a:uLnTx/>
                <a:uFillTx/>
                <a:latin typeface="Aptos Display" panose="02110004020202020204"/>
                <a:ea typeface="+mj-ea"/>
                <a:cs typeface="+mj-cs"/>
              </a:rPr>
              <a:t>Transamerica FE Express Solution</a:t>
            </a:r>
            <a:r>
              <a:rPr kumimoji="0" lang="en-US" sz="4400" b="0" i="0" u="none" strike="noStrike" kern="1200" cap="none" spc="0" normalizeH="0" baseline="0" noProof="0">
                <a:ln>
                  <a:noFill/>
                </a:ln>
                <a:solidFill>
                  <a:srgbClr val="1D2550"/>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en-US" sz="4400" b="0" i="0" u="none" strike="noStrike" kern="1200" cap="none" spc="0" normalizeH="0" baseline="0" noProof="0">
                <a:ln>
                  <a:noFill/>
                </a:ln>
                <a:solidFill>
                  <a:srgbClr val="1D2550"/>
                </a:solidFill>
                <a:effectLst/>
                <a:uLnTx/>
                <a:uFillTx/>
                <a:latin typeface="Aptos Display" panose="02110004020202020204"/>
                <a:ea typeface="+mj-ea"/>
                <a:cs typeface="+mj-cs"/>
              </a:rPr>
              <a:t> </a:t>
            </a:r>
          </a:p>
        </p:txBody>
      </p:sp>
      <p:sp>
        <p:nvSpPr>
          <p:cNvPr id="13" name="Text Placeholder 4">
            <a:extLst>
              <a:ext uri="{FF2B5EF4-FFF2-40B4-BE49-F238E27FC236}">
                <a16:creationId xmlns:a16="http://schemas.microsoft.com/office/drawing/2014/main" id="{A847D909-84E7-C961-F123-6F1051176C3C}"/>
              </a:ext>
            </a:extLst>
          </p:cNvPr>
          <p:cNvSpPr txBox="1">
            <a:spLocks/>
          </p:cNvSpPr>
          <p:nvPr/>
        </p:nvSpPr>
        <p:spPr>
          <a:xfrm>
            <a:off x="135323" y="797676"/>
            <a:ext cx="11149580" cy="35848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200" b="0" i="0" kern="1200">
                <a:solidFill>
                  <a:schemeClr val="tx1"/>
                </a:solidFill>
                <a:latin typeface="Forever Forma Heading"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None/>
              <a:tabLst/>
              <a:defRPr/>
            </a:pPr>
            <a:r>
              <a:rPr lang="en-US" spc="0">
                <a:solidFill>
                  <a:sysClr val="windowText" lastClr="000000"/>
                </a:solidFill>
              </a:rPr>
              <a:t>Third-Party Payor</a:t>
            </a:r>
            <a:endParaRPr kumimoji="0" lang="en-US" sz="2200" b="0" i="0" u="none" strike="noStrike" kern="1200" cap="none" spc="0" normalizeH="0" baseline="0" noProof="0">
              <a:ln>
                <a:noFill/>
              </a:ln>
              <a:solidFill>
                <a:sysClr val="windowText" lastClr="000000"/>
              </a:solidFill>
              <a:effectLst/>
              <a:uLnTx/>
              <a:uFillTx/>
              <a:latin typeface="Forever Forma Heading" pitchFamily="2" charset="0"/>
              <a:ea typeface="+mn-ea"/>
              <a:cs typeface="+mn-cs"/>
            </a:endParaRPr>
          </a:p>
        </p:txBody>
      </p:sp>
    </p:spTree>
    <p:custDataLst>
      <p:tags r:id="rId1"/>
    </p:custDataLst>
    <p:extLst>
      <p:ext uri="{BB962C8B-B14F-4D97-AF65-F5344CB8AC3E}">
        <p14:creationId xmlns:p14="http://schemas.microsoft.com/office/powerpoint/2010/main" val="29502299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BA023F-FE1A-D406-5056-1AF03A9734C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B9D3B61-7452-27EB-3CB5-6F6474CAFFDC}"/>
              </a:ext>
            </a:extLst>
          </p:cNvPr>
          <p:cNvSpPr>
            <a:spLocks noGrp="1"/>
          </p:cNvSpPr>
          <p:nvPr>
            <p:ph type="title"/>
          </p:nvPr>
        </p:nvSpPr>
        <p:spPr/>
        <p:txBody>
          <a:bodyPr/>
          <a:lstStyle/>
          <a:p>
            <a:endParaRPr lang="en-US"/>
          </a:p>
        </p:txBody>
      </p:sp>
      <p:sp>
        <p:nvSpPr>
          <p:cNvPr id="3" name="Slide Number Placeholder 2">
            <a:extLst>
              <a:ext uri="{FF2B5EF4-FFF2-40B4-BE49-F238E27FC236}">
                <a16:creationId xmlns:a16="http://schemas.microsoft.com/office/drawing/2014/main" id="{A2428594-3C23-3A51-BB95-44886F264401}"/>
              </a:ext>
            </a:extLst>
          </p:cNvPr>
          <p:cNvSpPr>
            <a:spLocks noGrp="1"/>
          </p:cNvSpPr>
          <p:nvPr>
            <p:ph type="sldNum"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C1606C5-D483-4832-A0E9-CF578A9B5883}" type="slidenum">
              <a:rPr kumimoji="0" lang="en-US" sz="900" b="0" i="0" u="none" strike="noStrike" kern="1200" cap="none" spc="0" normalizeH="0" baseline="0" noProof="0" smtClean="0">
                <a:ln>
                  <a:noFill/>
                </a:ln>
                <a:solidFill>
                  <a:srgbClr val="000000"/>
                </a:solidFill>
                <a:effectLst/>
                <a:uLnTx/>
                <a:uFillTx/>
                <a:latin typeface="Forever Forma Body Text"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900" b="0" i="0" u="none" strike="noStrike" kern="1200" cap="none" spc="0" normalizeH="0" baseline="0" noProof="0">
              <a:ln>
                <a:noFill/>
              </a:ln>
              <a:solidFill>
                <a:srgbClr val="000000"/>
              </a:solidFill>
              <a:effectLst/>
              <a:uLnTx/>
              <a:uFillTx/>
              <a:latin typeface="Forever Forma Body Text" pitchFamily="2" charset="0"/>
              <a:ea typeface="+mn-ea"/>
              <a:cs typeface="+mn-cs"/>
            </a:endParaRPr>
          </a:p>
        </p:txBody>
      </p:sp>
      <p:sp>
        <p:nvSpPr>
          <p:cNvPr id="4" name="Text Placeholder 3">
            <a:extLst>
              <a:ext uri="{FF2B5EF4-FFF2-40B4-BE49-F238E27FC236}">
                <a16:creationId xmlns:a16="http://schemas.microsoft.com/office/drawing/2014/main" id="{1CAD83C8-2820-2141-E994-C5676C622264}"/>
              </a:ext>
            </a:extLst>
          </p:cNvPr>
          <p:cNvSpPr>
            <a:spLocks noGrp="1"/>
          </p:cNvSpPr>
          <p:nvPr>
            <p:ph type="body" sz="quarter" idx="14"/>
          </p:nvPr>
        </p:nvSpPr>
        <p:spPr/>
        <p:txBody>
          <a:bodyPr/>
          <a:lstStyle/>
          <a:p>
            <a:r>
              <a:rPr lang="en-US"/>
              <a:t>Agent Use Only. Not for public use.</a:t>
            </a:r>
          </a:p>
        </p:txBody>
      </p:sp>
      <p:pic>
        <p:nvPicPr>
          <p:cNvPr id="8" name="Picture 7">
            <a:extLst>
              <a:ext uri="{FF2B5EF4-FFF2-40B4-BE49-F238E27FC236}">
                <a16:creationId xmlns:a16="http://schemas.microsoft.com/office/drawing/2014/main" id="{82505371-1748-AADB-E6B5-A28A6A4C6318}"/>
              </a:ext>
            </a:extLst>
          </p:cNvPr>
          <p:cNvPicPr>
            <a:picLocks noChangeAspect="1"/>
          </p:cNvPicPr>
          <p:nvPr/>
        </p:nvPicPr>
        <p:blipFill>
          <a:blip r:embed="rId4"/>
          <a:stretch>
            <a:fillRect/>
          </a:stretch>
        </p:blipFill>
        <p:spPr>
          <a:xfrm>
            <a:off x="4876800" y="1732259"/>
            <a:ext cx="6172200" cy="3393481"/>
          </a:xfrm>
          <a:prstGeom prst="rect">
            <a:avLst/>
          </a:prstGeom>
        </p:spPr>
      </p:pic>
      <p:pic>
        <p:nvPicPr>
          <p:cNvPr id="12" name="Picture 11" descr="A close-up of a computer&#10;&#10;AI-generated content may be incorrect.">
            <a:extLst>
              <a:ext uri="{FF2B5EF4-FFF2-40B4-BE49-F238E27FC236}">
                <a16:creationId xmlns:a16="http://schemas.microsoft.com/office/drawing/2014/main" id="{F2D45CF3-A3EC-BBE9-5283-5F52748FDDF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35402" y="1330702"/>
            <a:ext cx="8127998" cy="4350037"/>
          </a:xfrm>
          <a:prstGeom prst="rect">
            <a:avLst/>
          </a:prstGeom>
        </p:spPr>
      </p:pic>
      <p:sp>
        <p:nvSpPr>
          <p:cNvPr id="13" name="Rectangle: Rounded Corners 12">
            <a:extLst>
              <a:ext uri="{FF2B5EF4-FFF2-40B4-BE49-F238E27FC236}">
                <a16:creationId xmlns:a16="http://schemas.microsoft.com/office/drawing/2014/main" id="{E1BB03CD-1FCB-5B11-4329-34E22927BEC7}"/>
              </a:ext>
            </a:extLst>
          </p:cNvPr>
          <p:cNvSpPr/>
          <p:nvPr/>
        </p:nvSpPr>
        <p:spPr>
          <a:xfrm>
            <a:off x="7429500" y="1725332"/>
            <a:ext cx="3581400" cy="1951050"/>
          </a:xfrm>
          <a:prstGeom prst="roundRect">
            <a:avLst>
              <a:gd name="adj" fmla="val 10842"/>
            </a:avLst>
          </a:prstGeom>
          <a:noFill/>
          <a:ln w="57150">
            <a:solidFill>
              <a:srgbClr val="4CD300"/>
            </a:solid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orever Forma Body Text"/>
              <a:ea typeface="+mn-ea"/>
              <a:cs typeface="+mn-cs"/>
            </a:endParaRPr>
          </a:p>
        </p:txBody>
      </p:sp>
      <p:sp>
        <p:nvSpPr>
          <p:cNvPr id="15" name="TextBox 14">
            <a:extLst>
              <a:ext uri="{FF2B5EF4-FFF2-40B4-BE49-F238E27FC236}">
                <a16:creationId xmlns:a16="http://schemas.microsoft.com/office/drawing/2014/main" id="{5B5838A2-345B-4879-BEED-8D33D115A32D}"/>
              </a:ext>
            </a:extLst>
          </p:cNvPr>
          <p:cNvSpPr txBox="1"/>
          <p:nvPr/>
        </p:nvSpPr>
        <p:spPr>
          <a:xfrm>
            <a:off x="228600" y="2147443"/>
            <a:ext cx="4267200" cy="923330"/>
          </a:xfrm>
          <a:prstGeom prst="rect">
            <a:avLst/>
          </a:prstGeom>
          <a:noFill/>
          <a:ln>
            <a:noFill/>
          </a:ln>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a:t>The third-party payor questionnaire will populate in a secondary window for completion.</a:t>
            </a:r>
          </a:p>
        </p:txBody>
      </p:sp>
      <p:sp>
        <p:nvSpPr>
          <p:cNvPr id="16" name="Title 15">
            <a:extLst>
              <a:ext uri="{FF2B5EF4-FFF2-40B4-BE49-F238E27FC236}">
                <a16:creationId xmlns:a16="http://schemas.microsoft.com/office/drawing/2014/main" id="{ABB5D93F-29E4-615B-0A59-71255063AE8E}"/>
              </a:ext>
            </a:extLst>
          </p:cNvPr>
          <p:cNvSpPr txBox="1">
            <a:spLocks/>
          </p:cNvSpPr>
          <p:nvPr/>
        </p:nvSpPr>
        <p:spPr>
          <a:xfrm>
            <a:off x="17318" y="-40884"/>
            <a:ext cx="11149580" cy="94463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a:ln>
                  <a:noFill/>
                </a:ln>
                <a:solidFill>
                  <a:srgbClr val="1D2550"/>
                </a:solidFill>
                <a:effectLst/>
                <a:uLnTx/>
                <a:uFillTx/>
                <a:latin typeface="Aptos Display" panose="02110004020202020204"/>
                <a:ea typeface="+mj-ea"/>
                <a:cs typeface="+mj-cs"/>
              </a:rPr>
              <a:t>Transamerica FE Express Solution</a:t>
            </a:r>
            <a:r>
              <a:rPr kumimoji="0" lang="en-US" sz="4400" b="0" i="0" u="none" strike="noStrike" kern="1200" cap="none" spc="0" normalizeH="0" baseline="0" noProof="0">
                <a:ln>
                  <a:noFill/>
                </a:ln>
                <a:solidFill>
                  <a:srgbClr val="1D2550"/>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en-US" sz="4400" b="0" i="0" u="none" strike="noStrike" kern="1200" cap="none" spc="0" normalizeH="0" baseline="0" noProof="0">
                <a:ln>
                  <a:noFill/>
                </a:ln>
                <a:solidFill>
                  <a:srgbClr val="1D2550"/>
                </a:solidFill>
                <a:effectLst/>
                <a:uLnTx/>
                <a:uFillTx/>
                <a:latin typeface="Aptos Display" panose="02110004020202020204"/>
                <a:ea typeface="+mj-ea"/>
                <a:cs typeface="+mj-cs"/>
              </a:rPr>
              <a:t> </a:t>
            </a:r>
          </a:p>
        </p:txBody>
      </p:sp>
      <p:sp>
        <p:nvSpPr>
          <p:cNvPr id="17" name="Text Placeholder 4">
            <a:extLst>
              <a:ext uri="{FF2B5EF4-FFF2-40B4-BE49-F238E27FC236}">
                <a16:creationId xmlns:a16="http://schemas.microsoft.com/office/drawing/2014/main" id="{9B810F7A-12DA-31F2-67B4-ABD130E1E790}"/>
              </a:ext>
            </a:extLst>
          </p:cNvPr>
          <p:cNvSpPr txBox="1">
            <a:spLocks/>
          </p:cNvSpPr>
          <p:nvPr/>
        </p:nvSpPr>
        <p:spPr>
          <a:xfrm>
            <a:off x="135323" y="797676"/>
            <a:ext cx="11149580" cy="35848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200" b="0" i="0" kern="1200">
                <a:solidFill>
                  <a:schemeClr val="tx1"/>
                </a:solidFill>
                <a:latin typeface="Forever Forma Heading"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None/>
              <a:tabLst/>
              <a:defRPr/>
            </a:pPr>
            <a:r>
              <a:rPr lang="en-US" spc="0">
                <a:solidFill>
                  <a:sysClr val="windowText" lastClr="000000"/>
                </a:solidFill>
              </a:rPr>
              <a:t>Third-Party Payor</a:t>
            </a:r>
            <a:endParaRPr kumimoji="0" lang="en-US" sz="2200" b="0" i="0" u="none" strike="noStrike" kern="1200" cap="none" spc="0" normalizeH="0" baseline="0" noProof="0">
              <a:ln>
                <a:noFill/>
              </a:ln>
              <a:solidFill>
                <a:sysClr val="windowText" lastClr="000000"/>
              </a:solidFill>
              <a:effectLst/>
              <a:uLnTx/>
              <a:uFillTx/>
              <a:latin typeface="Forever Forma Heading" pitchFamily="2" charset="0"/>
              <a:ea typeface="+mn-ea"/>
              <a:cs typeface="+mn-cs"/>
            </a:endParaRPr>
          </a:p>
        </p:txBody>
      </p:sp>
    </p:spTree>
    <p:custDataLst>
      <p:tags r:id="rId1"/>
    </p:custDataLst>
    <p:extLst>
      <p:ext uri="{BB962C8B-B14F-4D97-AF65-F5344CB8AC3E}">
        <p14:creationId xmlns:p14="http://schemas.microsoft.com/office/powerpoint/2010/main" val="41078079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BC09C8-4F2C-8D26-A9B4-1E428BE26D7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3F65E16-36CC-305C-F976-5DFE019AAE71}"/>
              </a:ext>
            </a:extLst>
          </p:cNvPr>
          <p:cNvSpPr>
            <a:spLocks noGrp="1"/>
          </p:cNvSpPr>
          <p:nvPr>
            <p:ph type="title"/>
          </p:nvPr>
        </p:nvSpPr>
        <p:spPr/>
        <p:txBody>
          <a:bodyPr/>
          <a:lstStyle/>
          <a:p>
            <a:endParaRPr lang="en-US"/>
          </a:p>
        </p:txBody>
      </p:sp>
      <p:sp>
        <p:nvSpPr>
          <p:cNvPr id="3" name="Slide Number Placeholder 2">
            <a:extLst>
              <a:ext uri="{FF2B5EF4-FFF2-40B4-BE49-F238E27FC236}">
                <a16:creationId xmlns:a16="http://schemas.microsoft.com/office/drawing/2014/main" id="{08FE490D-B24B-129E-8397-8B11CB9F5401}"/>
              </a:ext>
            </a:extLst>
          </p:cNvPr>
          <p:cNvSpPr>
            <a:spLocks noGrp="1"/>
          </p:cNvSpPr>
          <p:nvPr>
            <p:ph type="sldNum"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C1606C5-D483-4832-A0E9-CF578A9B5883}" type="slidenum">
              <a:rPr kumimoji="0" lang="en-US" sz="900" b="0" i="0" u="none" strike="noStrike" kern="1200" cap="none" spc="0" normalizeH="0" baseline="0" noProof="0" smtClean="0">
                <a:ln>
                  <a:noFill/>
                </a:ln>
                <a:solidFill>
                  <a:srgbClr val="000000"/>
                </a:solidFill>
                <a:effectLst/>
                <a:uLnTx/>
                <a:uFillTx/>
                <a:latin typeface="Forever Forma Body Text"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900" b="0" i="0" u="none" strike="noStrike" kern="1200" cap="none" spc="0" normalizeH="0" baseline="0" noProof="0">
              <a:ln>
                <a:noFill/>
              </a:ln>
              <a:solidFill>
                <a:srgbClr val="000000"/>
              </a:solidFill>
              <a:effectLst/>
              <a:uLnTx/>
              <a:uFillTx/>
              <a:latin typeface="Forever Forma Body Text" pitchFamily="2" charset="0"/>
              <a:ea typeface="+mn-ea"/>
              <a:cs typeface="+mn-cs"/>
            </a:endParaRPr>
          </a:p>
        </p:txBody>
      </p:sp>
      <p:sp>
        <p:nvSpPr>
          <p:cNvPr id="4" name="Text Placeholder 3">
            <a:extLst>
              <a:ext uri="{FF2B5EF4-FFF2-40B4-BE49-F238E27FC236}">
                <a16:creationId xmlns:a16="http://schemas.microsoft.com/office/drawing/2014/main" id="{1BD7BF69-5153-5376-C918-3046CD463B14}"/>
              </a:ext>
            </a:extLst>
          </p:cNvPr>
          <p:cNvSpPr>
            <a:spLocks noGrp="1"/>
          </p:cNvSpPr>
          <p:nvPr>
            <p:ph type="body" sz="quarter" idx="14"/>
          </p:nvPr>
        </p:nvSpPr>
        <p:spPr/>
        <p:txBody>
          <a:bodyPr/>
          <a:lstStyle/>
          <a:p>
            <a:r>
              <a:rPr lang="en-US"/>
              <a:t>Agent Use Only. Not for public use.</a:t>
            </a:r>
          </a:p>
        </p:txBody>
      </p:sp>
      <p:pic>
        <p:nvPicPr>
          <p:cNvPr id="6" name="Picture 5">
            <a:extLst>
              <a:ext uri="{FF2B5EF4-FFF2-40B4-BE49-F238E27FC236}">
                <a16:creationId xmlns:a16="http://schemas.microsoft.com/office/drawing/2014/main" id="{872B4A8D-8B5C-B4B9-768C-5A1CD37B5666}"/>
              </a:ext>
            </a:extLst>
          </p:cNvPr>
          <p:cNvPicPr>
            <a:picLocks noChangeAspect="1"/>
          </p:cNvPicPr>
          <p:nvPr/>
        </p:nvPicPr>
        <p:blipFill>
          <a:blip r:embed="rId4"/>
          <a:stretch>
            <a:fillRect/>
          </a:stretch>
        </p:blipFill>
        <p:spPr>
          <a:xfrm>
            <a:off x="4419600" y="1530733"/>
            <a:ext cx="5930250" cy="3617975"/>
          </a:xfrm>
          <a:prstGeom prst="rect">
            <a:avLst/>
          </a:prstGeom>
        </p:spPr>
      </p:pic>
      <p:pic>
        <p:nvPicPr>
          <p:cNvPr id="7" name="Picture 6" descr="A close-up of a computer&#10;&#10;AI-generated content may be incorrect.">
            <a:extLst>
              <a:ext uri="{FF2B5EF4-FFF2-40B4-BE49-F238E27FC236}">
                <a16:creationId xmlns:a16="http://schemas.microsoft.com/office/drawing/2014/main" id="{B8F4181B-2D57-AD75-8389-6666CD1AB19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124200" y="1156158"/>
            <a:ext cx="8559798" cy="4814887"/>
          </a:xfrm>
          <a:prstGeom prst="rect">
            <a:avLst/>
          </a:prstGeom>
        </p:spPr>
      </p:pic>
      <p:sp>
        <p:nvSpPr>
          <p:cNvPr id="9" name="Rectangle: Rounded Corners 8">
            <a:extLst>
              <a:ext uri="{FF2B5EF4-FFF2-40B4-BE49-F238E27FC236}">
                <a16:creationId xmlns:a16="http://schemas.microsoft.com/office/drawing/2014/main" id="{769E3CA1-C912-DEDB-5474-767C614AC2E6}"/>
              </a:ext>
            </a:extLst>
          </p:cNvPr>
          <p:cNvSpPr/>
          <p:nvPr/>
        </p:nvSpPr>
        <p:spPr>
          <a:xfrm>
            <a:off x="6858000" y="1530734"/>
            <a:ext cx="3810000" cy="3796534"/>
          </a:xfrm>
          <a:prstGeom prst="roundRect">
            <a:avLst>
              <a:gd name="adj" fmla="val 10842"/>
            </a:avLst>
          </a:prstGeom>
          <a:noFill/>
          <a:ln w="57150">
            <a:solidFill>
              <a:srgbClr val="4CD300"/>
            </a:solid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orever Forma Body Text"/>
              <a:ea typeface="+mn-ea"/>
              <a:cs typeface="+mn-cs"/>
            </a:endParaRPr>
          </a:p>
        </p:txBody>
      </p:sp>
      <p:sp>
        <p:nvSpPr>
          <p:cNvPr id="5" name="Title 15">
            <a:extLst>
              <a:ext uri="{FF2B5EF4-FFF2-40B4-BE49-F238E27FC236}">
                <a16:creationId xmlns:a16="http://schemas.microsoft.com/office/drawing/2014/main" id="{222BDD30-A3C8-85A6-15C1-F341C6BB267C}"/>
              </a:ext>
            </a:extLst>
          </p:cNvPr>
          <p:cNvSpPr txBox="1">
            <a:spLocks/>
          </p:cNvSpPr>
          <p:nvPr/>
        </p:nvSpPr>
        <p:spPr>
          <a:xfrm>
            <a:off x="17318" y="-40884"/>
            <a:ext cx="11149580" cy="94463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a:ln>
                  <a:noFill/>
                </a:ln>
                <a:solidFill>
                  <a:srgbClr val="1D2550"/>
                </a:solidFill>
                <a:effectLst/>
                <a:uLnTx/>
                <a:uFillTx/>
                <a:latin typeface="Aptos Display" panose="02110004020202020204"/>
                <a:ea typeface="+mj-ea"/>
                <a:cs typeface="+mj-cs"/>
              </a:rPr>
              <a:t>Transamerica FE Express Solution</a:t>
            </a:r>
            <a:r>
              <a:rPr kumimoji="0" lang="en-US" sz="4400" b="0" i="0" u="none" strike="noStrike" kern="1200" cap="none" spc="0" normalizeH="0" baseline="0" noProof="0">
                <a:ln>
                  <a:noFill/>
                </a:ln>
                <a:solidFill>
                  <a:srgbClr val="1D2550"/>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en-US" sz="4400" b="0" i="0" u="none" strike="noStrike" kern="1200" cap="none" spc="0" normalizeH="0" baseline="0" noProof="0">
                <a:ln>
                  <a:noFill/>
                </a:ln>
                <a:solidFill>
                  <a:srgbClr val="1D2550"/>
                </a:solidFill>
                <a:effectLst/>
                <a:uLnTx/>
                <a:uFillTx/>
                <a:latin typeface="Aptos Display" panose="02110004020202020204"/>
                <a:ea typeface="+mj-ea"/>
                <a:cs typeface="+mj-cs"/>
              </a:rPr>
              <a:t> </a:t>
            </a:r>
          </a:p>
        </p:txBody>
      </p:sp>
      <p:sp>
        <p:nvSpPr>
          <p:cNvPr id="8" name="Text Placeholder 4">
            <a:extLst>
              <a:ext uri="{FF2B5EF4-FFF2-40B4-BE49-F238E27FC236}">
                <a16:creationId xmlns:a16="http://schemas.microsoft.com/office/drawing/2014/main" id="{BE8B1FAF-25A4-7A4A-03B6-CF1128DCE094}"/>
              </a:ext>
            </a:extLst>
          </p:cNvPr>
          <p:cNvSpPr txBox="1">
            <a:spLocks/>
          </p:cNvSpPr>
          <p:nvPr/>
        </p:nvSpPr>
        <p:spPr>
          <a:xfrm>
            <a:off x="135323" y="797676"/>
            <a:ext cx="11149580" cy="35848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200" b="0" i="0" kern="1200">
                <a:solidFill>
                  <a:schemeClr val="tx1"/>
                </a:solidFill>
                <a:latin typeface="Forever Forma Heading"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None/>
              <a:tabLst/>
              <a:defRPr/>
            </a:pPr>
            <a:r>
              <a:rPr lang="en-US" spc="0">
                <a:solidFill>
                  <a:sysClr val="windowText" lastClr="000000"/>
                </a:solidFill>
              </a:rPr>
              <a:t>Third-Party Payor</a:t>
            </a:r>
            <a:endParaRPr kumimoji="0" lang="en-US" sz="2200" b="0" i="0" u="none" strike="noStrike" kern="1200" cap="none" spc="0" normalizeH="0" baseline="0" noProof="0">
              <a:ln>
                <a:noFill/>
              </a:ln>
              <a:solidFill>
                <a:sysClr val="windowText" lastClr="000000"/>
              </a:solidFill>
              <a:effectLst/>
              <a:uLnTx/>
              <a:uFillTx/>
              <a:latin typeface="Forever Forma Heading" pitchFamily="2" charset="0"/>
              <a:ea typeface="+mn-ea"/>
              <a:cs typeface="+mn-cs"/>
            </a:endParaRPr>
          </a:p>
        </p:txBody>
      </p:sp>
      <p:sp>
        <p:nvSpPr>
          <p:cNvPr id="11" name="TextBox 10">
            <a:extLst>
              <a:ext uri="{FF2B5EF4-FFF2-40B4-BE49-F238E27FC236}">
                <a16:creationId xmlns:a16="http://schemas.microsoft.com/office/drawing/2014/main" id="{B003F4B8-6A6A-78DB-C05F-A5098A1B42DA}"/>
              </a:ext>
            </a:extLst>
          </p:cNvPr>
          <p:cNvSpPr txBox="1"/>
          <p:nvPr/>
        </p:nvSpPr>
        <p:spPr>
          <a:xfrm>
            <a:off x="381000" y="1677291"/>
            <a:ext cx="3179112" cy="1477328"/>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800" b="0" kern="100">
                <a:effectLst/>
                <a:ea typeface="Aptos" panose="020B0004020202020204" pitchFamily="34" charset="0"/>
                <a:cs typeface="Times New Roman" panose="02020603050405020304" pitchFamily="18" charset="0"/>
              </a:rPr>
              <a:t>Next, you’ll be asked to specify how you are interacting with the third-party payor, then fill out the remaining questions.</a:t>
            </a:r>
          </a:p>
        </p:txBody>
      </p:sp>
      <p:sp>
        <p:nvSpPr>
          <p:cNvPr id="13" name="TextBox 12">
            <a:extLst>
              <a:ext uri="{FF2B5EF4-FFF2-40B4-BE49-F238E27FC236}">
                <a16:creationId xmlns:a16="http://schemas.microsoft.com/office/drawing/2014/main" id="{B7826AF7-47E6-695A-26DB-AE0AC3112814}"/>
              </a:ext>
            </a:extLst>
          </p:cNvPr>
          <p:cNvSpPr txBox="1"/>
          <p:nvPr/>
        </p:nvSpPr>
        <p:spPr>
          <a:xfrm>
            <a:off x="398463" y="3233524"/>
            <a:ext cx="2997198" cy="1980542"/>
          </a:xfrm>
          <a:prstGeom prst="rect">
            <a:avLst/>
          </a:prstGeom>
          <a:noFill/>
        </p:spPr>
        <p:txBody>
          <a:bodyPr wrap="square">
            <a:spAutoFit/>
          </a:bodyPr>
          <a:lstStyle/>
          <a:p>
            <a:pPr marL="285750" marR="0" indent="-285750">
              <a:lnSpc>
                <a:spcPct val="115000"/>
              </a:lnSpc>
              <a:spcAft>
                <a:spcPts val="800"/>
              </a:spcAft>
              <a:buFont typeface="Wingdings" panose="05000000000000000000" pitchFamily="2" charset="2"/>
              <a:buChar char="§"/>
            </a:pPr>
            <a:r>
              <a:rPr lang="en-US">
                <a:ea typeface="Aptos" panose="020B0004020202020204" pitchFamily="34" charset="0"/>
                <a:cs typeface="Times New Roman" panose="02020603050405020304" pitchFamily="18" charset="0"/>
              </a:rPr>
              <a:t>T</a:t>
            </a:r>
            <a:r>
              <a:rPr lang="en-US" sz="1800" b="0" kern="100">
                <a:effectLst/>
                <a:ea typeface="Aptos" panose="020B0004020202020204" pitchFamily="34" charset="0"/>
                <a:cs typeface="Times New Roman" panose="02020603050405020304" pitchFamily="18" charset="0"/>
              </a:rPr>
              <a:t>hird-party payors, </a:t>
            </a:r>
            <a:r>
              <a:rPr lang="en-US">
                <a:ea typeface="Aptos" panose="020B0004020202020204" pitchFamily="34" charset="0"/>
                <a:cs typeface="Times New Roman" panose="02020603050405020304" pitchFamily="18" charset="0"/>
              </a:rPr>
              <a:t>anyone</a:t>
            </a:r>
            <a:r>
              <a:rPr lang="en-US" sz="1800" b="0" kern="100">
                <a:effectLst/>
                <a:ea typeface="Aptos" panose="020B0004020202020204" pitchFamily="34" charset="0"/>
                <a:cs typeface="Times New Roman" panose="02020603050405020304" pitchFamily="18" charset="0"/>
              </a:rPr>
              <a:t> outside of the owner or the insured, </a:t>
            </a:r>
            <a:r>
              <a:rPr lang="en-US">
                <a:ea typeface="Aptos" panose="020B0004020202020204" pitchFamily="34" charset="0"/>
                <a:cs typeface="Times New Roman" panose="02020603050405020304" pitchFamily="18" charset="0"/>
              </a:rPr>
              <a:t>will follow </a:t>
            </a:r>
            <a:r>
              <a:rPr lang="en-US" sz="1800" b="0" kern="100">
                <a:effectLst/>
                <a:ea typeface="Aptos" panose="020B0004020202020204" pitchFamily="34" charset="0"/>
                <a:cs typeface="Times New Roman" panose="02020603050405020304" pitchFamily="18" charset="0"/>
              </a:rPr>
              <a:t>the PIN-to-Sign signature process for payor forms.</a:t>
            </a:r>
          </a:p>
        </p:txBody>
      </p:sp>
    </p:spTree>
    <p:custDataLst>
      <p:tags r:id="rId1"/>
    </p:custDataLst>
    <p:extLst>
      <p:ext uri="{BB962C8B-B14F-4D97-AF65-F5344CB8AC3E}">
        <p14:creationId xmlns:p14="http://schemas.microsoft.com/office/powerpoint/2010/main" val="23818952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THUMBNAIL_REFRESH" val="1"/>
  <p:tag name="ARTICULATE_PROJECT_OPEN" val="0"/>
  <p:tag name="ARTICULATE_SLIDE_COUNT" val="4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A Title Slides">
  <a:themeElements>
    <a:clrScheme name="Aegon 2024">
      <a:dk1>
        <a:srgbClr val="000000"/>
      </a:dk1>
      <a:lt1>
        <a:srgbClr val="FFFFFF"/>
      </a:lt1>
      <a:dk2>
        <a:srgbClr val="1D2550"/>
      </a:dk2>
      <a:lt2>
        <a:srgbClr val="E5E4E0"/>
      </a:lt2>
      <a:accent1>
        <a:srgbClr val="278904"/>
      </a:accent1>
      <a:accent2>
        <a:srgbClr val="CC1AD4"/>
      </a:accent2>
      <a:accent3>
        <a:srgbClr val="187AC9"/>
      </a:accent3>
      <a:accent4>
        <a:srgbClr val="38179E"/>
      </a:accent4>
      <a:accent5>
        <a:srgbClr val="BA1C21"/>
      </a:accent5>
      <a:accent6>
        <a:srgbClr val="6F6B66"/>
      </a:accent6>
      <a:hlink>
        <a:srgbClr val="641EE0"/>
      </a:hlink>
      <a:folHlink>
        <a:srgbClr val="813684"/>
      </a:folHlink>
    </a:clrScheme>
    <a:fontScheme name="Forever Forma">
      <a:majorFont>
        <a:latin typeface="Forever Forma Heading"/>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orever Forma Body Text"/>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63B6FF"/>
        </a:solidFill>
        <a:ln w="6350">
          <a:noFill/>
        </a:ln>
      </a:spPr>
      <a:bodyPr rtlCol="0" anchor="ctr"/>
      <a:lstStyle>
        <a:defPPr algn="ctr">
          <a:defRPr dirty="0">
            <a:latin typeface="Forever Forma Body Text" pitchFamily="2"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28180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b="0" i="0" kern="100" spc="-30" dirty="0" smtClean="0">
            <a:latin typeface="Forever Forma Body Text"/>
          </a:defRPr>
        </a:defPPr>
      </a:lstStyle>
    </a:txDef>
  </a:objectDefaults>
  <a:extraClrSchemeLst/>
  <a:custClrLst>
    <a:custClr name="White">
      <a:srgbClr val="FFFFFF"/>
    </a:custClr>
    <a:custClr name="Fresh Lime">
      <a:srgbClr val="E7FF00"/>
    </a:custClr>
    <a:custClr name="Grass Green">
      <a:srgbClr val="4CD300"/>
    </a:custClr>
    <a:custClr name="Hot Pink">
      <a:srgbClr val="FA69FF"/>
    </a:custClr>
    <a:custClr name="Sky Blue">
      <a:srgbClr val="63B6FF"/>
    </a:custClr>
    <a:custClr name="Lavender Purple">
      <a:srgbClr val="641EE0"/>
    </a:custClr>
    <a:custClr name="Crimson Red">
      <a:srgbClr val="CF0000"/>
    </a:custClr>
    <a:custClr name="Chocolate Brown">
      <a:srgbClr val="5E3930"/>
    </a:custClr>
    <a:custClr name="Forest Green">
      <a:srgbClr val="0B3F2D"/>
    </a:custClr>
    <a:custClr name="Night Blue">
      <a:srgbClr val="1D2550"/>
    </a:custClr>
    <a:custClr name="Dark Grass Green">
      <a:srgbClr val="278904"/>
    </a:custClr>
    <a:custClr name="80%">
      <a:srgbClr val="52A136"/>
    </a:custClr>
    <a:custClr name="60%">
      <a:srgbClr val="7DB868"/>
    </a:custClr>
    <a:custClr name="40%">
      <a:srgbClr val="A9D09B"/>
    </a:custClr>
    <a:custClr name="20%">
      <a:srgbClr val="D4E7CD"/>
    </a:custClr>
    <a:custClr name="Dark Hot Pink">
      <a:srgbClr val="CC1AD4"/>
    </a:custClr>
    <a:custClr name="80%">
      <a:srgbClr val="D648DD"/>
    </a:custClr>
    <a:custClr name="60%">
      <a:srgbClr val="E076E5"/>
    </a:custClr>
    <a:custClr name="40%">
      <a:srgbClr val="EBA3EE"/>
    </a:custClr>
    <a:custClr name="20%">
      <a:srgbClr val="F5D1F6"/>
    </a:custClr>
    <a:custClr name="Dark Sky Blue">
      <a:srgbClr val="187AC9"/>
    </a:custClr>
    <a:custClr name="80%">
      <a:srgbClr val="4695D4"/>
    </a:custClr>
    <a:custClr name="60%">
      <a:srgbClr val="74AFDF"/>
    </a:custClr>
    <a:custClr name="40%">
      <a:srgbClr val="A3CAE9"/>
    </a:custClr>
    <a:custClr name="20%">
      <a:srgbClr val="D1E4F4"/>
    </a:custClr>
    <a:custClr name="Dark Lavender Purple">
      <a:srgbClr val="38179E"/>
    </a:custClr>
    <a:custClr name="80%">
      <a:srgbClr val="6045B1"/>
    </a:custClr>
    <a:custClr name="60%">
      <a:srgbClr val="8874C5"/>
    </a:custClr>
    <a:custClr name="40%">
      <a:srgbClr val="AFA2D8"/>
    </a:custClr>
    <a:custClr name="20%">
      <a:srgbClr val="D7D1EC"/>
    </a:custClr>
    <a:custClr name="Dark Crimson Red">
      <a:srgbClr val="BA1C21"/>
    </a:custClr>
    <a:custClr name="80%">
      <a:srgbClr val="C8494D"/>
    </a:custClr>
    <a:custClr name="60%">
      <a:srgbClr val="D6777A"/>
    </a:custClr>
    <a:custClr name="40%">
      <a:srgbClr val="E3A4A6"/>
    </a:custClr>
    <a:custClr name="20%">
      <a:srgbClr val="F1D2D3"/>
    </a:custClr>
    <a:custClr name="Warm Grey">
      <a:srgbClr val="6F6B66"/>
    </a:custClr>
    <a:custClr name="80%">
      <a:srgbClr val="959185"/>
    </a:custClr>
    <a:custClr name="60%">
      <a:srgbClr val="B0ADA3"/>
    </a:custClr>
    <a:custClr name="40%">
      <a:srgbClr val="CAC8C2"/>
    </a:custClr>
    <a:custClr name="20%">
      <a:srgbClr val="E5E4E0"/>
    </a:custClr>
  </a:custClrLst>
  <a:extLst>
    <a:ext uri="{05A4C25C-085E-4340-85A3-A5531E510DB2}">
      <thm15:themeFamily xmlns:thm15="http://schemas.microsoft.com/office/thememl/2012/main" name="ta_general_user_240906" id="{868A8F7A-8740-CC44-9DF2-FFE53DCC731A}" vid="{23B6DE71-FBC0-334C-AB7E-42E8C3F4E708}"/>
    </a:ext>
  </a:extLst>
</a:theme>
</file>

<file path=ppt/theme/theme10.xml><?xml version="1.0" encoding="utf-8"?>
<a:theme xmlns:a="http://schemas.openxmlformats.org/drawingml/2006/main" name="aegon 2024">
  <a:themeElements>
    <a:clrScheme name="Aegon 2024">
      <a:dk1>
        <a:srgbClr val="000000"/>
      </a:dk1>
      <a:lt1>
        <a:srgbClr val="FFFFFF"/>
      </a:lt1>
      <a:dk2>
        <a:srgbClr val="1D2550"/>
      </a:dk2>
      <a:lt2>
        <a:srgbClr val="E5E4E0"/>
      </a:lt2>
      <a:accent1>
        <a:srgbClr val="278904"/>
      </a:accent1>
      <a:accent2>
        <a:srgbClr val="CC1AD4"/>
      </a:accent2>
      <a:accent3>
        <a:srgbClr val="187AC9"/>
      </a:accent3>
      <a:accent4>
        <a:srgbClr val="38179E"/>
      </a:accent4>
      <a:accent5>
        <a:srgbClr val="BA1C21"/>
      </a:accent5>
      <a:accent6>
        <a:srgbClr val="6F6B66"/>
      </a:accent6>
      <a:hlink>
        <a:srgbClr val="641EE0"/>
      </a:hlink>
      <a:folHlink>
        <a:srgbClr val="813684"/>
      </a:folHlink>
    </a:clrScheme>
    <a:fontScheme name="Forever Forma">
      <a:majorFont>
        <a:latin typeface="Forever Forma Heading"/>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orever Forma Body Text"/>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FF"/>
        </a:solidFill>
        <a:ln w="6350">
          <a:solidFill>
            <a:schemeClr val="tx1"/>
          </a:solid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28180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0800" tIns="50800" rIns="50800" bIns="50800" rtlCol="0">
        <a:noAutofit/>
      </a:bodyPr>
      <a:lstStyle>
        <a:defPPr algn="l">
          <a:defRPr kern="100" spc="-30" smtClean="0"/>
        </a:defPPr>
      </a:lstStyle>
    </a:txDef>
  </a:objectDefaults>
  <a:extraClrSchemeLst/>
  <a:custClrLst>
    <a:custClr name="White">
      <a:srgbClr val="FFFFFF"/>
    </a:custClr>
    <a:custClr name="Fresh Lime">
      <a:srgbClr val="E7FF00"/>
    </a:custClr>
    <a:custClr name="Grass Green">
      <a:srgbClr val="4CD300"/>
    </a:custClr>
    <a:custClr name="Hot Pink">
      <a:srgbClr val="FA69FF"/>
    </a:custClr>
    <a:custClr name="Sky Blue">
      <a:srgbClr val="63B6FF"/>
    </a:custClr>
    <a:custClr name="Lavender Purple">
      <a:srgbClr val="641EE0"/>
    </a:custClr>
    <a:custClr name="Crimson Red">
      <a:srgbClr val="CF0000"/>
    </a:custClr>
    <a:custClr name="Chocolate Brown">
      <a:srgbClr val="5E3930"/>
    </a:custClr>
    <a:custClr name="Forest Green">
      <a:srgbClr val="0B3F2D"/>
    </a:custClr>
    <a:custClr name="Night Blue">
      <a:srgbClr val="1D2550"/>
    </a:custClr>
    <a:custClr name="Dark Grass Green">
      <a:srgbClr val="278904"/>
    </a:custClr>
    <a:custClr name="80%">
      <a:srgbClr val="52A136"/>
    </a:custClr>
    <a:custClr name="60%">
      <a:srgbClr val="7DB868"/>
    </a:custClr>
    <a:custClr name="40%">
      <a:srgbClr val="A9D09B"/>
    </a:custClr>
    <a:custClr name="20%">
      <a:srgbClr val="D4E7CD"/>
    </a:custClr>
    <a:custClr name="Dark Hot Pink">
      <a:srgbClr val="CC1AD4"/>
    </a:custClr>
    <a:custClr name="80%">
      <a:srgbClr val="D648DD"/>
    </a:custClr>
    <a:custClr name="60%">
      <a:srgbClr val="E076E5"/>
    </a:custClr>
    <a:custClr name="40%">
      <a:srgbClr val="EBA3EE"/>
    </a:custClr>
    <a:custClr name="20%">
      <a:srgbClr val="F5D1F6"/>
    </a:custClr>
    <a:custClr name="Dark Sky Blue">
      <a:srgbClr val="187AC9"/>
    </a:custClr>
    <a:custClr name="80%">
      <a:srgbClr val="4695D4"/>
    </a:custClr>
    <a:custClr name="60%">
      <a:srgbClr val="74AFDF"/>
    </a:custClr>
    <a:custClr name="40%">
      <a:srgbClr val="A3CAE9"/>
    </a:custClr>
    <a:custClr name="20%">
      <a:srgbClr val="D1E4F4"/>
    </a:custClr>
    <a:custClr name="Dark Lavender Purple">
      <a:srgbClr val="38179E"/>
    </a:custClr>
    <a:custClr name="80%">
      <a:srgbClr val="6045B1"/>
    </a:custClr>
    <a:custClr name="60%">
      <a:srgbClr val="8874C5"/>
    </a:custClr>
    <a:custClr name="40%">
      <a:srgbClr val="AFA2D8"/>
    </a:custClr>
    <a:custClr name="20%">
      <a:srgbClr val="D7D1EC"/>
    </a:custClr>
    <a:custClr name="Dark Crimson Red">
      <a:srgbClr val="BA1C21"/>
    </a:custClr>
    <a:custClr name="80%">
      <a:srgbClr val="C8494D"/>
    </a:custClr>
    <a:custClr name="60%">
      <a:srgbClr val="D6777A"/>
    </a:custClr>
    <a:custClr name="40%">
      <a:srgbClr val="E3A4A6"/>
    </a:custClr>
    <a:custClr name="20%">
      <a:srgbClr val="F1D2D3"/>
    </a:custClr>
    <a:custClr name="Warm Grey">
      <a:srgbClr val="6F6B66"/>
    </a:custClr>
    <a:custClr name="80%">
      <a:srgbClr val="959185"/>
    </a:custClr>
    <a:custClr name="60%">
      <a:srgbClr val="B0ADA3"/>
    </a:custClr>
    <a:custClr name="40%">
      <a:srgbClr val="CAC8C2"/>
    </a:custClr>
    <a:custClr name="20%">
      <a:srgbClr val="E5E4E0"/>
    </a:custClr>
  </a:custClrLst>
</a:theme>
</file>

<file path=ppt/theme/theme11.xml><?xml version="1.0" encoding="utf-8"?>
<a:theme xmlns:a="http://schemas.openxmlformats.org/drawingml/2006/main" name="aegon 2024">
  <a:themeElements>
    <a:clrScheme name="Aegon 2024">
      <a:dk1>
        <a:srgbClr val="000000"/>
      </a:dk1>
      <a:lt1>
        <a:srgbClr val="FFFFFF"/>
      </a:lt1>
      <a:dk2>
        <a:srgbClr val="1D2550"/>
      </a:dk2>
      <a:lt2>
        <a:srgbClr val="E5E4E0"/>
      </a:lt2>
      <a:accent1>
        <a:srgbClr val="278904"/>
      </a:accent1>
      <a:accent2>
        <a:srgbClr val="CC1AD4"/>
      </a:accent2>
      <a:accent3>
        <a:srgbClr val="187AC9"/>
      </a:accent3>
      <a:accent4>
        <a:srgbClr val="38179E"/>
      </a:accent4>
      <a:accent5>
        <a:srgbClr val="BA1C21"/>
      </a:accent5>
      <a:accent6>
        <a:srgbClr val="6F6B66"/>
      </a:accent6>
      <a:hlink>
        <a:srgbClr val="641EE0"/>
      </a:hlink>
      <a:folHlink>
        <a:srgbClr val="813684"/>
      </a:folHlink>
    </a:clrScheme>
    <a:fontScheme name="Forever Forma">
      <a:majorFont>
        <a:latin typeface="Forever Forma Heading"/>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orever Forma Body Text"/>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FF"/>
        </a:solidFill>
        <a:ln w="6350">
          <a:solidFill>
            <a:schemeClr val="tx1"/>
          </a:solid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28180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0800" tIns="50800" rIns="50800" bIns="50800" rtlCol="0">
        <a:noAutofit/>
      </a:bodyPr>
      <a:lstStyle>
        <a:defPPr algn="l">
          <a:defRPr kern="100" spc="-30" smtClean="0"/>
        </a:defPPr>
      </a:lstStyle>
    </a:txDef>
  </a:objectDefaults>
  <a:extraClrSchemeLst/>
  <a:custClrLst>
    <a:custClr name="White">
      <a:srgbClr val="FFFFFF"/>
    </a:custClr>
    <a:custClr name="Fresh Lime">
      <a:srgbClr val="E7FF00"/>
    </a:custClr>
    <a:custClr name="Grass Green">
      <a:srgbClr val="4CD300"/>
    </a:custClr>
    <a:custClr name="Hot Pink">
      <a:srgbClr val="FA69FF"/>
    </a:custClr>
    <a:custClr name="Sky Blue">
      <a:srgbClr val="63B6FF"/>
    </a:custClr>
    <a:custClr name="Lavender Purple">
      <a:srgbClr val="641EE0"/>
    </a:custClr>
    <a:custClr name="Crimson Red">
      <a:srgbClr val="CF0000"/>
    </a:custClr>
    <a:custClr name="Chocolate Brown">
      <a:srgbClr val="5E3930"/>
    </a:custClr>
    <a:custClr name="Forest Green">
      <a:srgbClr val="0B3F2D"/>
    </a:custClr>
    <a:custClr name="Night Blue">
      <a:srgbClr val="1D2550"/>
    </a:custClr>
    <a:custClr name="Dark Grass Green">
      <a:srgbClr val="278904"/>
    </a:custClr>
    <a:custClr name="80%">
      <a:srgbClr val="52A136"/>
    </a:custClr>
    <a:custClr name="60%">
      <a:srgbClr val="7DB868"/>
    </a:custClr>
    <a:custClr name="40%">
      <a:srgbClr val="A9D09B"/>
    </a:custClr>
    <a:custClr name="20%">
      <a:srgbClr val="D4E7CD"/>
    </a:custClr>
    <a:custClr name="Dark Hot Pink">
      <a:srgbClr val="CC1AD4"/>
    </a:custClr>
    <a:custClr name="80%">
      <a:srgbClr val="D648DD"/>
    </a:custClr>
    <a:custClr name="60%">
      <a:srgbClr val="E076E5"/>
    </a:custClr>
    <a:custClr name="40%">
      <a:srgbClr val="EBA3EE"/>
    </a:custClr>
    <a:custClr name="20%">
      <a:srgbClr val="F5D1F6"/>
    </a:custClr>
    <a:custClr name="Dark Sky Blue">
      <a:srgbClr val="187AC9"/>
    </a:custClr>
    <a:custClr name="80%">
      <a:srgbClr val="4695D4"/>
    </a:custClr>
    <a:custClr name="60%">
      <a:srgbClr val="74AFDF"/>
    </a:custClr>
    <a:custClr name="40%">
      <a:srgbClr val="A3CAE9"/>
    </a:custClr>
    <a:custClr name="20%">
      <a:srgbClr val="D1E4F4"/>
    </a:custClr>
    <a:custClr name="Dark Lavender Purple">
      <a:srgbClr val="38179E"/>
    </a:custClr>
    <a:custClr name="80%">
      <a:srgbClr val="6045B1"/>
    </a:custClr>
    <a:custClr name="60%">
      <a:srgbClr val="8874C5"/>
    </a:custClr>
    <a:custClr name="40%">
      <a:srgbClr val="AFA2D8"/>
    </a:custClr>
    <a:custClr name="20%">
      <a:srgbClr val="D7D1EC"/>
    </a:custClr>
    <a:custClr name="Dark Crimson Red">
      <a:srgbClr val="BA1C21"/>
    </a:custClr>
    <a:custClr name="80%">
      <a:srgbClr val="C8494D"/>
    </a:custClr>
    <a:custClr name="60%">
      <a:srgbClr val="D6777A"/>
    </a:custClr>
    <a:custClr name="40%">
      <a:srgbClr val="E3A4A6"/>
    </a:custClr>
    <a:custClr name="20%">
      <a:srgbClr val="F1D2D3"/>
    </a:custClr>
    <a:custClr name="Warm Grey">
      <a:srgbClr val="6F6B66"/>
    </a:custClr>
    <a:custClr name="80%">
      <a:srgbClr val="959185"/>
    </a:custClr>
    <a:custClr name="60%">
      <a:srgbClr val="B0ADA3"/>
    </a:custClr>
    <a:custClr name="40%">
      <a:srgbClr val="CAC8C2"/>
    </a:custClr>
    <a:custClr name="20%">
      <a:srgbClr val="E5E4E0"/>
    </a:custClr>
  </a:custClrLst>
</a:theme>
</file>

<file path=ppt/theme/theme2.xml><?xml version="1.0" encoding="utf-8"?>
<a:theme xmlns:a="http://schemas.openxmlformats.org/drawingml/2006/main" name="TA Index/Agenda Slides">
  <a:themeElements>
    <a:clrScheme name="Aegon 2024">
      <a:dk1>
        <a:srgbClr val="000000"/>
      </a:dk1>
      <a:lt1>
        <a:srgbClr val="FFFFFF"/>
      </a:lt1>
      <a:dk2>
        <a:srgbClr val="1D2550"/>
      </a:dk2>
      <a:lt2>
        <a:srgbClr val="E5E4E0"/>
      </a:lt2>
      <a:accent1>
        <a:srgbClr val="278904"/>
      </a:accent1>
      <a:accent2>
        <a:srgbClr val="CC1AD4"/>
      </a:accent2>
      <a:accent3>
        <a:srgbClr val="187AC9"/>
      </a:accent3>
      <a:accent4>
        <a:srgbClr val="38179E"/>
      </a:accent4>
      <a:accent5>
        <a:srgbClr val="BA1C21"/>
      </a:accent5>
      <a:accent6>
        <a:srgbClr val="6F6B66"/>
      </a:accent6>
      <a:hlink>
        <a:srgbClr val="641EE0"/>
      </a:hlink>
      <a:folHlink>
        <a:srgbClr val="813684"/>
      </a:folHlink>
    </a:clrScheme>
    <a:fontScheme name="Forever Forma">
      <a:majorFont>
        <a:latin typeface="Forever Forma Heading"/>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orever Forma Body Text"/>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63B6FF"/>
        </a:solidFill>
        <a:ln w="6350">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28180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kern="100" spc="-30" dirty="0" err="1" smtClean="0">
            <a:latin typeface="Forever Forma Body Text"/>
          </a:defRPr>
        </a:defPPr>
      </a:lstStyle>
    </a:txDef>
  </a:objectDefaults>
  <a:extraClrSchemeLst/>
  <a:custClrLst>
    <a:custClr name="White">
      <a:srgbClr val="FFFFFF"/>
    </a:custClr>
    <a:custClr name="Fresh Lime">
      <a:srgbClr val="E7FF00"/>
    </a:custClr>
    <a:custClr name="Grass Green">
      <a:srgbClr val="4CD300"/>
    </a:custClr>
    <a:custClr name="Hot Pink">
      <a:srgbClr val="FA69FF"/>
    </a:custClr>
    <a:custClr name="Sky Blue">
      <a:srgbClr val="63B6FF"/>
    </a:custClr>
    <a:custClr name="Lavender Purple">
      <a:srgbClr val="641EE0"/>
    </a:custClr>
    <a:custClr name="Crimson Red">
      <a:srgbClr val="CF0000"/>
    </a:custClr>
    <a:custClr name="Chocolate Brown">
      <a:srgbClr val="5E3930"/>
    </a:custClr>
    <a:custClr name="Forest Green">
      <a:srgbClr val="0B3F2D"/>
    </a:custClr>
    <a:custClr name="Night Blue">
      <a:srgbClr val="1D2550"/>
    </a:custClr>
    <a:custClr name="Dark Grass Green">
      <a:srgbClr val="278904"/>
    </a:custClr>
    <a:custClr name="80%">
      <a:srgbClr val="52A136"/>
    </a:custClr>
    <a:custClr name="60%">
      <a:srgbClr val="7DB868"/>
    </a:custClr>
    <a:custClr name="40%">
      <a:srgbClr val="A9D09B"/>
    </a:custClr>
    <a:custClr name="20%">
      <a:srgbClr val="D4E7CD"/>
    </a:custClr>
    <a:custClr name="Dark Hot Pink">
      <a:srgbClr val="CC1AD4"/>
    </a:custClr>
    <a:custClr name="80%">
      <a:srgbClr val="D648DD"/>
    </a:custClr>
    <a:custClr name="60%">
      <a:srgbClr val="E076E5"/>
    </a:custClr>
    <a:custClr name="40%">
      <a:srgbClr val="EBA3EE"/>
    </a:custClr>
    <a:custClr name="20%">
      <a:srgbClr val="F5D1F6"/>
    </a:custClr>
    <a:custClr name="Dark Sky Blue">
      <a:srgbClr val="187AC9"/>
    </a:custClr>
    <a:custClr name="80%">
      <a:srgbClr val="4695D4"/>
    </a:custClr>
    <a:custClr name="60%">
      <a:srgbClr val="74AFDF"/>
    </a:custClr>
    <a:custClr name="40%">
      <a:srgbClr val="A3CAE9"/>
    </a:custClr>
    <a:custClr name="20%">
      <a:srgbClr val="D1E4F4"/>
    </a:custClr>
    <a:custClr name="Dark Lavender Purple">
      <a:srgbClr val="38179E"/>
    </a:custClr>
    <a:custClr name="80%">
      <a:srgbClr val="6045B1"/>
    </a:custClr>
    <a:custClr name="60%">
      <a:srgbClr val="8874C5"/>
    </a:custClr>
    <a:custClr name="40%">
      <a:srgbClr val="AFA2D8"/>
    </a:custClr>
    <a:custClr name="20%">
      <a:srgbClr val="D7D1EC"/>
    </a:custClr>
    <a:custClr name="Dark Crimson Red">
      <a:srgbClr val="BA1C21"/>
    </a:custClr>
    <a:custClr name="80%">
      <a:srgbClr val="C8494D"/>
    </a:custClr>
    <a:custClr name="60%">
      <a:srgbClr val="D6777A"/>
    </a:custClr>
    <a:custClr name="40%">
      <a:srgbClr val="E3A4A6"/>
    </a:custClr>
    <a:custClr name="20%">
      <a:srgbClr val="F1D2D3"/>
    </a:custClr>
    <a:custClr name="Warm Grey">
      <a:srgbClr val="6F6B66"/>
    </a:custClr>
    <a:custClr name="80%">
      <a:srgbClr val="959185"/>
    </a:custClr>
    <a:custClr name="60%">
      <a:srgbClr val="B0ADA3"/>
    </a:custClr>
    <a:custClr name="40%">
      <a:srgbClr val="CAC8C2"/>
    </a:custClr>
    <a:custClr name="20%">
      <a:srgbClr val="E5E4E0"/>
    </a:custClr>
  </a:custClrLst>
  <a:extLst>
    <a:ext uri="{05A4C25C-085E-4340-85A3-A5531E510DB2}">
      <thm15:themeFamily xmlns:thm15="http://schemas.microsoft.com/office/thememl/2012/main" name="ta_general_user_240906" id="{868A8F7A-8740-CC44-9DF2-FFE53DCC731A}" vid="{EF131EC9-832C-184D-B06C-4BA1F163F64A}"/>
    </a:ext>
  </a:extLst>
</a:theme>
</file>

<file path=ppt/theme/theme3.xml><?xml version="1.0" encoding="utf-8"?>
<a:theme xmlns:a="http://schemas.openxmlformats.org/drawingml/2006/main" name="TA Divider/Chapter Slides">
  <a:themeElements>
    <a:clrScheme name="Aegon 2024">
      <a:dk1>
        <a:srgbClr val="000000"/>
      </a:dk1>
      <a:lt1>
        <a:srgbClr val="FFFFFF"/>
      </a:lt1>
      <a:dk2>
        <a:srgbClr val="1D2550"/>
      </a:dk2>
      <a:lt2>
        <a:srgbClr val="E5E4E0"/>
      </a:lt2>
      <a:accent1>
        <a:srgbClr val="278904"/>
      </a:accent1>
      <a:accent2>
        <a:srgbClr val="CC1AD4"/>
      </a:accent2>
      <a:accent3>
        <a:srgbClr val="187AC9"/>
      </a:accent3>
      <a:accent4>
        <a:srgbClr val="38179E"/>
      </a:accent4>
      <a:accent5>
        <a:srgbClr val="BA1C21"/>
      </a:accent5>
      <a:accent6>
        <a:srgbClr val="6F6B66"/>
      </a:accent6>
      <a:hlink>
        <a:srgbClr val="641EE0"/>
      </a:hlink>
      <a:folHlink>
        <a:srgbClr val="813684"/>
      </a:folHlink>
    </a:clrScheme>
    <a:fontScheme name="Forever Forma">
      <a:majorFont>
        <a:latin typeface="Forever Forma Heading"/>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orever Forma Body Text"/>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63B6FF"/>
        </a:solidFill>
        <a:ln w="6350">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28180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b="0" i="0" kern="100" spc="-30" dirty="0" err="1" smtClean="0">
            <a:latin typeface="Forever Forma Body Text"/>
          </a:defRPr>
        </a:defPPr>
      </a:lstStyle>
    </a:txDef>
  </a:objectDefaults>
  <a:extraClrSchemeLst/>
  <a:custClrLst>
    <a:custClr name="White">
      <a:srgbClr val="FFFFFF"/>
    </a:custClr>
    <a:custClr name="Fresh Lime">
      <a:srgbClr val="E7FF00"/>
    </a:custClr>
    <a:custClr name="Grass Green">
      <a:srgbClr val="4CD300"/>
    </a:custClr>
    <a:custClr name="Hot Pink">
      <a:srgbClr val="FA69FF"/>
    </a:custClr>
    <a:custClr name="Sky Blue">
      <a:srgbClr val="63B6FF"/>
    </a:custClr>
    <a:custClr name="Lavender Purple">
      <a:srgbClr val="641EE0"/>
    </a:custClr>
    <a:custClr name="Crimson Red">
      <a:srgbClr val="CF0000"/>
    </a:custClr>
    <a:custClr name="Chocolate Brown">
      <a:srgbClr val="5E3930"/>
    </a:custClr>
    <a:custClr name="Forest Green">
      <a:srgbClr val="0B3F2D"/>
    </a:custClr>
    <a:custClr name="Night Blue">
      <a:srgbClr val="1D2550"/>
    </a:custClr>
    <a:custClr name="Dark Grass Green">
      <a:srgbClr val="278904"/>
    </a:custClr>
    <a:custClr name="80%">
      <a:srgbClr val="52A136"/>
    </a:custClr>
    <a:custClr name="60%">
      <a:srgbClr val="7DB868"/>
    </a:custClr>
    <a:custClr name="40%">
      <a:srgbClr val="A9D09B"/>
    </a:custClr>
    <a:custClr name="20%">
      <a:srgbClr val="D4E7CD"/>
    </a:custClr>
    <a:custClr name="Dark Hot Pink">
      <a:srgbClr val="CC1AD4"/>
    </a:custClr>
    <a:custClr name="80%">
      <a:srgbClr val="D648DD"/>
    </a:custClr>
    <a:custClr name="60%">
      <a:srgbClr val="E076E5"/>
    </a:custClr>
    <a:custClr name="40%">
      <a:srgbClr val="EBA3EE"/>
    </a:custClr>
    <a:custClr name="20%">
      <a:srgbClr val="F5D1F6"/>
    </a:custClr>
    <a:custClr name="Dark Sky Blue">
      <a:srgbClr val="187AC9"/>
    </a:custClr>
    <a:custClr name="80%">
      <a:srgbClr val="4695D4"/>
    </a:custClr>
    <a:custClr name="60%">
      <a:srgbClr val="74AFDF"/>
    </a:custClr>
    <a:custClr name="40%">
      <a:srgbClr val="A3CAE9"/>
    </a:custClr>
    <a:custClr name="20%">
      <a:srgbClr val="D1E4F4"/>
    </a:custClr>
    <a:custClr name="Dark Lavender Purple">
      <a:srgbClr val="38179E"/>
    </a:custClr>
    <a:custClr name="80%">
      <a:srgbClr val="6045B1"/>
    </a:custClr>
    <a:custClr name="60%">
      <a:srgbClr val="8874C5"/>
    </a:custClr>
    <a:custClr name="40%">
      <a:srgbClr val="AFA2D8"/>
    </a:custClr>
    <a:custClr name="20%">
      <a:srgbClr val="D7D1EC"/>
    </a:custClr>
    <a:custClr name="Dark Crimson Red">
      <a:srgbClr val="BA1C21"/>
    </a:custClr>
    <a:custClr name="80%">
      <a:srgbClr val="C8494D"/>
    </a:custClr>
    <a:custClr name="60%">
      <a:srgbClr val="D6777A"/>
    </a:custClr>
    <a:custClr name="40%">
      <a:srgbClr val="E3A4A6"/>
    </a:custClr>
    <a:custClr name="20%">
      <a:srgbClr val="F1D2D3"/>
    </a:custClr>
    <a:custClr name="Warm Grey">
      <a:srgbClr val="6F6B66"/>
    </a:custClr>
    <a:custClr name="80%">
      <a:srgbClr val="959185"/>
    </a:custClr>
    <a:custClr name="60%">
      <a:srgbClr val="B0ADA3"/>
    </a:custClr>
    <a:custClr name="40%">
      <a:srgbClr val="CAC8C2"/>
    </a:custClr>
    <a:custClr name="20%">
      <a:srgbClr val="E5E4E0"/>
    </a:custClr>
  </a:custClrLst>
  <a:extLst>
    <a:ext uri="{05A4C25C-085E-4340-85A3-A5531E510DB2}">
      <thm15:themeFamily xmlns:thm15="http://schemas.microsoft.com/office/thememl/2012/main" name="ta_general_user_240906" id="{868A8F7A-8740-CC44-9DF2-FFE53DCC731A}" vid="{87956620-5DE6-C941-A665-75ECBA59B84E}"/>
    </a:ext>
  </a:extLst>
</a:theme>
</file>

<file path=ppt/theme/theme4.xml><?xml version="1.0" encoding="utf-8"?>
<a:theme xmlns:a="http://schemas.openxmlformats.org/drawingml/2006/main" name="TA Content Slides">
  <a:themeElements>
    <a:clrScheme name="Aegon 2024">
      <a:dk1>
        <a:srgbClr val="000000"/>
      </a:dk1>
      <a:lt1>
        <a:srgbClr val="FFFFFF"/>
      </a:lt1>
      <a:dk2>
        <a:srgbClr val="1D2550"/>
      </a:dk2>
      <a:lt2>
        <a:srgbClr val="E5E4E0"/>
      </a:lt2>
      <a:accent1>
        <a:srgbClr val="278904"/>
      </a:accent1>
      <a:accent2>
        <a:srgbClr val="CC1AD4"/>
      </a:accent2>
      <a:accent3>
        <a:srgbClr val="187AC9"/>
      </a:accent3>
      <a:accent4>
        <a:srgbClr val="38179E"/>
      </a:accent4>
      <a:accent5>
        <a:srgbClr val="BA1C21"/>
      </a:accent5>
      <a:accent6>
        <a:srgbClr val="6F6B66"/>
      </a:accent6>
      <a:hlink>
        <a:srgbClr val="641EE0"/>
      </a:hlink>
      <a:folHlink>
        <a:srgbClr val="813684"/>
      </a:folHlink>
    </a:clrScheme>
    <a:fontScheme name="Forever Forma">
      <a:majorFont>
        <a:latin typeface="Forever Forma Heading"/>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orever Forma Body Text"/>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63B6FF"/>
        </a:solidFill>
        <a:ln w="6350">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281805"/>
          </a:solidFill>
        </a:ln>
      </a:spPr>
      <a:bodyPr/>
      <a:lstStyle/>
      <a:style>
        <a:lnRef idx="1">
          <a:schemeClr val="accent1"/>
        </a:lnRef>
        <a:fillRef idx="0">
          <a:schemeClr val="accent1"/>
        </a:fillRef>
        <a:effectRef idx="0">
          <a:schemeClr val="accent1"/>
        </a:effectRef>
        <a:fontRef idx="minor">
          <a:schemeClr val="tx1"/>
        </a:fontRef>
      </a:style>
    </a:lnDef>
    <a:txDef>
      <a:spPr/>
      <a:bodyPr vert="horz" lIns="0" tIns="0" rIns="0" bIns="0" rtlCol="0">
        <a:noAutofit/>
      </a:bodyPr>
      <a:lstStyle>
        <a:defPPr algn="l">
          <a:defRPr dirty="0" smtClean="0"/>
        </a:defPPr>
      </a:lstStyle>
    </a:txDef>
  </a:objectDefaults>
  <a:extraClrSchemeLst/>
  <a:custClrLst>
    <a:custClr name="White">
      <a:srgbClr val="FFFFFF"/>
    </a:custClr>
    <a:custClr name="Fresh Lime">
      <a:srgbClr val="E7FF00"/>
    </a:custClr>
    <a:custClr name="Grass Green">
      <a:srgbClr val="4CD300"/>
    </a:custClr>
    <a:custClr name="Hot Pink">
      <a:srgbClr val="FA69FF"/>
    </a:custClr>
    <a:custClr name="Sky Blue">
      <a:srgbClr val="63B6FF"/>
    </a:custClr>
    <a:custClr name="Lavender Purple">
      <a:srgbClr val="641EE0"/>
    </a:custClr>
    <a:custClr name="Crimson Red">
      <a:srgbClr val="CF0000"/>
    </a:custClr>
    <a:custClr name="Chocolate Brown">
      <a:srgbClr val="5E3930"/>
    </a:custClr>
    <a:custClr name="Forest Green">
      <a:srgbClr val="0B3F2D"/>
    </a:custClr>
    <a:custClr name="Night Blue">
      <a:srgbClr val="1D2550"/>
    </a:custClr>
    <a:custClr name="Dark Grass Green">
      <a:srgbClr val="278904"/>
    </a:custClr>
    <a:custClr name="80%">
      <a:srgbClr val="52A136"/>
    </a:custClr>
    <a:custClr name="60%">
      <a:srgbClr val="7DB868"/>
    </a:custClr>
    <a:custClr name="40%">
      <a:srgbClr val="A9D09B"/>
    </a:custClr>
    <a:custClr name="20%">
      <a:srgbClr val="D4E7CD"/>
    </a:custClr>
    <a:custClr name="Dark Hot Pink">
      <a:srgbClr val="CC1AD4"/>
    </a:custClr>
    <a:custClr name="80%">
      <a:srgbClr val="D648DD"/>
    </a:custClr>
    <a:custClr name="60%">
      <a:srgbClr val="E076E5"/>
    </a:custClr>
    <a:custClr name="40%">
      <a:srgbClr val="EBA3EE"/>
    </a:custClr>
    <a:custClr name="20%">
      <a:srgbClr val="F5D1F6"/>
    </a:custClr>
    <a:custClr name="Dark Sky Blue">
      <a:srgbClr val="187AC9"/>
    </a:custClr>
    <a:custClr name="80%">
      <a:srgbClr val="4695D4"/>
    </a:custClr>
    <a:custClr name="60%">
      <a:srgbClr val="74AFDF"/>
    </a:custClr>
    <a:custClr name="40%">
      <a:srgbClr val="A3CAE9"/>
    </a:custClr>
    <a:custClr name="20%">
      <a:srgbClr val="D1E4F4"/>
    </a:custClr>
    <a:custClr name="Dark Lavender Purple">
      <a:srgbClr val="38179E"/>
    </a:custClr>
    <a:custClr name="80%">
      <a:srgbClr val="6045B1"/>
    </a:custClr>
    <a:custClr name="60%">
      <a:srgbClr val="8874C5"/>
    </a:custClr>
    <a:custClr name="40%">
      <a:srgbClr val="AFA2D8"/>
    </a:custClr>
    <a:custClr name="20%">
      <a:srgbClr val="D7D1EC"/>
    </a:custClr>
    <a:custClr name="Dark Crimson Red">
      <a:srgbClr val="BA1C21"/>
    </a:custClr>
    <a:custClr name="80%">
      <a:srgbClr val="C8494D"/>
    </a:custClr>
    <a:custClr name="60%">
      <a:srgbClr val="D6777A"/>
    </a:custClr>
    <a:custClr name="40%">
      <a:srgbClr val="E3A4A6"/>
    </a:custClr>
    <a:custClr name="20%">
      <a:srgbClr val="F1D2D3"/>
    </a:custClr>
    <a:custClr name="Warm Grey">
      <a:srgbClr val="6F6B66"/>
    </a:custClr>
    <a:custClr name="80%">
      <a:srgbClr val="959185"/>
    </a:custClr>
    <a:custClr name="60%">
      <a:srgbClr val="B0ADA3"/>
    </a:custClr>
    <a:custClr name="40%">
      <a:srgbClr val="CAC8C2"/>
    </a:custClr>
    <a:custClr name="20%">
      <a:srgbClr val="E5E4E0"/>
    </a:custClr>
  </a:custClrLst>
  <a:extLst>
    <a:ext uri="{05A4C25C-085E-4340-85A3-A5531E510DB2}">
      <thm15:themeFamily xmlns:thm15="http://schemas.microsoft.com/office/thememl/2012/main" name="ta_general_user_240906" id="{868A8F7A-8740-CC44-9DF2-FFE53DCC731A}" vid="{D6FF6BA6-294D-A84C-9FE6-CA19E35FB4DF}"/>
    </a:ext>
  </a:extLst>
</a:theme>
</file>

<file path=ppt/theme/theme5.xml><?xml version="1.0" encoding="utf-8"?>
<a:theme xmlns:a="http://schemas.openxmlformats.org/drawingml/2006/main" name="TA Biography Slides">
  <a:themeElements>
    <a:clrScheme name="Aegon 2024">
      <a:dk1>
        <a:srgbClr val="000000"/>
      </a:dk1>
      <a:lt1>
        <a:srgbClr val="FFFFFF"/>
      </a:lt1>
      <a:dk2>
        <a:srgbClr val="1D2550"/>
      </a:dk2>
      <a:lt2>
        <a:srgbClr val="E5E4E0"/>
      </a:lt2>
      <a:accent1>
        <a:srgbClr val="278904"/>
      </a:accent1>
      <a:accent2>
        <a:srgbClr val="CC1AD4"/>
      </a:accent2>
      <a:accent3>
        <a:srgbClr val="187AC9"/>
      </a:accent3>
      <a:accent4>
        <a:srgbClr val="38179E"/>
      </a:accent4>
      <a:accent5>
        <a:srgbClr val="BA1C21"/>
      </a:accent5>
      <a:accent6>
        <a:srgbClr val="6F6B66"/>
      </a:accent6>
      <a:hlink>
        <a:srgbClr val="641EE0"/>
      </a:hlink>
      <a:folHlink>
        <a:srgbClr val="813684"/>
      </a:folHlink>
    </a:clrScheme>
    <a:fontScheme name="Forever Forma">
      <a:majorFont>
        <a:latin typeface="Forever Forma Heading"/>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orever Forma Body Text"/>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63B6FF"/>
        </a:solidFill>
        <a:ln w="6350">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28180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kern="100" spc="-30" dirty="0" err="1" smtClean="0">
            <a:latin typeface="Forever Forma Body Text"/>
          </a:defRPr>
        </a:defPPr>
      </a:lstStyle>
    </a:txDef>
  </a:objectDefaults>
  <a:extraClrSchemeLst/>
  <a:custClrLst>
    <a:custClr name="White">
      <a:srgbClr val="FFFFFF"/>
    </a:custClr>
    <a:custClr name="Fresh Lime">
      <a:srgbClr val="E7FF00"/>
    </a:custClr>
    <a:custClr name="Grass Green">
      <a:srgbClr val="4CD300"/>
    </a:custClr>
    <a:custClr name="Hot Pink">
      <a:srgbClr val="FA69FF"/>
    </a:custClr>
    <a:custClr name="Sky Blue">
      <a:srgbClr val="63B6FF"/>
    </a:custClr>
    <a:custClr name="Lavender Purple">
      <a:srgbClr val="641EE0"/>
    </a:custClr>
    <a:custClr name="Crimson Red">
      <a:srgbClr val="CF0000"/>
    </a:custClr>
    <a:custClr name="Chocolate Brown">
      <a:srgbClr val="5E3930"/>
    </a:custClr>
    <a:custClr name="Forest Green">
      <a:srgbClr val="0B3F2D"/>
    </a:custClr>
    <a:custClr name="Night Blue">
      <a:srgbClr val="1D2550"/>
    </a:custClr>
    <a:custClr name="Dark Grass Green">
      <a:srgbClr val="278904"/>
    </a:custClr>
    <a:custClr name="80%">
      <a:srgbClr val="52A136"/>
    </a:custClr>
    <a:custClr name="60%">
      <a:srgbClr val="7DB868"/>
    </a:custClr>
    <a:custClr name="40%">
      <a:srgbClr val="A9D09B"/>
    </a:custClr>
    <a:custClr name="20%">
      <a:srgbClr val="D4E7CD"/>
    </a:custClr>
    <a:custClr name="Dark Hot Pink">
      <a:srgbClr val="CC1AD4"/>
    </a:custClr>
    <a:custClr name="80%">
      <a:srgbClr val="D648DD"/>
    </a:custClr>
    <a:custClr name="60%">
      <a:srgbClr val="E076E5"/>
    </a:custClr>
    <a:custClr name="40%">
      <a:srgbClr val="EBA3EE"/>
    </a:custClr>
    <a:custClr name="20%">
      <a:srgbClr val="F5D1F6"/>
    </a:custClr>
    <a:custClr name="Dark Sky Blue">
      <a:srgbClr val="187AC9"/>
    </a:custClr>
    <a:custClr name="80%">
      <a:srgbClr val="4695D4"/>
    </a:custClr>
    <a:custClr name="60%">
      <a:srgbClr val="74AFDF"/>
    </a:custClr>
    <a:custClr name="40%">
      <a:srgbClr val="A3CAE9"/>
    </a:custClr>
    <a:custClr name="20%">
      <a:srgbClr val="D1E4F4"/>
    </a:custClr>
    <a:custClr name="Dark Lavender Purple">
      <a:srgbClr val="38179E"/>
    </a:custClr>
    <a:custClr name="80%">
      <a:srgbClr val="6045B1"/>
    </a:custClr>
    <a:custClr name="60%">
      <a:srgbClr val="8874C5"/>
    </a:custClr>
    <a:custClr name="40%">
      <a:srgbClr val="AFA2D8"/>
    </a:custClr>
    <a:custClr name="20%">
      <a:srgbClr val="D7D1EC"/>
    </a:custClr>
    <a:custClr name="Dark Crimson Red">
      <a:srgbClr val="BA1C21"/>
    </a:custClr>
    <a:custClr name="80%">
      <a:srgbClr val="C8494D"/>
    </a:custClr>
    <a:custClr name="60%">
      <a:srgbClr val="D6777A"/>
    </a:custClr>
    <a:custClr name="40%">
      <a:srgbClr val="E3A4A6"/>
    </a:custClr>
    <a:custClr name="20%">
      <a:srgbClr val="F1D2D3"/>
    </a:custClr>
    <a:custClr name="Warm Grey">
      <a:srgbClr val="6F6B66"/>
    </a:custClr>
    <a:custClr name="80%">
      <a:srgbClr val="959185"/>
    </a:custClr>
    <a:custClr name="60%">
      <a:srgbClr val="B0ADA3"/>
    </a:custClr>
    <a:custClr name="40%">
      <a:srgbClr val="CAC8C2"/>
    </a:custClr>
    <a:custClr name="20%">
      <a:srgbClr val="E5E4E0"/>
    </a:custClr>
  </a:custClrLst>
  <a:extLst>
    <a:ext uri="{05A4C25C-085E-4340-85A3-A5531E510DB2}">
      <thm15:themeFamily xmlns:thm15="http://schemas.microsoft.com/office/thememl/2012/main" name="ta_general_user_240906" id="{868A8F7A-8740-CC44-9DF2-FFE53DCC731A}" vid="{3B6AD809-1895-FB43-AB46-42C8565739A6}"/>
    </a:ext>
  </a:extLst>
</a:theme>
</file>

<file path=ppt/theme/theme6.xml><?xml version="1.0" encoding="utf-8"?>
<a:theme xmlns:a="http://schemas.openxmlformats.org/drawingml/2006/main" name="TA Closing Slides">
  <a:themeElements>
    <a:clrScheme name="Aegon 2024">
      <a:dk1>
        <a:srgbClr val="000000"/>
      </a:dk1>
      <a:lt1>
        <a:srgbClr val="FFFFFF"/>
      </a:lt1>
      <a:dk2>
        <a:srgbClr val="1D2550"/>
      </a:dk2>
      <a:lt2>
        <a:srgbClr val="E5E4E0"/>
      </a:lt2>
      <a:accent1>
        <a:srgbClr val="278904"/>
      </a:accent1>
      <a:accent2>
        <a:srgbClr val="CC1AD4"/>
      </a:accent2>
      <a:accent3>
        <a:srgbClr val="187AC9"/>
      </a:accent3>
      <a:accent4>
        <a:srgbClr val="38179E"/>
      </a:accent4>
      <a:accent5>
        <a:srgbClr val="BA1C21"/>
      </a:accent5>
      <a:accent6>
        <a:srgbClr val="6F6B66"/>
      </a:accent6>
      <a:hlink>
        <a:srgbClr val="641EE0"/>
      </a:hlink>
      <a:folHlink>
        <a:srgbClr val="813684"/>
      </a:folHlink>
    </a:clrScheme>
    <a:fontScheme name="Forever Forma">
      <a:majorFont>
        <a:latin typeface="Forever Forma Heading"/>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orever Forma Body Text"/>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63B6FF"/>
        </a:solidFill>
        <a:ln w="6350">
          <a:noFill/>
        </a:ln>
      </a:spPr>
      <a:bodyPr rtlCol="0" anchor="ctr"/>
      <a:lstStyle>
        <a:defPPr algn="ctr">
          <a:defRPr dirty="0" err="1" smtClean="0">
            <a:latin typeface="Forever Forma Body Text" pitchFamily="2"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28180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a:spAutoFit/>
      </a:bodyPr>
      <a:lstStyle>
        <a:defPPr algn="l">
          <a:defRPr dirty="0">
            <a:latin typeface="Forever Forma Body Text"/>
          </a:defRPr>
        </a:defPPr>
      </a:lstStyle>
    </a:txDef>
  </a:objectDefaults>
  <a:extraClrSchemeLst/>
  <a:custClrLst>
    <a:custClr name="White">
      <a:srgbClr val="FFFFFF"/>
    </a:custClr>
    <a:custClr name="Fresh Lime">
      <a:srgbClr val="E7FF00"/>
    </a:custClr>
    <a:custClr name="Grass Green">
      <a:srgbClr val="4CD300"/>
    </a:custClr>
    <a:custClr name="Hot Pink">
      <a:srgbClr val="FA69FF"/>
    </a:custClr>
    <a:custClr name="Sky Blue">
      <a:srgbClr val="63B6FF"/>
    </a:custClr>
    <a:custClr name="Lavender Purple">
      <a:srgbClr val="641EE0"/>
    </a:custClr>
    <a:custClr name="Crimson Red">
      <a:srgbClr val="CF0000"/>
    </a:custClr>
    <a:custClr name="Chocolate Brown">
      <a:srgbClr val="5E3930"/>
    </a:custClr>
    <a:custClr name="Forest Green">
      <a:srgbClr val="0B3F2D"/>
    </a:custClr>
    <a:custClr name="Night Blue">
      <a:srgbClr val="1D2550"/>
    </a:custClr>
    <a:custClr name="Dark Grass Green">
      <a:srgbClr val="278904"/>
    </a:custClr>
    <a:custClr name="80%">
      <a:srgbClr val="52A136"/>
    </a:custClr>
    <a:custClr name="60%">
      <a:srgbClr val="7DB868"/>
    </a:custClr>
    <a:custClr name="40%">
      <a:srgbClr val="A9D09B"/>
    </a:custClr>
    <a:custClr name="20%">
      <a:srgbClr val="D4E7CD"/>
    </a:custClr>
    <a:custClr name="Dark Hot Pink">
      <a:srgbClr val="CC1AD4"/>
    </a:custClr>
    <a:custClr name="80%">
      <a:srgbClr val="D648DD"/>
    </a:custClr>
    <a:custClr name="60%">
      <a:srgbClr val="E076E5"/>
    </a:custClr>
    <a:custClr name="40%">
      <a:srgbClr val="EBA3EE"/>
    </a:custClr>
    <a:custClr name="20%">
      <a:srgbClr val="F5D1F6"/>
    </a:custClr>
    <a:custClr name="Dark Sky Blue">
      <a:srgbClr val="187AC9"/>
    </a:custClr>
    <a:custClr name="80%">
      <a:srgbClr val="4695D4"/>
    </a:custClr>
    <a:custClr name="60%">
      <a:srgbClr val="74AFDF"/>
    </a:custClr>
    <a:custClr name="40%">
      <a:srgbClr val="A3CAE9"/>
    </a:custClr>
    <a:custClr name="20%">
      <a:srgbClr val="D1E4F4"/>
    </a:custClr>
    <a:custClr name="Dark Lavender Purple">
      <a:srgbClr val="38179E"/>
    </a:custClr>
    <a:custClr name="80%">
      <a:srgbClr val="6045B1"/>
    </a:custClr>
    <a:custClr name="60%">
      <a:srgbClr val="8874C5"/>
    </a:custClr>
    <a:custClr name="40%">
      <a:srgbClr val="AFA2D8"/>
    </a:custClr>
    <a:custClr name="20%">
      <a:srgbClr val="D7D1EC"/>
    </a:custClr>
    <a:custClr name="Dark Crimson Red">
      <a:srgbClr val="BA1C21"/>
    </a:custClr>
    <a:custClr name="80%">
      <a:srgbClr val="C8494D"/>
    </a:custClr>
    <a:custClr name="60%">
      <a:srgbClr val="D6777A"/>
    </a:custClr>
    <a:custClr name="40%">
      <a:srgbClr val="E3A4A6"/>
    </a:custClr>
    <a:custClr name="20%">
      <a:srgbClr val="F1D2D3"/>
    </a:custClr>
    <a:custClr name="Warm Grey">
      <a:srgbClr val="6F6B66"/>
    </a:custClr>
    <a:custClr name="80%">
      <a:srgbClr val="959185"/>
    </a:custClr>
    <a:custClr name="60%">
      <a:srgbClr val="B0ADA3"/>
    </a:custClr>
    <a:custClr name="40%">
      <a:srgbClr val="CAC8C2"/>
    </a:custClr>
    <a:custClr name="20%">
      <a:srgbClr val="E5E4E0"/>
    </a:custClr>
  </a:custClrLst>
  <a:extLst>
    <a:ext uri="{05A4C25C-085E-4340-85A3-A5531E510DB2}">
      <thm15:themeFamily xmlns:thm15="http://schemas.microsoft.com/office/thememl/2012/main" name="ta_general_user_240906" id="{868A8F7A-8740-CC44-9DF2-FFE53DCC731A}" vid="{05442F8C-6942-7647-B9CA-8658E44093C6}"/>
    </a:ext>
  </a:extLst>
</a:theme>
</file>

<file path=ppt/theme/theme7.xml><?xml version="1.0" encoding="utf-8"?>
<a:theme xmlns:a="http://schemas.openxmlformats.org/drawingml/2006/main" name="TA Instructions">
  <a:themeElements>
    <a:clrScheme name="Aegon 2024">
      <a:dk1>
        <a:srgbClr val="000000"/>
      </a:dk1>
      <a:lt1>
        <a:srgbClr val="FFFFFF"/>
      </a:lt1>
      <a:dk2>
        <a:srgbClr val="1D2550"/>
      </a:dk2>
      <a:lt2>
        <a:srgbClr val="E5E4E0"/>
      </a:lt2>
      <a:accent1>
        <a:srgbClr val="278904"/>
      </a:accent1>
      <a:accent2>
        <a:srgbClr val="CC1AD4"/>
      </a:accent2>
      <a:accent3>
        <a:srgbClr val="187AC9"/>
      </a:accent3>
      <a:accent4>
        <a:srgbClr val="38179E"/>
      </a:accent4>
      <a:accent5>
        <a:srgbClr val="BA1C21"/>
      </a:accent5>
      <a:accent6>
        <a:srgbClr val="6F6B66"/>
      </a:accent6>
      <a:hlink>
        <a:srgbClr val="641EE0"/>
      </a:hlink>
      <a:folHlink>
        <a:srgbClr val="813684"/>
      </a:folHlink>
    </a:clrScheme>
    <a:fontScheme name="Forever Forma">
      <a:majorFont>
        <a:latin typeface="Forever Forma Heading"/>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orever Forma Body Text"/>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63B6FF"/>
        </a:solidFill>
        <a:ln w="6350">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28180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buNone/>
          <a:defRPr kern="100" spc="-30" dirty="0" smtClean="0">
            <a:latin typeface="Forever Forma Body Text"/>
          </a:defRPr>
        </a:defPPr>
      </a:lstStyle>
    </a:txDef>
  </a:objectDefaults>
  <a:extraClrSchemeLst/>
  <a:custClrLst>
    <a:custClr name="White">
      <a:srgbClr val="FFFFFF"/>
    </a:custClr>
    <a:custClr name="Fresh Lime">
      <a:srgbClr val="E7FF00"/>
    </a:custClr>
    <a:custClr name="Grass Green">
      <a:srgbClr val="4CD300"/>
    </a:custClr>
    <a:custClr name="Hot Pink">
      <a:srgbClr val="FA69FF"/>
    </a:custClr>
    <a:custClr name="Sky Blue">
      <a:srgbClr val="63B6FF"/>
    </a:custClr>
    <a:custClr name="Lavender Purple">
      <a:srgbClr val="641EE0"/>
    </a:custClr>
    <a:custClr name="Crimson Red">
      <a:srgbClr val="CF0000"/>
    </a:custClr>
    <a:custClr name="Chocolate Brown">
      <a:srgbClr val="5E3930"/>
    </a:custClr>
    <a:custClr name="Forest Green">
      <a:srgbClr val="0B3F2D"/>
    </a:custClr>
    <a:custClr name="Night Blue">
      <a:srgbClr val="1D2550"/>
    </a:custClr>
    <a:custClr name="Dark Grass Green">
      <a:srgbClr val="278904"/>
    </a:custClr>
    <a:custClr name="80%">
      <a:srgbClr val="52A136"/>
    </a:custClr>
    <a:custClr name="60%">
      <a:srgbClr val="7DB868"/>
    </a:custClr>
    <a:custClr name="40%">
      <a:srgbClr val="A9D09B"/>
    </a:custClr>
    <a:custClr name="20%">
      <a:srgbClr val="D4E7CD"/>
    </a:custClr>
    <a:custClr name="Dark Hot Pink">
      <a:srgbClr val="CC1AD4"/>
    </a:custClr>
    <a:custClr name="80%">
      <a:srgbClr val="D648DD"/>
    </a:custClr>
    <a:custClr name="60%">
      <a:srgbClr val="E076E5"/>
    </a:custClr>
    <a:custClr name="40%">
      <a:srgbClr val="EBA3EE"/>
    </a:custClr>
    <a:custClr name="20%">
      <a:srgbClr val="F5D1F6"/>
    </a:custClr>
    <a:custClr name="Dark Sky Blue">
      <a:srgbClr val="187AC9"/>
    </a:custClr>
    <a:custClr name="80%">
      <a:srgbClr val="4695D4"/>
    </a:custClr>
    <a:custClr name="60%">
      <a:srgbClr val="74AFDF"/>
    </a:custClr>
    <a:custClr name="40%">
      <a:srgbClr val="A3CAE9"/>
    </a:custClr>
    <a:custClr name="20%">
      <a:srgbClr val="D1E4F4"/>
    </a:custClr>
    <a:custClr name="Dark Lavender Purple">
      <a:srgbClr val="38179E"/>
    </a:custClr>
    <a:custClr name="80%">
      <a:srgbClr val="6045B1"/>
    </a:custClr>
    <a:custClr name="60%">
      <a:srgbClr val="8874C5"/>
    </a:custClr>
    <a:custClr name="40%">
      <a:srgbClr val="AFA2D8"/>
    </a:custClr>
    <a:custClr name="20%">
      <a:srgbClr val="D7D1EC"/>
    </a:custClr>
    <a:custClr name="Dark Crimson Red">
      <a:srgbClr val="BA1C21"/>
    </a:custClr>
    <a:custClr name="80%">
      <a:srgbClr val="C8494D"/>
    </a:custClr>
    <a:custClr name="60%">
      <a:srgbClr val="D6777A"/>
    </a:custClr>
    <a:custClr name="40%">
      <a:srgbClr val="E3A4A6"/>
    </a:custClr>
    <a:custClr name="20%">
      <a:srgbClr val="F1D2D3"/>
    </a:custClr>
    <a:custClr name="Warm Grey">
      <a:srgbClr val="6F6B66"/>
    </a:custClr>
    <a:custClr name="80%">
      <a:srgbClr val="959185"/>
    </a:custClr>
    <a:custClr name="60%">
      <a:srgbClr val="B0ADA3"/>
    </a:custClr>
    <a:custClr name="40%">
      <a:srgbClr val="CAC8C2"/>
    </a:custClr>
    <a:custClr name="20%">
      <a:srgbClr val="E5E4E0"/>
    </a:custClr>
  </a:custClrLst>
  <a:extLst>
    <a:ext uri="{05A4C25C-085E-4340-85A3-A5531E510DB2}">
      <thm15:themeFamily xmlns:thm15="http://schemas.microsoft.com/office/thememl/2012/main" name="ta_general_user_240906" id="{868A8F7A-8740-CC44-9DF2-FFE53DCC731A}" vid="{1BF0601A-382B-B14A-9571-BC5FBE1DB24B}"/>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9.xml><?xml version="1.0" encoding="utf-8"?>
<a:theme xmlns:a="http://schemas.openxmlformats.org/drawingml/2006/main" name="1_TA Content Slides">
  <a:themeElements>
    <a:clrScheme name="Aegon 2024">
      <a:dk1>
        <a:srgbClr val="000000"/>
      </a:dk1>
      <a:lt1>
        <a:srgbClr val="FFFFFF"/>
      </a:lt1>
      <a:dk2>
        <a:srgbClr val="1D2550"/>
      </a:dk2>
      <a:lt2>
        <a:srgbClr val="E5E4E0"/>
      </a:lt2>
      <a:accent1>
        <a:srgbClr val="278904"/>
      </a:accent1>
      <a:accent2>
        <a:srgbClr val="CC1AD4"/>
      </a:accent2>
      <a:accent3>
        <a:srgbClr val="187AC9"/>
      </a:accent3>
      <a:accent4>
        <a:srgbClr val="38179E"/>
      </a:accent4>
      <a:accent5>
        <a:srgbClr val="BA1C21"/>
      </a:accent5>
      <a:accent6>
        <a:srgbClr val="6F6B66"/>
      </a:accent6>
      <a:hlink>
        <a:srgbClr val="641EE0"/>
      </a:hlink>
      <a:folHlink>
        <a:srgbClr val="813684"/>
      </a:folHlink>
    </a:clrScheme>
    <a:fontScheme name="Forever Forma">
      <a:majorFont>
        <a:latin typeface="Forever Forma Heading"/>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orever Forma Body Text"/>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63B6FF"/>
        </a:solidFill>
        <a:ln w="6350">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281805"/>
          </a:solidFill>
        </a:ln>
      </a:spPr>
      <a:bodyPr/>
      <a:lstStyle/>
      <a:style>
        <a:lnRef idx="1">
          <a:schemeClr val="accent1"/>
        </a:lnRef>
        <a:fillRef idx="0">
          <a:schemeClr val="accent1"/>
        </a:fillRef>
        <a:effectRef idx="0">
          <a:schemeClr val="accent1"/>
        </a:effectRef>
        <a:fontRef idx="minor">
          <a:schemeClr val="tx1"/>
        </a:fontRef>
      </a:style>
    </a:lnDef>
    <a:txDef>
      <a:spPr/>
      <a:bodyPr vert="horz" lIns="0" tIns="0" rIns="0" bIns="0" rtlCol="0">
        <a:noAutofit/>
      </a:bodyPr>
      <a:lstStyle>
        <a:defPPr algn="l">
          <a:defRPr dirty="0" smtClean="0"/>
        </a:defPPr>
      </a:lstStyle>
    </a:txDef>
  </a:objectDefaults>
  <a:extraClrSchemeLst/>
  <a:custClrLst>
    <a:custClr name="White">
      <a:srgbClr val="FFFFFF"/>
    </a:custClr>
    <a:custClr name="Fresh Lime">
      <a:srgbClr val="E7FF00"/>
    </a:custClr>
    <a:custClr name="Grass Green">
      <a:srgbClr val="4CD300"/>
    </a:custClr>
    <a:custClr name="Hot Pink">
      <a:srgbClr val="FA69FF"/>
    </a:custClr>
    <a:custClr name="Sky Blue">
      <a:srgbClr val="63B6FF"/>
    </a:custClr>
    <a:custClr name="Lavender Purple">
      <a:srgbClr val="641EE0"/>
    </a:custClr>
    <a:custClr name="Crimson Red">
      <a:srgbClr val="CF0000"/>
    </a:custClr>
    <a:custClr name="Chocolate Brown">
      <a:srgbClr val="5E3930"/>
    </a:custClr>
    <a:custClr name="Forest Green">
      <a:srgbClr val="0B3F2D"/>
    </a:custClr>
    <a:custClr name="Night Blue">
      <a:srgbClr val="1D2550"/>
    </a:custClr>
    <a:custClr name="Dark Grass Green">
      <a:srgbClr val="278904"/>
    </a:custClr>
    <a:custClr name="80%">
      <a:srgbClr val="52A136"/>
    </a:custClr>
    <a:custClr name="60%">
      <a:srgbClr val="7DB868"/>
    </a:custClr>
    <a:custClr name="40%">
      <a:srgbClr val="A9D09B"/>
    </a:custClr>
    <a:custClr name="20%">
      <a:srgbClr val="D4E7CD"/>
    </a:custClr>
    <a:custClr name="Dark Hot Pink">
      <a:srgbClr val="CC1AD4"/>
    </a:custClr>
    <a:custClr name="80%">
      <a:srgbClr val="D648DD"/>
    </a:custClr>
    <a:custClr name="60%">
      <a:srgbClr val="E076E5"/>
    </a:custClr>
    <a:custClr name="40%">
      <a:srgbClr val="EBA3EE"/>
    </a:custClr>
    <a:custClr name="20%">
      <a:srgbClr val="F5D1F6"/>
    </a:custClr>
    <a:custClr name="Dark Sky Blue">
      <a:srgbClr val="187AC9"/>
    </a:custClr>
    <a:custClr name="80%">
      <a:srgbClr val="4695D4"/>
    </a:custClr>
    <a:custClr name="60%">
      <a:srgbClr val="74AFDF"/>
    </a:custClr>
    <a:custClr name="40%">
      <a:srgbClr val="A3CAE9"/>
    </a:custClr>
    <a:custClr name="20%">
      <a:srgbClr val="D1E4F4"/>
    </a:custClr>
    <a:custClr name="Dark Lavender Purple">
      <a:srgbClr val="38179E"/>
    </a:custClr>
    <a:custClr name="80%">
      <a:srgbClr val="6045B1"/>
    </a:custClr>
    <a:custClr name="60%">
      <a:srgbClr val="8874C5"/>
    </a:custClr>
    <a:custClr name="40%">
      <a:srgbClr val="AFA2D8"/>
    </a:custClr>
    <a:custClr name="20%">
      <a:srgbClr val="D7D1EC"/>
    </a:custClr>
    <a:custClr name="Dark Crimson Red">
      <a:srgbClr val="BA1C21"/>
    </a:custClr>
    <a:custClr name="80%">
      <a:srgbClr val="C8494D"/>
    </a:custClr>
    <a:custClr name="60%">
      <a:srgbClr val="D6777A"/>
    </a:custClr>
    <a:custClr name="40%">
      <a:srgbClr val="E3A4A6"/>
    </a:custClr>
    <a:custClr name="20%">
      <a:srgbClr val="F1D2D3"/>
    </a:custClr>
    <a:custClr name="Warm Grey">
      <a:srgbClr val="6F6B66"/>
    </a:custClr>
    <a:custClr name="80%">
      <a:srgbClr val="959185"/>
    </a:custClr>
    <a:custClr name="60%">
      <a:srgbClr val="B0ADA3"/>
    </a:custClr>
    <a:custClr name="40%">
      <a:srgbClr val="CAC8C2"/>
    </a:custClr>
    <a:custClr name="20%">
      <a:srgbClr val="E5E4E0"/>
    </a:custClr>
  </a:custClrLst>
  <a:extLst>
    <a:ext uri="{05A4C25C-085E-4340-85A3-A5531E510DB2}">
      <thm15:themeFamily xmlns:thm15="http://schemas.microsoft.com/office/thememl/2012/main" name="ta_power_user_240906" id="{32D9CAF7-9D44-B445-8750-029DA1A00E09}" vid="{80FABF8B-2A9D-9145-B12E-2F5E1C4FE463}"/>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11D9EAB7F65704B928ADCDCAB87D10A" ma:contentTypeVersion="6" ma:contentTypeDescription="Create a new document." ma:contentTypeScope="" ma:versionID="523a5ae49f70266e250c131d045c32ef">
  <xsd:schema xmlns:xsd="http://www.w3.org/2001/XMLSchema" xmlns:xs="http://www.w3.org/2001/XMLSchema" xmlns:p="http://schemas.microsoft.com/office/2006/metadata/properties" xmlns:ns2="883da8a3-a8d7-4abc-b0fb-6e9021b6d900" targetNamespace="http://schemas.microsoft.com/office/2006/metadata/properties" ma:root="true" ma:fieldsID="13bf686726527df260fb7765d08acfc3" ns2:_="">
    <xsd:import namespace="883da8a3-a8d7-4abc-b0fb-6e9021b6d900"/>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83da8a3-a8d7-4abc-b0fb-6e9021b6d90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87B9F05-37E0-4F35-828D-076429559AB8}">
  <ds:schemaRefs>
    <ds:schemaRef ds:uri="http://schemas.microsoft.com/office/2006/metadata/properties"/>
    <ds:schemaRef ds:uri="http://purl.org/dc/elements/1.1/"/>
    <ds:schemaRef ds:uri="http://purl.org/dc/terms/"/>
    <ds:schemaRef ds:uri="883da8a3-a8d7-4abc-b0fb-6e9021b6d900"/>
    <ds:schemaRef ds:uri="http://purl.org/dc/dcmitype/"/>
    <ds:schemaRef ds:uri="http://schemas.microsoft.com/office/infopath/2007/PartnerControls"/>
    <ds:schemaRef ds:uri="http://schemas.microsoft.com/office/2006/documentManagement/type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8037AA49-A9B9-43FF-8776-4650CED3C4EB}">
  <ds:schemaRefs>
    <ds:schemaRef ds:uri="http://schemas.microsoft.com/sharepoint/v3/contenttype/forms"/>
  </ds:schemaRefs>
</ds:datastoreItem>
</file>

<file path=customXml/itemProps3.xml><?xml version="1.0" encoding="utf-8"?>
<ds:datastoreItem xmlns:ds="http://schemas.openxmlformats.org/officeDocument/2006/customXml" ds:itemID="{9DB94786-8357-4479-991F-E59132658AF3}">
  <ds:schemaRefs>
    <ds:schemaRef ds:uri="883da8a3-a8d7-4abc-b0fb-6e9021b6d90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53d2f50d-dc6e-4d07-88dc-32fef40a0f51}" enabled="0" method="" siteId="{53d2f50d-dc6e-4d07-88dc-32fef40a0f51}" removed="1"/>
</clbl:labelList>
</file>

<file path=docProps/app.xml><?xml version="1.0" encoding="utf-8"?>
<Properties xmlns="http://schemas.openxmlformats.org/officeDocument/2006/extended-properties" xmlns:vt="http://schemas.openxmlformats.org/officeDocument/2006/docPropsVTypes">
  <Template>TA_Master_PPT_Template</Template>
  <TotalTime>1599</TotalTime>
  <Words>3749</Words>
  <Application>Microsoft Office PowerPoint</Application>
  <PresentationFormat>Widescreen</PresentationFormat>
  <Paragraphs>505</Paragraphs>
  <Slides>46</Slides>
  <Notes>46</Notes>
  <HiddenSlides>0</HiddenSlides>
  <MMClips>0</MMClips>
  <ScaleCrop>false</ScaleCrop>
  <HeadingPairs>
    <vt:vector size="8" baseType="variant">
      <vt:variant>
        <vt:lpstr>Fonts Used</vt:lpstr>
      </vt:variant>
      <vt:variant>
        <vt:i4>8</vt:i4>
      </vt:variant>
      <vt:variant>
        <vt:lpstr>Theme</vt:lpstr>
      </vt:variant>
      <vt:variant>
        <vt:i4>9</vt:i4>
      </vt:variant>
      <vt:variant>
        <vt:lpstr>Embedded OLE Servers</vt:lpstr>
      </vt:variant>
      <vt:variant>
        <vt:i4>1</vt:i4>
      </vt:variant>
      <vt:variant>
        <vt:lpstr>Slide Titles</vt:lpstr>
      </vt:variant>
      <vt:variant>
        <vt:i4>46</vt:i4>
      </vt:variant>
    </vt:vector>
  </HeadingPairs>
  <TitlesOfParts>
    <vt:vector size="64" baseType="lpstr">
      <vt:lpstr>Aptos</vt:lpstr>
      <vt:lpstr>Wingdings</vt:lpstr>
      <vt:lpstr>Calibri</vt:lpstr>
      <vt:lpstr>Forever Forma Body Text</vt:lpstr>
      <vt:lpstr>Arial</vt:lpstr>
      <vt:lpstr>Open Sans Condensed Condensed</vt:lpstr>
      <vt:lpstr>Forever Forma Heading</vt:lpstr>
      <vt:lpstr>Aptos Display</vt:lpstr>
      <vt:lpstr>TA Title Slides</vt:lpstr>
      <vt:lpstr>TA Index/Agenda Slides</vt:lpstr>
      <vt:lpstr>TA Divider/Chapter Slides</vt:lpstr>
      <vt:lpstr>TA Content Slides</vt:lpstr>
      <vt:lpstr>TA Biography Slides</vt:lpstr>
      <vt:lpstr>TA Closing Slides</vt:lpstr>
      <vt:lpstr>TA Instructions</vt:lpstr>
      <vt:lpstr>Office Theme</vt:lpstr>
      <vt:lpstr>1_TA Content Slides</vt:lpstr>
      <vt:lpstr>think-cell Slide</vt:lpstr>
      <vt:lpstr>Transamerica FE Express Solution℠</vt:lpstr>
      <vt:lpstr>Transamerica FE Express Solution℠ Face amount increase</vt:lpstr>
      <vt:lpstr>Transamerica FE Express Solution℠</vt:lpstr>
      <vt:lpstr>Transamerica FE Express Solution℠ Additional documents now available </vt:lpstr>
      <vt:lpstr>Transamerica FE Express Solution℠</vt:lpstr>
      <vt:lpstr>Transamerica FE Express Solution℠ Third-Party Payo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ransamerica FE Express Solution℠ Multi-Policies</vt:lpstr>
      <vt:lpstr>PowerPoint Presentation</vt:lpstr>
      <vt:lpstr>Transamerica FE Express Solution℠ Initial Draft Date Changes ACH Retry  Email Enhancements</vt:lpstr>
      <vt:lpstr>Transamerica FE Express Solution℠</vt:lpstr>
      <vt:lpstr>Transamerica FE Express Solution℠ PIN-to-Sign</vt:lpstr>
      <vt:lpstr>PowerPoint Presentation</vt:lpstr>
      <vt:lpstr>PowerPoint Presentation</vt:lpstr>
      <vt:lpstr>PowerPoint Presentation</vt:lpstr>
      <vt:lpstr>PowerPoint Presentation</vt:lpstr>
      <vt:lpstr>PowerPoint Presentation</vt:lpstr>
      <vt:lpstr>Transamerica FE Express Solution℠ Policy Promise</vt:lpstr>
      <vt:lpstr>PowerPoint Presentation</vt:lpstr>
      <vt:lpstr>Policy Promise Availability</vt:lpstr>
      <vt:lpstr>Accessing the Policy Promise</vt:lpstr>
      <vt:lpstr>Policy Promise Example(s)</vt:lpstr>
      <vt:lpstr>Transamerica FE Express Solution℠ Payment Improvements</vt:lpstr>
      <vt:lpstr>Payment Improvements</vt:lpstr>
      <vt:lpstr>Payment Improvements</vt:lpstr>
      <vt:lpstr>Payment Improvements</vt:lpstr>
      <vt:lpstr>Payment Improvements</vt:lpstr>
      <vt:lpstr>Transamerica FE Express Solution℠ Agent Sync and Resources Page</vt:lpstr>
      <vt:lpstr>Agent Sync and Resources Page</vt:lpstr>
      <vt:lpstr>Agent Sync</vt:lpstr>
      <vt:lpstr>Agent Resources Page</vt:lpstr>
      <vt:lpstr>Transamerica FE Express Solution℠ Underwriting Enhancements</vt:lpstr>
      <vt:lpstr>Comorbids</vt:lpstr>
      <vt:lpstr>Hospitalization</vt:lpstr>
      <vt:lpstr>Memory Loss</vt:lpstr>
      <vt:lpstr>Milliman</vt:lpstr>
      <vt:lpstr>In Summary</vt:lpstr>
      <vt:lpstr>Self Guided Demonstration Tool</vt:lpstr>
      <vt:lpstr>Thank you</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Johnson, Lindsay</dc:creator>
  <cp:keywords/>
  <dc:description>June 2024</dc:description>
  <cp:lastModifiedBy>Johnson, Lindsay</cp:lastModifiedBy>
  <cp:revision>3</cp:revision>
  <cp:lastPrinted>2026-01-16T19:10:26Z</cp:lastPrinted>
  <dcterms:created xsi:type="dcterms:W3CDTF">2025-03-18T15:52:54Z</dcterms:created>
  <dcterms:modified xsi:type="dcterms:W3CDTF">2026-01-16T19:29:43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11D9EAB7F65704B928ADCDCAB87D10A</vt:lpwstr>
  </property>
  <property fmtid="{D5CDD505-2E9C-101B-9397-08002B2CF9AE}" pid="3" name="MediaServiceImageTags">
    <vt:lpwstr/>
  </property>
  <property fmtid="{D5CDD505-2E9C-101B-9397-08002B2CF9AE}" pid="4" name="ArticulateGUID">
    <vt:lpwstr>16683246-A6BC-4527-BADE-AE53FE2FE20D</vt:lpwstr>
  </property>
  <property fmtid="{D5CDD505-2E9C-101B-9397-08002B2CF9AE}" pid="5" name="ArticulatePath">
    <vt:lpwstr>https://aegonna-my.sharepoint.com/personal/lindsay_johnson_transamerica_com/Documents/March 2025 FEX Enhancements</vt:lpwstr>
  </property>
</Properties>
</file>